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theme/theme2.xml" ContentType="application/vnd.openxmlformats-officedocument.theme+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p:sldMasterIdLst>
    <p:sldMasterId id="2147483648" r:id="rId4"/>
    <p:sldMasterId id="2147484063" r:id="rId5"/>
  </p:sldMasterIdLst>
  <p:notesMasterIdLst>
    <p:notesMasterId r:id="rId22"/>
  </p:notesMasterIdLst>
  <p:handoutMasterIdLst>
    <p:handoutMasterId r:id="rId23"/>
  </p:handoutMasterIdLst>
  <p:sldIdLst>
    <p:sldId id="256" r:id="rId6"/>
    <p:sldId id="4263" r:id="rId7"/>
    <p:sldId id="2147374544" r:id="rId8"/>
    <p:sldId id="347" r:id="rId9"/>
    <p:sldId id="3603" r:id="rId10"/>
    <p:sldId id="309" r:id="rId11"/>
    <p:sldId id="3602" r:id="rId12"/>
    <p:sldId id="373" r:id="rId13"/>
    <p:sldId id="3619" r:id="rId14"/>
    <p:sldId id="2147374543" r:id="rId15"/>
    <p:sldId id="4262" r:id="rId16"/>
    <p:sldId id="2147374539" r:id="rId17"/>
    <p:sldId id="311" r:id="rId18"/>
    <p:sldId id="312" r:id="rId19"/>
    <p:sldId id="3612" r:id="rId20"/>
    <p:sldId id="345" r:id="rId21"/>
  </p:sldIdLst>
  <p:sldSz cx="12192000" cy="6858000"/>
  <p:notesSz cx="7010400" cy="9296400"/>
  <p:embeddedFontLst>
    <p:embeddedFont>
      <p:font typeface="Arial Narrow" panose="020B0606020202030204" pitchFamily="34" charset="0"/>
      <p:regular r:id="rId24"/>
      <p:bold r:id="rId25"/>
      <p:italic r:id="rId26"/>
      <p:boldItalic r:id="rId27"/>
    </p:embeddedFont>
    <p:embeddedFont>
      <p:font typeface="Calibri" panose="020F0502020204030204" pitchFamily="34" charset="0"/>
      <p:regular r:id="rId28"/>
      <p:bold r:id="rId29"/>
      <p:italic r:id="rId30"/>
      <p:boldItalic r:id="rId31"/>
    </p:embeddedFont>
    <p:embeddedFont>
      <p:font typeface="Century Gothic" panose="020B0502020202020204" pitchFamily="34" charset="0"/>
      <p:regular r:id="rId32"/>
      <p:bold r:id="rId33"/>
      <p:italic r:id="rId34"/>
      <p:boldItalic r:id="rId35"/>
    </p:embeddedFont>
    <p:embeddedFont>
      <p:font typeface="PTCRaleway" panose="020B0604020202020204" charset="0"/>
      <p:regular r:id="rId36"/>
      <p:bold r:id="rId37"/>
      <p:italic r:id="rId38"/>
      <p:boldItalic r:id="rId39"/>
    </p:embeddedFont>
    <p:embeddedFont>
      <p:font typeface="PTCRaleway Black" panose="020B0604020202020204" charset="0"/>
      <p:bold r:id="rId40"/>
      <p:boldItalic r:id="rId41"/>
    </p:embeddedFont>
    <p:embeddedFont>
      <p:font typeface="source sans pro" panose="020B0503030403020204" pitchFamily="34" charset="0"/>
      <p:regular r:id="rId42"/>
      <p:bold r:id="rId43"/>
      <p:italic r:id="rId44"/>
      <p:boldItalic r:id="rId45"/>
    </p:embeddedFont>
  </p:embeddedFontLst>
  <p:defaultTextStyle>
    <a:defPPr>
      <a:defRPr lang="en-US"/>
    </a:defPPr>
    <a:lvl1pPr marL="0" algn="l" defTabSz="1086775" rtl="0" eaLnBrk="1" latinLnBrk="0" hangingPunct="1">
      <a:defRPr sz="2200" kern="1200">
        <a:solidFill>
          <a:schemeClr val="tx1"/>
        </a:solidFill>
        <a:latin typeface="+mn-lt"/>
        <a:ea typeface="+mn-ea"/>
        <a:cs typeface="+mn-cs"/>
      </a:defRPr>
    </a:lvl1pPr>
    <a:lvl2pPr marL="543388" algn="l" defTabSz="1086775" rtl="0" eaLnBrk="1" latinLnBrk="0" hangingPunct="1">
      <a:defRPr sz="2200" kern="1200">
        <a:solidFill>
          <a:schemeClr val="tx1"/>
        </a:solidFill>
        <a:latin typeface="+mn-lt"/>
        <a:ea typeface="+mn-ea"/>
        <a:cs typeface="+mn-cs"/>
      </a:defRPr>
    </a:lvl2pPr>
    <a:lvl3pPr marL="1086775" algn="l" defTabSz="1086775" rtl="0" eaLnBrk="1" latinLnBrk="0" hangingPunct="1">
      <a:defRPr sz="2200" kern="1200">
        <a:solidFill>
          <a:schemeClr val="tx1"/>
        </a:solidFill>
        <a:latin typeface="+mn-lt"/>
        <a:ea typeface="+mn-ea"/>
        <a:cs typeface="+mn-cs"/>
      </a:defRPr>
    </a:lvl3pPr>
    <a:lvl4pPr marL="1630163" algn="l" defTabSz="1086775" rtl="0" eaLnBrk="1" latinLnBrk="0" hangingPunct="1">
      <a:defRPr sz="2200" kern="1200">
        <a:solidFill>
          <a:schemeClr val="tx1"/>
        </a:solidFill>
        <a:latin typeface="+mn-lt"/>
        <a:ea typeface="+mn-ea"/>
        <a:cs typeface="+mn-cs"/>
      </a:defRPr>
    </a:lvl4pPr>
    <a:lvl5pPr marL="2173551" algn="l" defTabSz="1086775" rtl="0" eaLnBrk="1" latinLnBrk="0" hangingPunct="1">
      <a:defRPr sz="2200" kern="1200">
        <a:solidFill>
          <a:schemeClr val="tx1"/>
        </a:solidFill>
        <a:latin typeface="+mn-lt"/>
        <a:ea typeface="+mn-ea"/>
        <a:cs typeface="+mn-cs"/>
      </a:defRPr>
    </a:lvl5pPr>
    <a:lvl6pPr marL="2716938" algn="l" defTabSz="1086775" rtl="0" eaLnBrk="1" latinLnBrk="0" hangingPunct="1">
      <a:defRPr sz="2200" kern="1200">
        <a:solidFill>
          <a:schemeClr val="tx1"/>
        </a:solidFill>
        <a:latin typeface="+mn-lt"/>
        <a:ea typeface="+mn-ea"/>
        <a:cs typeface="+mn-cs"/>
      </a:defRPr>
    </a:lvl6pPr>
    <a:lvl7pPr marL="3260326" algn="l" defTabSz="1086775" rtl="0" eaLnBrk="1" latinLnBrk="0" hangingPunct="1">
      <a:defRPr sz="2200" kern="1200">
        <a:solidFill>
          <a:schemeClr val="tx1"/>
        </a:solidFill>
        <a:latin typeface="+mn-lt"/>
        <a:ea typeface="+mn-ea"/>
        <a:cs typeface="+mn-cs"/>
      </a:defRPr>
    </a:lvl7pPr>
    <a:lvl8pPr marL="3803713" algn="l" defTabSz="1086775" rtl="0" eaLnBrk="1" latinLnBrk="0" hangingPunct="1">
      <a:defRPr sz="2200" kern="1200">
        <a:solidFill>
          <a:schemeClr val="tx1"/>
        </a:solidFill>
        <a:latin typeface="+mn-lt"/>
        <a:ea typeface="+mn-ea"/>
        <a:cs typeface="+mn-cs"/>
      </a:defRPr>
    </a:lvl8pPr>
    <a:lvl9pPr marL="4347102" algn="l" defTabSz="1086775" rtl="0" eaLnBrk="1" latinLnBrk="0" hangingPunct="1">
      <a:defRPr sz="2200" kern="1200">
        <a:solidFill>
          <a:schemeClr val="tx1"/>
        </a:solidFill>
        <a:latin typeface="+mn-lt"/>
        <a:ea typeface="+mn-ea"/>
        <a:cs typeface="+mn-cs"/>
      </a:defRPr>
    </a:lvl9pPr>
  </p:defaultTextStyle>
  <p:extLst>
    <p:ext uri="{EFAFB233-063F-42B5-8137-9DF3F51BA10A}">
      <p15:sldGuideLst xmlns:p15="http://schemas.microsoft.com/office/powerpoint/2012/main">
        <p15:guide id="18" orient="horz" pos="888" userDrawn="1">
          <p15:clr>
            <a:srgbClr val="A4A3A4"/>
          </p15:clr>
        </p15:guide>
        <p15:guide id="23" orient="horz" pos="600" userDrawn="1">
          <p15:clr>
            <a:srgbClr val="A4A3A4"/>
          </p15:clr>
        </p15:guide>
        <p15:guide id="26" pos="312" userDrawn="1">
          <p15:clr>
            <a:srgbClr val="A4A3A4"/>
          </p15:clr>
        </p15:guide>
        <p15:guide id="27" pos="7416" userDrawn="1">
          <p15:clr>
            <a:srgbClr val="A4A3A4"/>
          </p15:clr>
        </p15:guide>
        <p15:guide id="28" orient="horz" pos="4152" userDrawn="1">
          <p15:clr>
            <a:srgbClr val="A4A3A4"/>
          </p15:clr>
        </p15:guide>
        <p15:guide id="29" orient="horz" pos="1176" userDrawn="1">
          <p15:clr>
            <a:srgbClr val="A4A3A4"/>
          </p15:clr>
        </p15:guide>
        <p15:guide id="30" orient="horz" pos="1344"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McCagg, Marty" initials="MM" lastIdx="9" clrIdx="0">
    <p:extLst>
      <p:ext uri="{19B8F6BF-5375-455C-9EA6-DF929625EA0E}">
        <p15:presenceInfo xmlns:p15="http://schemas.microsoft.com/office/powerpoint/2012/main" userId="S::mmccagg@ptc.com::c2c447df-6635-47d9-b22f-40274ed5ccf9" providerId="AD"/>
      </p:ext>
    </p:extLst>
  </p:cmAuthor>
  <p:cmAuthor id="2" name="Author" initials="A" lastIdx="189"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9EAEA"/>
    <a:srgbClr val="BFBFBF"/>
    <a:srgbClr val="4D585A"/>
    <a:srgbClr val="FFFFFF"/>
    <a:srgbClr val="3D4647"/>
    <a:srgbClr val="AA9103"/>
    <a:srgbClr val="12581A"/>
    <a:srgbClr val="3C4647"/>
    <a:srgbClr val="C8C9C7"/>
    <a:srgbClr val="FCB53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8200BCDF-518A-42F4-ACB8-13784A4AE963}" v="1" dt="2024-01-08T10:46:31.690"/>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0988" autoAdjust="0"/>
    <p:restoredTop sz="92582" autoAdjust="0"/>
  </p:normalViewPr>
  <p:slideViewPr>
    <p:cSldViewPr snapToGrid="0" snapToObjects="1">
      <p:cViewPr varScale="1">
        <p:scale>
          <a:sx n="86" d="100"/>
          <a:sy n="86" d="100"/>
        </p:scale>
        <p:origin x="744" y="58"/>
      </p:cViewPr>
      <p:guideLst>
        <p:guide orient="horz" pos="888"/>
        <p:guide orient="horz" pos="600"/>
        <p:guide pos="312"/>
        <p:guide pos="7416"/>
        <p:guide orient="horz" pos="4152"/>
        <p:guide orient="horz" pos="1176"/>
        <p:guide orient="horz" pos="1344"/>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12582"/>
    </p:cViewPr>
  </p:sorterViewPr>
  <p:notesViewPr>
    <p:cSldViewPr snapToGrid="0" snapToObjects="1">
      <p:cViewPr varScale="1">
        <p:scale>
          <a:sx n="83" d="100"/>
          <a:sy n="83" d="100"/>
        </p:scale>
        <p:origin x="3810" y="96"/>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font" Target="fonts/font3.fntdata"/><Relationship Id="rId39" Type="http://schemas.openxmlformats.org/officeDocument/2006/relationships/font" Target="fonts/font16.fntdata"/><Relationship Id="rId21" Type="http://schemas.openxmlformats.org/officeDocument/2006/relationships/slide" Target="slides/slide16.xml"/><Relationship Id="rId34" Type="http://schemas.openxmlformats.org/officeDocument/2006/relationships/font" Target="fonts/font11.fntdata"/><Relationship Id="rId42" Type="http://schemas.openxmlformats.org/officeDocument/2006/relationships/font" Target="fonts/font19.fntdata"/><Relationship Id="rId47" Type="http://schemas.openxmlformats.org/officeDocument/2006/relationships/presProps" Target="presProps.xml"/><Relationship Id="rId50" Type="http://schemas.openxmlformats.org/officeDocument/2006/relationships/tableStyles" Target="tableStyles.xml"/><Relationship Id="rId7" Type="http://schemas.openxmlformats.org/officeDocument/2006/relationships/slide" Target="slides/slide2.xml"/><Relationship Id="rId2" Type="http://schemas.openxmlformats.org/officeDocument/2006/relationships/customXml" Target="../customXml/item2.xml"/><Relationship Id="rId16" Type="http://schemas.openxmlformats.org/officeDocument/2006/relationships/slide" Target="slides/slide11.xml"/><Relationship Id="rId29" Type="http://schemas.openxmlformats.org/officeDocument/2006/relationships/font" Target="fonts/font6.fntdata"/><Relationship Id="rId11" Type="http://schemas.openxmlformats.org/officeDocument/2006/relationships/slide" Target="slides/slide6.xml"/><Relationship Id="rId24" Type="http://schemas.openxmlformats.org/officeDocument/2006/relationships/font" Target="fonts/font1.fntdata"/><Relationship Id="rId32" Type="http://schemas.openxmlformats.org/officeDocument/2006/relationships/font" Target="fonts/font9.fntdata"/><Relationship Id="rId37" Type="http://schemas.openxmlformats.org/officeDocument/2006/relationships/font" Target="fonts/font14.fntdata"/><Relationship Id="rId40" Type="http://schemas.openxmlformats.org/officeDocument/2006/relationships/font" Target="fonts/font17.fntdata"/><Relationship Id="rId45" Type="http://schemas.openxmlformats.org/officeDocument/2006/relationships/font" Target="fonts/font22.fntdata"/><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handoutMaster" Target="handoutMasters/handoutMaster1.xml"/><Relationship Id="rId28" Type="http://schemas.openxmlformats.org/officeDocument/2006/relationships/font" Target="fonts/font5.fntdata"/><Relationship Id="rId36" Type="http://schemas.openxmlformats.org/officeDocument/2006/relationships/font" Target="fonts/font13.fntdata"/><Relationship Id="rId49" Type="http://schemas.openxmlformats.org/officeDocument/2006/relationships/theme" Target="theme/theme1.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font" Target="fonts/font8.fntdata"/><Relationship Id="rId44" Type="http://schemas.openxmlformats.org/officeDocument/2006/relationships/font" Target="fonts/font21.fntdata"/><Relationship Id="rId52" Type="http://schemas.microsoft.com/office/2015/10/relationships/revisionInfo" Target="revisionInfo.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notesMaster" Target="notesMasters/notesMaster1.xml"/><Relationship Id="rId27" Type="http://schemas.openxmlformats.org/officeDocument/2006/relationships/font" Target="fonts/font4.fntdata"/><Relationship Id="rId30" Type="http://schemas.openxmlformats.org/officeDocument/2006/relationships/font" Target="fonts/font7.fntdata"/><Relationship Id="rId35" Type="http://schemas.openxmlformats.org/officeDocument/2006/relationships/font" Target="fonts/font12.fntdata"/><Relationship Id="rId43" Type="http://schemas.openxmlformats.org/officeDocument/2006/relationships/font" Target="fonts/font20.fntdata"/><Relationship Id="rId48" Type="http://schemas.openxmlformats.org/officeDocument/2006/relationships/viewProps" Target="viewProps.xml"/><Relationship Id="rId8" Type="http://schemas.openxmlformats.org/officeDocument/2006/relationships/slide" Target="slides/slide3.xml"/><Relationship Id="rId51" Type="http://schemas.microsoft.com/office/2016/11/relationships/changesInfo" Target="changesInfos/changesInfo1.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font" Target="fonts/font2.fntdata"/><Relationship Id="rId33" Type="http://schemas.openxmlformats.org/officeDocument/2006/relationships/font" Target="fonts/font10.fntdata"/><Relationship Id="rId38" Type="http://schemas.openxmlformats.org/officeDocument/2006/relationships/font" Target="fonts/font15.fntdata"/><Relationship Id="rId46" Type="http://schemas.openxmlformats.org/officeDocument/2006/relationships/commentAuthors" Target="commentAuthors.xml"/><Relationship Id="rId20" Type="http://schemas.openxmlformats.org/officeDocument/2006/relationships/slide" Target="slides/slide15.xml"/><Relationship Id="rId41" Type="http://schemas.openxmlformats.org/officeDocument/2006/relationships/font" Target="fonts/font18.fntdata"/><Relationship Id="rId1" Type="http://schemas.openxmlformats.org/officeDocument/2006/relationships/customXml" Target="../customXml/item1.xml"/><Relationship Id="rId6" Type="http://schemas.openxmlformats.org/officeDocument/2006/relationships/slide" Target="slides/slide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Vasilis Karastergios" userId="2aa9c0a1-323b-48aa-83e0-abc8de3a69d0" providerId="ADAL" clId="{8200BCDF-518A-42F4-ACB8-13784A4AE963}"/>
    <pc:docChg chg="addSld delSld modSld">
      <pc:chgData name="Vasilis Karastergios" userId="2aa9c0a1-323b-48aa-83e0-abc8de3a69d0" providerId="ADAL" clId="{8200BCDF-518A-42F4-ACB8-13784A4AE963}" dt="2024-01-08T10:46:31.690" v="1"/>
      <pc:docMkLst>
        <pc:docMk/>
      </pc:docMkLst>
      <pc:sldChg chg="del">
        <pc:chgData name="Vasilis Karastergios" userId="2aa9c0a1-323b-48aa-83e0-abc8de3a69d0" providerId="ADAL" clId="{8200BCDF-518A-42F4-ACB8-13784A4AE963}" dt="2024-01-08T10:46:26.241" v="0" actId="2696"/>
        <pc:sldMkLst>
          <pc:docMk/>
          <pc:sldMk cId="1158810486" sldId="309"/>
        </pc:sldMkLst>
      </pc:sldChg>
      <pc:sldChg chg="add">
        <pc:chgData name="Vasilis Karastergios" userId="2aa9c0a1-323b-48aa-83e0-abc8de3a69d0" providerId="ADAL" clId="{8200BCDF-518A-42F4-ACB8-13784A4AE963}" dt="2024-01-08T10:46:31.690" v="1"/>
        <pc:sldMkLst>
          <pc:docMk/>
          <pc:sldMk cId="1677365589" sldId="309"/>
        </pc:sldMkLst>
      </pc:sldChg>
      <pc:sldChg chg="del">
        <pc:chgData name="Vasilis Karastergios" userId="2aa9c0a1-323b-48aa-83e0-abc8de3a69d0" providerId="ADAL" clId="{8200BCDF-518A-42F4-ACB8-13784A4AE963}" dt="2024-01-08T10:46:26.241" v="0" actId="2696"/>
        <pc:sldMkLst>
          <pc:docMk/>
          <pc:sldMk cId="2304036156" sldId="347"/>
        </pc:sldMkLst>
      </pc:sldChg>
      <pc:sldChg chg="add">
        <pc:chgData name="Vasilis Karastergios" userId="2aa9c0a1-323b-48aa-83e0-abc8de3a69d0" providerId="ADAL" clId="{8200BCDF-518A-42F4-ACB8-13784A4AE963}" dt="2024-01-08T10:46:31.690" v="1"/>
        <pc:sldMkLst>
          <pc:docMk/>
          <pc:sldMk cId="4103962253" sldId="347"/>
        </pc:sldMkLst>
      </pc:sldChg>
      <pc:sldChg chg="add">
        <pc:chgData name="Vasilis Karastergios" userId="2aa9c0a1-323b-48aa-83e0-abc8de3a69d0" providerId="ADAL" clId="{8200BCDF-518A-42F4-ACB8-13784A4AE963}" dt="2024-01-08T10:46:31.690" v="1"/>
        <pc:sldMkLst>
          <pc:docMk/>
          <pc:sldMk cId="1280251126" sldId="3602"/>
        </pc:sldMkLst>
      </pc:sldChg>
      <pc:sldChg chg="del">
        <pc:chgData name="Vasilis Karastergios" userId="2aa9c0a1-323b-48aa-83e0-abc8de3a69d0" providerId="ADAL" clId="{8200BCDF-518A-42F4-ACB8-13784A4AE963}" dt="2024-01-08T10:46:26.241" v="0" actId="2696"/>
        <pc:sldMkLst>
          <pc:docMk/>
          <pc:sldMk cId="1948550152" sldId="3602"/>
        </pc:sldMkLst>
      </pc:sldChg>
      <pc:sldChg chg="del">
        <pc:chgData name="Vasilis Karastergios" userId="2aa9c0a1-323b-48aa-83e0-abc8de3a69d0" providerId="ADAL" clId="{8200BCDF-518A-42F4-ACB8-13784A4AE963}" dt="2024-01-08T10:46:26.241" v="0" actId="2696"/>
        <pc:sldMkLst>
          <pc:docMk/>
          <pc:sldMk cId="2673167439" sldId="3603"/>
        </pc:sldMkLst>
      </pc:sldChg>
      <pc:sldChg chg="add">
        <pc:chgData name="Vasilis Karastergios" userId="2aa9c0a1-323b-48aa-83e0-abc8de3a69d0" providerId="ADAL" clId="{8200BCDF-518A-42F4-ACB8-13784A4AE963}" dt="2024-01-08T10:46:31.690" v="1"/>
        <pc:sldMkLst>
          <pc:docMk/>
          <pc:sldMk cId="4082258413" sldId="3603"/>
        </pc:sldMkLst>
      </pc:sldChg>
    </pc:docChg>
  </pc:docChgLst>
  <pc:docChgLst>
    <pc:chgData name="Raether, Jerry" userId="14db987c-f35f-4c71-8653-84d365bd3bb9" providerId="ADAL" clId="{90AB4D30-48C4-4682-BFF1-114A65A1ABB8}"/>
    <pc:docChg chg="custSel delSld modSld">
      <pc:chgData name="Raether, Jerry" userId="14db987c-f35f-4c71-8653-84d365bd3bb9" providerId="ADAL" clId="{90AB4D30-48C4-4682-BFF1-114A65A1ABB8}" dt="2022-07-27T15:29:13.971" v="1042"/>
      <pc:docMkLst>
        <pc:docMk/>
      </pc:docMkLst>
      <pc:sldChg chg="addSp modSp mod modNotesTx">
        <pc:chgData name="Raether, Jerry" userId="14db987c-f35f-4c71-8653-84d365bd3bb9" providerId="ADAL" clId="{90AB4D30-48C4-4682-BFF1-114A65A1ABB8}" dt="2022-07-27T15:11:04.308" v="1025" actId="20577"/>
        <pc:sldMkLst>
          <pc:docMk/>
          <pc:sldMk cId="414466384" sldId="256"/>
        </pc:sldMkLst>
        <pc:spChg chg="mod">
          <ac:chgData name="Raether, Jerry" userId="14db987c-f35f-4c71-8653-84d365bd3bb9" providerId="ADAL" clId="{90AB4D30-48C4-4682-BFF1-114A65A1ABB8}" dt="2022-07-27T15:11:04.308" v="1025" actId="20577"/>
          <ac:spMkLst>
            <pc:docMk/>
            <pc:sldMk cId="414466384" sldId="256"/>
            <ac:spMk id="5" creationId="{650B538C-8E9C-428A-8731-F59D383BA40D}"/>
          </ac:spMkLst>
        </pc:spChg>
        <pc:spChg chg="add mod">
          <ac:chgData name="Raether, Jerry" userId="14db987c-f35f-4c71-8653-84d365bd3bb9" providerId="ADAL" clId="{90AB4D30-48C4-4682-BFF1-114A65A1ABB8}" dt="2022-06-29T23:32:29.783" v="984" actId="6549"/>
          <ac:spMkLst>
            <pc:docMk/>
            <pc:sldMk cId="414466384" sldId="256"/>
            <ac:spMk id="8" creationId="{895474DD-2346-463E-B260-54DBFBB56DDB}"/>
          </ac:spMkLst>
        </pc:spChg>
      </pc:sldChg>
      <pc:sldChg chg="addSp delSp modSp">
        <pc:chgData name="Raether, Jerry" userId="14db987c-f35f-4c71-8653-84d365bd3bb9" providerId="ADAL" clId="{90AB4D30-48C4-4682-BFF1-114A65A1ABB8}" dt="2022-07-27T15:24:26.713" v="1040"/>
        <pc:sldMkLst>
          <pc:docMk/>
          <pc:sldMk cId="1304444699" sldId="293"/>
        </pc:sldMkLst>
        <pc:picChg chg="del">
          <ac:chgData name="Raether, Jerry" userId="14db987c-f35f-4c71-8653-84d365bd3bb9" providerId="ADAL" clId="{90AB4D30-48C4-4682-BFF1-114A65A1ABB8}" dt="2022-07-27T15:23:23.900" v="1037" actId="478"/>
          <ac:picMkLst>
            <pc:docMk/>
            <pc:sldMk cId="1304444699" sldId="293"/>
            <ac:picMk id="8" creationId="{860251A1-0C11-4324-A7BC-C4B98D89A538}"/>
          </ac:picMkLst>
        </pc:picChg>
        <pc:picChg chg="add del mod">
          <ac:chgData name="Raether, Jerry" userId="14db987c-f35f-4c71-8653-84d365bd3bb9" providerId="ADAL" clId="{90AB4D30-48C4-4682-BFF1-114A65A1ABB8}" dt="2022-07-27T15:24:09.057" v="1039" actId="478"/>
          <ac:picMkLst>
            <pc:docMk/>
            <pc:sldMk cId="1304444699" sldId="293"/>
            <ac:picMk id="22" creationId="{25A5B10F-9A1E-4B68-8FDC-844F6E678E1E}"/>
          </ac:picMkLst>
        </pc:picChg>
        <pc:picChg chg="add mod">
          <ac:chgData name="Raether, Jerry" userId="14db987c-f35f-4c71-8653-84d365bd3bb9" providerId="ADAL" clId="{90AB4D30-48C4-4682-BFF1-114A65A1ABB8}" dt="2022-07-27T15:24:26.713" v="1040"/>
          <ac:picMkLst>
            <pc:docMk/>
            <pc:sldMk cId="1304444699" sldId="293"/>
            <ac:picMk id="23" creationId="{C1D7CB09-9D53-4993-8B07-C74324C17B69}"/>
          </ac:picMkLst>
        </pc:picChg>
      </pc:sldChg>
      <pc:sldChg chg="modSp mod">
        <pc:chgData name="Raether, Jerry" userId="14db987c-f35f-4c71-8653-84d365bd3bb9" providerId="ADAL" clId="{90AB4D30-48C4-4682-BFF1-114A65A1ABB8}" dt="2022-07-27T15:14:42.086" v="1034" actId="6549"/>
        <pc:sldMkLst>
          <pc:docMk/>
          <pc:sldMk cId="1354864347" sldId="316"/>
        </pc:sldMkLst>
        <pc:spChg chg="mod">
          <ac:chgData name="Raether, Jerry" userId="14db987c-f35f-4c71-8653-84d365bd3bb9" providerId="ADAL" clId="{90AB4D30-48C4-4682-BFF1-114A65A1ABB8}" dt="2022-07-27T15:14:42.086" v="1034" actId="6549"/>
          <ac:spMkLst>
            <pc:docMk/>
            <pc:sldMk cId="1354864347" sldId="316"/>
            <ac:spMk id="5" creationId="{00000000-0000-0000-0000-000000000000}"/>
          </ac:spMkLst>
        </pc:spChg>
      </pc:sldChg>
      <pc:sldChg chg="del">
        <pc:chgData name="Raether, Jerry" userId="14db987c-f35f-4c71-8653-84d365bd3bb9" providerId="ADAL" clId="{90AB4D30-48C4-4682-BFF1-114A65A1ABB8}" dt="2022-05-12T20:59:37.483" v="348" actId="47"/>
        <pc:sldMkLst>
          <pc:docMk/>
          <pc:sldMk cId="2090238529" sldId="323"/>
        </pc:sldMkLst>
      </pc:sldChg>
      <pc:sldChg chg="modSp mod">
        <pc:chgData name="Raether, Jerry" userId="14db987c-f35f-4c71-8653-84d365bd3bb9" providerId="ADAL" clId="{90AB4D30-48C4-4682-BFF1-114A65A1ABB8}" dt="2022-05-12T21:37:12.715" v="475"/>
        <pc:sldMkLst>
          <pc:docMk/>
          <pc:sldMk cId="888175597" sldId="326"/>
        </pc:sldMkLst>
        <pc:spChg chg="mod">
          <ac:chgData name="Raether, Jerry" userId="14db987c-f35f-4c71-8653-84d365bd3bb9" providerId="ADAL" clId="{90AB4D30-48C4-4682-BFF1-114A65A1ABB8}" dt="2022-05-12T21:00:14.319" v="376" actId="14100"/>
          <ac:spMkLst>
            <pc:docMk/>
            <pc:sldMk cId="888175597" sldId="326"/>
            <ac:spMk id="3" creationId="{DB42A882-3395-4499-BFC7-78DDD2DD0A09}"/>
          </ac:spMkLst>
        </pc:spChg>
        <pc:spChg chg="mod">
          <ac:chgData name="Raether, Jerry" userId="14db987c-f35f-4c71-8653-84d365bd3bb9" providerId="ADAL" clId="{90AB4D30-48C4-4682-BFF1-114A65A1ABB8}" dt="2022-05-12T21:37:12.715" v="475"/>
          <ac:spMkLst>
            <pc:docMk/>
            <pc:sldMk cId="888175597" sldId="326"/>
            <ac:spMk id="5" creationId="{00000000-0000-0000-0000-000000000000}"/>
          </ac:spMkLst>
        </pc:spChg>
      </pc:sldChg>
      <pc:sldChg chg="modNotesTx">
        <pc:chgData name="Raether, Jerry" userId="14db987c-f35f-4c71-8653-84d365bd3bb9" providerId="ADAL" clId="{90AB4D30-48C4-4682-BFF1-114A65A1ABB8}" dt="2022-05-12T21:02:40.748" v="440" actId="20577"/>
        <pc:sldMkLst>
          <pc:docMk/>
          <pc:sldMk cId="1228136347" sldId="331"/>
        </pc:sldMkLst>
      </pc:sldChg>
      <pc:sldChg chg="modSp mod">
        <pc:chgData name="Raether, Jerry" userId="14db987c-f35f-4c71-8653-84d365bd3bb9" providerId="ADAL" clId="{90AB4D30-48C4-4682-BFF1-114A65A1ABB8}" dt="2022-06-29T23:17:04.476" v="523" actId="20577"/>
        <pc:sldMkLst>
          <pc:docMk/>
          <pc:sldMk cId="3672931568" sldId="375"/>
        </pc:sldMkLst>
        <pc:graphicFrameChg chg="modGraphic">
          <ac:chgData name="Raether, Jerry" userId="14db987c-f35f-4c71-8653-84d365bd3bb9" providerId="ADAL" clId="{90AB4D30-48C4-4682-BFF1-114A65A1ABB8}" dt="2022-06-29T23:17:04.476" v="523" actId="20577"/>
          <ac:graphicFrameMkLst>
            <pc:docMk/>
            <pc:sldMk cId="3672931568" sldId="375"/>
            <ac:graphicFrameMk id="15" creationId="{10533E11-6D14-4282-942B-C43EC19E3E8B}"/>
          </ac:graphicFrameMkLst>
        </pc:graphicFrameChg>
      </pc:sldChg>
      <pc:sldChg chg="modNotesTx">
        <pc:chgData name="Raether, Jerry" userId="14db987c-f35f-4c71-8653-84d365bd3bb9" providerId="ADAL" clId="{90AB4D30-48C4-4682-BFF1-114A65A1ABB8}" dt="2022-05-12T21:36:57.402" v="474" actId="6549"/>
        <pc:sldMkLst>
          <pc:docMk/>
          <pc:sldMk cId="1948550152" sldId="3602"/>
        </pc:sldMkLst>
      </pc:sldChg>
      <pc:sldChg chg="modSp mod">
        <pc:chgData name="Raether, Jerry" userId="14db987c-f35f-4c71-8653-84d365bd3bb9" providerId="ADAL" clId="{90AB4D30-48C4-4682-BFF1-114A65A1ABB8}" dt="2022-05-12T20:54:33.501" v="297" actId="20577"/>
        <pc:sldMkLst>
          <pc:docMk/>
          <pc:sldMk cId="2673167439" sldId="3603"/>
        </pc:sldMkLst>
        <pc:graphicFrameChg chg="modGraphic">
          <ac:chgData name="Raether, Jerry" userId="14db987c-f35f-4c71-8653-84d365bd3bb9" providerId="ADAL" clId="{90AB4D30-48C4-4682-BFF1-114A65A1ABB8}" dt="2022-05-12T20:54:33.501" v="297" actId="20577"/>
          <ac:graphicFrameMkLst>
            <pc:docMk/>
            <pc:sldMk cId="2673167439" sldId="3603"/>
            <ac:graphicFrameMk id="15" creationId="{79A69B24-3C06-4421-96BE-892291FE5A1F}"/>
          </ac:graphicFrameMkLst>
        </pc:graphicFrameChg>
      </pc:sldChg>
      <pc:sldChg chg="modSp mod modNotes">
        <pc:chgData name="Raether, Jerry" userId="14db987c-f35f-4c71-8653-84d365bd3bb9" providerId="ADAL" clId="{90AB4D30-48C4-4682-BFF1-114A65A1ABB8}" dt="2022-05-24T17:35:41.509" v="511" actId="20577"/>
        <pc:sldMkLst>
          <pc:docMk/>
          <pc:sldMk cId="3222589753" sldId="3610"/>
        </pc:sldMkLst>
        <pc:graphicFrameChg chg="mod modGraphic">
          <ac:chgData name="Raether, Jerry" userId="14db987c-f35f-4c71-8653-84d365bd3bb9" providerId="ADAL" clId="{90AB4D30-48C4-4682-BFF1-114A65A1ABB8}" dt="2022-05-24T17:35:41.509" v="511" actId="20577"/>
          <ac:graphicFrameMkLst>
            <pc:docMk/>
            <pc:sldMk cId="3222589753" sldId="3610"/>
            <ac:graphicFrameMk id="13" creationId="{D23686F0-C751-4A65-AE04-19F6DD98360D}"/>
          </ac:graphicFrameMkLst>
        </pc:graphicFrameChg>
      </pc:sldChg>
      <pc:sldChg chg="addSp delSp modSp mod">
        <pc:chgData name="Raether, Jerry" userId="14db987c-f35f-4c71-8653-84d365bd3bb9" providerId="ADAL" clId="{90AB4D30-48C4-4682-BFF1-114A65A1ABB8}" dt="2022-07-27T15:29:13.971" v="1042"/>
        <pc:sldMkLst>
          <pc:docMk/>
          <pc:sldMk cId="3559413987" sldId="3612"/>
        </pc:sldMkLst>
        <pc:spChg chg="mod">
          <ac:chgData name="Raether, Jerry" userId="14db987c-f35f-4c71-8653-84d365bd3bb9" providerId="ADAL" clId="{90AB4D30-48C4-4682-BFF1-114A65A1ABB8}" dt="2022-05-12T20:57:48.677" v="325" actId="1036"/>
          <ac:spMkLst>
            <pc:docMk/>
            <pc:sldMk cId="3559413987" sldId="3612"/>
            <ac:spMk id="5" creationId="{00000000-0000-0000-0000-000000000000}"/>
          </ac:spMkLst>
        </pc:spChg>
        <pc:spChg chg="mod">
          <ac:chgData name="Raether, Jerry" userId="14db987c-f35f-4c71-8653-84d365bd3bb9" providerId="ADAL" clId="{90AB4D30-48C4-4682-BFF1-114A65A1ABB8}" dt="2022-05-12T20:57:37.977" v="315" actId="1036"/>
          <ac:spMkLst>
            <pc:docMk/>
            <pc:sldMk cId="3559413987" sldId="3612"/>
            <ac:spMk id="13" creationId="{76513160-9BF9-4D67-8C54-CBD65A69F485}"/>
          </ac:spMkLst>
        </pc:spChg>
        <pc:spChg chg="del mod">
          <ac:chgData name="Raether, Jerry" userId="14db987c-f35f-4c71-8653-84d365bd3bb9" providerId="ADAL" clId="{90AB4D30-48C4-4682-BFF1-114A65A1ABB8}" dt="2022-05-12T20:58:19.938" v="335" actId="478"/>
          <ac:spMkLst>
            <pc:docMk/>
            <pc:sldMk cId="3559413987" sldId="3612"/>
            <ac:spMk id="17" creationId="{0FA4489C-D1EA-4EC8-A497-969A8BE1EE0D}"/>
          </ac:spMkLst>
        </pc:spChg>
        <pc:spChg chg="del">
          <ac:chgData name="Raether, Jerry" userId="14db987c-f35f-4c71-8653-84d365bd3bb9" providerId="ADAL" clId="{90AB4D30-48C4-4682-BFF1-114A65A1ABB8}" dt="2022-05-12T20:58:26.966" v="338" actId="478"/>
          <ac:spMkLst>
            <pc:docMk/>
            <pc:sldMk cId="3559413987" sldId="3612"/>
            <ac:spMk id="24" creationId="{4EF01C5F-1A1A-4E76-9819-7924B25A5753}"/>
          </ac:spMkLst>
        </pc:spChg>
        <pc:graphicFrameChg chg="modGraphic">
          <ac:chgData name="Raether, Jerry" userId="14db987c-f35f-4c71-8653-84d365bd3bb9" providerId="ADAL" clId="{90AB4D30-48C4-4682-BFF1-114A65A1ABB8}" dt="2022-05-12T20:57:09.252" v="305" actId="20577"/>
          <ac:graphicFrameMkLst>
            <pc:docMk/>
            <pc:sldMk cId="3559413987" sldId="3612"/>
            <ac:graphicFrameMk id="20" creationId="{2A3B3914-05EB-4FC6-9A6C-5211A6EE97E2}"/>
          </ac:graphicFrameMkLst>
        </pc:graphicFrameChg>
        <pc:picChg chg="add mod">
          <ac:chgData name="Raether, Jerry" userId="14db987c-f35f-4c71-8653-84d365bd3bb9" providerId="ADAL" clId="{90AB4D30-48C4-4682-BFF1-114A65A1ABB8}" dt="2022-07-27T15:29:13.971" v="1042"/>
          <ac:picMkLst>
            <pc:docMk/>
            <pc:sldMk cId="3559413987" sldId="3612"/>
            <ac:picMk id="9" creationId="{7FFF7952-D042-4FAA-8AB5-B8A5A5A0607D}"/>
          </ac:picMkLst>
        </pc:picChg>
        <pc:picChg chg="del">
          <ac:chgData name="Raether, Jerry" userId="14db987c-f35f-4c71-8653-84d365bd3bb9" providerId="ADAL" clId="{90AB4D30-48C4-4682-BFF1-114A65A1ABB8}" dt="2022-07-27T15:28:27.948" v="1041" actId="478"/>
          <ac:picMkLst>
            <pc:docMk/>
            <pc:sldMk cId="3559413987" sldId="3612"/>
            <ac:picMk id="11" creationId="{D83D159A-615F-4E48-A641-63296391D1A3}"/>
          </ac:picMkLst>
        </pc:picChg>
        <pc:picChg chg="mod">
          <ac:chgData name="Raether, Jerry" userId="14db987c-f35f-4c71-8653-84d365bd3bb9" providerId="ADAL" clId="{90AB4D30-48C4-4682-BFF1-114A65A1ABB8}" dt="2022-05-12T20:58:29.238" v="339" actId="1076"/>
          <ac:picMkLst>
            <pc:docMk/>
            <pc:sldMk cId="3559413987" sldId="3612"/>
            <ac:picMk id="21" creationId="{A3706D9C-7B15-45A9-A8C7-C2D3B394CFF4}"/>
          </ac:picMkLst>
        </pc:picChg>
        <pc:picChg chg="mod">
          <ac:chgData name="Raether, Jerry" userId="14db987c-f35f-4c71-8653-84d365bd3bb9" providerId="ADAL" clId="{90AB4D30-48C4-4682-BFF1-114A65A1ABB8}" dt="2022-05-12T20:58:22.429" v="336" actId="1076"/>
          <ac:picMkLst>
            <pc:docMk/>
            <pc:sldMk cId="3559413987" sldId="3612"/>
            <ac:picMk id="23" creationId="{B87A4B5B-D98E-4FE0-8197-F3DEA0C37D34}"/>
          </ac:picMkLst>
        </pc:picChg>
      </pc:sldChg>
      <pc:sldChg chg="del">
        <pc:chgData name="Raether, Jerry" userId="14db987c-f35f-4c71-8653-84d365bd3bb9" providerId="ADAL" clId="{90AB4D30-48C4-4682-BFF1-114A65A1ABB8}" dt="2022-05-12T20:59:39.205" v="349" actId="47"/>
        <pc:sldMkLst>
          <pc:docMk/>
          <pc:sldMk cId="1692230619" sldId="3614"/>
        </pc:sldMkLst>
      </pc:sldChg>
      <pc:sldChg chg="modSp mod">
        <pc:chgData name="Raether, Jerry" userId="14db987c-f35f-4c71-8653-84d365bd3bb9" providerId="ADAL" clId="{90AB4D30-48C4-4682-BFF1-114A65A1ABB8}" dt="2022-05-12T21:36:22.224" v="448" actId="20577"/>
        <pc:sldMkLst>
          <pc:docMk/>
          <pc:sldMk cId="4133373926" sldId="3619"/>
        </pc:sldMkLst>
        <pc:spChg chg="mod">
          <ac:chgData name="Raether, Jerry" userId="14db987c-f35f-4c71-8653-84d365bd3bb9" providerId="ADAL" clId="{90AB4D30-48C4-4682-BFF1-114A65A1ABB8}" dt="2022-05-12T20:49:13.470" v="202"/>
          <ac:spMkLst>
            <pc:docMk/>
            <pc:sldMk cId="4133373926" sldId="3619"/>
            <ac:spMk id="5" creationId="{00000000-0000-0000-0000-000000000000}"/>
          </ac:spMkLst>
        </pc:spChg>
        <pc:spChg chg="mod">
          <ac:chgData name="Raether, Jerry" userId="14db987c-f35f-4c71-8653-84d365bd3bb9" providerId="ADAL" clId="{90AB4D30-48C4-4682-BFF1-114A65A1ABB8}" dt="2022-05-12T21:36:22.224" v="448" actId="20577"/>
          <ac:spMkLst>
            <pc:docMk/>
            <pc:sldMk cId="4133373926" sldId="3619"/>
            <ac:spMk id="6" creationId="{00000000-0000-0000-0000-000000000000}"/>
          </ac:spMkLst>
        </pc:spChg>
        <pc:spChg chg="mod">
          <ac:chgData name="Raether, Jerry" userId="14db987c-f35f-4c71-8653-84d365bd3bb9" providerId="ADAL" clId="{90AB4D30-48C4-4682-BFF1-114A65A1ABB8}" dt="2022-05-12T20:49:31.981" v="203" actId="33524"/>
          <ac:spMkLst>
            <pc:docMk/>
            <pc:sldMk cId="4133373926" sldId="3619"/>
            <ac:spMk id="13" creationId="{B431345D-4ACB-4F7F-AC85-B1A8E38BB4B1}"/>
          </ac:spMkLst>
        </pc:spChg>
        <pc:spChg chg="mod">
          <ac:chgData name="Raether, Jerry" userId="14db987c-f35f-4c71-8653-84d365bd3bb9" providerId="ADAL" clId="{90AB4D30-48C4-4682-BFF1-114A65A1ABB8}" dt="2022-05-12T20:49:49.103" v="217" actId="6549"/>
          <ac:spMkLst>
            <pc:docMk/>
            <pc:sldMk cId="4133373926" sldId="3619"/>
            <ac:spMk id="17" creationId="{BDFD3054-8D53-4BD8-B2CA-B2964856F366}"/>
          </ac:spMkLst>
        </pc:spChg>
        <pc:spChg chg="mod">
          <ac:chgData name="Raether, Jerry" userId="14db987c-f35f-4c71-8653-84d365bd3bb9" providerId="ADAL" clId="{90AB4D30-48C4-4682-BFF1-114A65A1ABB8}" dt="2022-05-12T20:49:56.837" v="231" actId="6549"/>
          <ac:spMkLst>
            <pc:docMk/>
            <pc:sldMk cId="4133373926" sldId="3619"/>
            <ac:spMk id="19" creationId="{BF2BB4F5-6BBE-4313-8093-E026F250E3B6}"/>
          </ac:spMkLst>
        </pc:spChg>
        <pc:picChg chg="mod">
          <ac:chgData name="Raether, Jerry" userId="14db987c-f35f-4c71-8653-84d365bd3bb9" providerId="ADAL" clId="{90AB4D30-48C4-4682-BFF1-114A65A1ABB8}" dt="2022-05-12T20:50:04.172" v="233" actId="1076"/>
          <ac:picMkLst>
            <pc:docMk/>
            <pc:sldMk cId="4133373926" sldId="3619"/>
            <ac:picMk id="25" creationId="{67855199-ECDE-411B-BC67-8775679F27E1}"/>
          </ac:picMkLst>
        </pc:picChg>
        <pc:picChg chg="mod">
          <ac:chgData name="Raether, Jerry" userId="14db987c-f35f-4c71-8653-84d365bd3bb9" providerId="ADAL" clId="{90AB4D30-48C4-4682-BFF1-114A65A1ABB8}" dt="2022-05-12T20:50:05.483" v="234" actId="1076"/>
          <ac:picMkLst>
            <pc:docMk/>
            <pc:sldMk cId="4133373926" sldId="3619"/>
            <ac:picMk id="26" creationId="{42B591F1-A686-4DC9-9787-B25FEC953005}"/>
          </ac:picMkLst>
        </pc:picChg>
      </pc:sldChg>
      <pc:sldChg chg="addSp delSp modSp">
        <pc:chgData name="Raether, Jerry" userId="14db987c-f35f-4c71-8653-84d365bd3bb9" providerId="ADAL" clId="{90AB4D30-48C4-4682-BFF1-114A65A1ABB8}" dt="2022-07-27T15:16:52.227" v="1036"/>
        <pc:sldMkLst>
          <pc:docMk/>
          <pc:sldMk cId="1490288003" sldId="3620"/>
        </pc:sldMkLst>
        <pc:picChg chg="del">
          <ac:chgData name="Raether, Jerry" userId="14db987c-f35f-4c71-8653-84d365bd3bb9" providerId="ADAL" clId="{90AB4D30-48C4-4682-BFF1-114A65A1ABB8}" dt="2022-07-27T15:16:50.963" v="1035" actId="478"/>
          <ac:picMkLst>
            <pc:docMk/>
            <pc:sldMk cId="1490288003" sldId="3620"/>
            <ac:picMk id="9" creationId="{18104B31-8DD4-4248-9C46-38658EA94F6D}"/>
          </ac:picMkLst>
        </pc:picChg>
        <pc:picChg chg="add mod">
          <ac:chgData name="Raether, Jerry" userId="14db987c-f35f-4c71-8653-84d365bd3bb9" providerId="ADAL" clId="{90AB4D30-48C4-4682-BFF1-114A65A1ABB8}" dt="2022-07-27T15:16:52.227" v="1036"/>
          <ac:picMkLst>
            <pc:docMk/>
            <pc:sldMk cId="1490288003" sldId="3620"/>
            <ac:picMk id="24" creationId="{F5D87CE3-EF10-433E-8969-94C7EA8FEEA4}"/>
          </ac:picMkLst>
        </pc:picChg>
      </pc:sldChg>
      <pc:sldChg chg="modSp mod modNotesTx">
        <pc:chgData name="Raether, Jerry" userId="14db987c-f35f-4c71-8653-84d365bd3bb9" providerId="ADAL" clId="{90AB4D30-48C4-4682-BFF1-114A65A1ABB8}" dt="2022-06-29T23:36:01.799" v="1021" actId="6549"/>
        <pc:sldMkLst>
          <pc:docMk/>
          <pc:sldMk cId="3626150123" sldId="4263"/>
        </pc:sldMkLst>
        <pc:spChg chg="mod">
          <ac:chgData name="Raether, Jerry" userId="14db987c-f35f-4c71-8653-84d365bd3bb9" providerId="ADAL" clId="{90AB4D30-48C4-4682-BFF1-114A65A1ABB8}" dt="2022-06-29T23:36:01.799" v="1021" actId="6549"/>
          <ac:spMkLst>
            <pc:docMk/>
            <pc:sldMk cId="3626150123" sldId="4263"/>
            <ac:spMk id="6" creationId="{2BA6AC9F-D16D-43DA-A2DF-DBAD687C4C9C}"/>
          </ac:spMkLst>
        </pc:spChg>
        <pc:spChg chg="mod">
          <ac:chgData name="Raether, Jerry" userId="14db987c-f35f-4c71-8653-84d365bd3bb9" providerId="ADAL" clId="{90AB4D30-48C4-4682-BFF1-114A65A1ABB8}" dt="2022-05-12T18:33:12.449" v="96" actId="6549"/>
          <ac:spMkLst>
            <pc:docMk/>
            <pc:sldMk cId="3626150123" sldId="4263"/>
            <ac:spMk id="196" creationId="{E08E976B-2F06-4440-A134-E82E1231F5DD}"/>
          </ac:spMkLst>
        </pc:spChg>
        <pc:cxnChg chg="mod">
          <ac:chgData name="Raether, Jerry" userId="14db987c-f35f-4c71-8653-84d365bd3bb9" providerId="ADAL" clId="{90AB4D30-48C4-4682-BFF1-114A65A1ABB8}" dt="2022-06-29T23:23:46.973" v="727" actId="14100"/>
          <ac:cxnSpMkLst>
            <pc:docMk/>
            <pc:sldMk cId="3626150123" sldId="4263"/>
            <ac:cxnSpMk id="38" creationId="{EDD677DB-A66F-4EFA-9CBF-5F77055C9F27}"/>
          </ac:cxnSpMkLst>
        </pc:cxnChg>
        <pc:cxnChg chg="mod">
          <ac:chgData name="Raether, Jerry" userId="14db987c-f35f-4c71-8653-84d365bd3bb9" providerId="ADAL" clId="{90AB4D30-48C4-4682-BFF1-114A65A1ABB8}" dt="2022-06-29T23:23:23.721" v="724" actId="14100"/>
          <ac:cxnSpMkLst>
            <pc:docMk/>
            <pc:sldMk cId="3626150123" sldId="4263"/>
            <ac:cxnSpMk id="47" creationId="{E68599B3-C798-48D1-BC22-402B8B429CE7}"/>
          </ac:cxnSpMkLst>
        </pc:cxnChg>
        <pc:cxnChg chg="mod">
          <ac:chgData name="Raether, Jerry" userId="14db987c-f35f-4c71-8653-84d365bd3bb9" providerId="ADAL" clId="{90AB4D30-48C4-4682-BFF1-114A65A1ABB8}" dt="2022-06-29T23:23:28.553" v="725" actId="14100"/>
          <ac:cxnSpMkLst>
            <pc:docMk/>
            <pc:sldMk cId="3626150123" sldId="4263"/>
            <ac:cxnSpMk id="48" creationId="{9E99BBD1-D900-4934-9577-024DAC5FE6F0}"/>
          </ac:cxnSpMkLst>
        </pc:cxnChg>
        <pc:cxnChg chg="mod">
          <ac:chgData name="Raether, Jerry" userId="14db987c-f35f-4c71-8653-84d365bd3bb9" providerId="ADAL" clId="{90AB4D30-48C4-4682-BFF1-114A65A1ABB8}" dt="2022-05-12T18:31:32.372" v="14" actId="14100"/>
          <ac:cxnSpMkLst>
            <pc:docMk/>
            <pc:sldMk cId="3626150123" sldId="4263"/>
            <ac:cxnSpMk id="51" creationId="{542AFDD7-883D-4138-87F2-7D345AD931DA}"/>
          </ac:cxnSpMkLst>
        </pc:cxnChg>
        <pc:cxnChg chg="mod">
          <ac:chgData name="Raether, Jerry" userId="14db987c-f35f-4c71-8653-84d365bd3bb9" providerId="ADAL" clId="{90AB4D30-48C4-4682-BFF1-114A65A1ABB8}" dt="2022-05-12T18:31:53.975" v="27" actId="14100"/>
          <ac:cxnSpMkLst>
            <pc:docMk/>
            <pc:sldMk cId="3626150123" sldId="4263"/>
            <ac:cxnSpMk id="58" creationId="{0F4811C2-333D-47FB-BADE-B8D959669805}"/>
          </ac:cxnSpMkLst>
        </pc:cxnChg>
        <pc:cxnChg chg="mod">
          <ac:chgData name="Raether, Jerry" userId="14db987c-f35f-4c71-8653-84d365bd3bb9" providerId="ADAL" clId="{90AB4D30-48C4-4682-BFF1-114A65A1ABB8}" dt="2022-05-12T18:32:14.545" v="42" actId="14100"/>
          <ac:cxnSpMkLst>
            <pc:docMk/>
            <pc:sldMk cId="3626150123" sldId="4263"/>
            <ac:cxnSpMk id="83" creationId="{F1E5A77C-1B5C-4497-ABDA-A095AFABF477}"/>
          </ac:cxnSpMkLst>
        </pc:cxnChg>
        <pc:cxnChg chg="mod">
          <ac:chgData name="Raether, Jerry" userId="14db987c-f35f-4c71-8653-84d365bd3bb9" providerId="ADAL" clId="{90AB4D30-48C4-4682-BFF1-114A65A1ABB8}" dt="2022-06-29T23:23:39.503" v="726" actId="14100"/>
          <ac:cxnSpMkLst>
            <pc:docMk/>
            <pc:sldMk cId="3626150123" sldId="4263"/>
            <ac:cxnSpMk id="85" creationId="{5C7F86B7-4359-4C94-9059-EF68332BCF7B}"/>
          </ac:cxnSpMkLst>
        </pc:cxnChg>
        <pc:cxnChg chg="mod">
          <ac:chgData name="Raether, Jerry" userId="14db987c-f35f-4c71-8653-84d365bd3bb9" providerId="ADAL" clId="{90AB4D30-48C4-4682-BFF1-114A65A1ABB8}" dt="2022-05-12T18:32:46.584" v="60" actId="14100"/>
          <ac:cxnSpMkLst>
            <pc:docMk/>
            <pc:sldMk cId="3626150123" sldId="4263"/>
            <ac:cxnSpMk id="86" creationId="{B70BDA47-5780-443C-A023-6BB53ECC939D}"/>
          </ac:cxnSpMkLst>
        </pc:cxnChg>
        <pc:cxnChg chg="mod">
          <ac:chgData name="Raether, Jerry" userId="14db987c-f35f-4c71-8653-84d365bd3bb9" providerId="ADAL" clId="{90AB4D30-48C4-4682-BFF1-114A65A1ABB8}" dt="2022-05-12T18:32:38.371" v="59" actId="14100"/>
          <ac:cxnSpMkLst>
            <pc:docMk/>
            <pc:sldMk cId="3626150123" sldId="4263"/>
            <ac:cxnSpMk id="742" creationId="{CE320F8F-BE22-498C-AC3B-2B60831FC726}"/>
          </ac:cxnSpMkLst>
        </pc:cxnChg>
      </pc:sldChg>
      <pc:sldChg chg="modSp mod">
        <pc:chgData name="Raether, Jerry" userId="14db987c-f35f-4c71-8653-84d365bd3bb9" providerId="ADAL" clId="{90AB4D30-48C4-4682-BFF1-114A65A1ABB8}" dt="2022-05-12T21:37:15.199" v="483" actId="20577"/>
        <pc:sldMkLst>
          <pc:docMk/>
          <pc:sldMk cId="270707387" sldId="4265"/>
        </pc:sldMkLst>
        <pc:spChg chg="mod">
          <ac:chgData name="Raether, Jerry" userId="14db987c-f35f-4c71-8653-84d365bd3bb9" providerId="ADAL" clId="{90AB4D30-48C4-4682-BFF1-114A65A1ABB8}" dt="2022-05-12T21:37:15.199" v="483" actId="20577"/>
          <ac:spMkLst>
            <pc:docMk/>
            <pc:sldMk cId="270707387" sldId="4265"/>
            <ac:spMk id="6" creationId="{76C91FAD-A65A-4B88-A45A-E8D1CF176F33}"/>
          </ac:spMkLst>
        </pc:spChg>
        <pc:graphicFrameChg chg="modGraphic">
          <ac:chgData name="Raether, Jerry" userId="14db987c-f35f-4c71-8653-84d365bd3bb9" providerId="ADAL" clId="{90AB4D30-48C4-4682-BFF1-114A65A1ABB8}" dt="2022-05-12T20:58:52.485" v="347" actId="20577"/>
          <ac:graphicFrameMkLst>
            <pc:docMk/>
            <pc:sldMk cId="270707387" sldId="4265"/>
            <ac:graphicFrameMk id="18" creationId="{B26D893D-B451-4FE3-A72C-C83032CAEA5C}"/>
          </ac:graphicFrameMkLst>
        </pc:graphicFrameChg>
      </pc:sldChg>
      <pc:sldChg chg="modSp mod">
        <pc:chgData name="Raether, Jerry" userId="14db987c-f35f-4c71-8653-84d365bd3bb9" providerId="ADAL" clId="{90AB4D30-48C4-4682-BFF1-114A65A1ABB8}" dt="2022-05-12T18:34:00.310" v="109" actId="2165"/>
        <pc:sldMkLst>
          <pc:docMk/>
          <pc:sldMk cId="2261095948" sldId="4266"/>
        </pc:sldMkLst>
        <pc:graphicFrameChg chg="modGraphic">
          <ac:chgData name="Raether, Jerry" userId="14db987c-f35f-4c71-8653-84d365bd3bb9" providerId="ADAL" clId="{90AB4D30-48C4-4682-BFF1-114A65A1ABB8}" dt="2022-05-12T18:34:00.310" v="109" actId="2165"/>
          <ac:graphicFrameMkLst>
            <pc:docMk/>
            <pc:sldMk cId="2261095948" sldId="4266"/>
            <ac:graphicFrameMk id="8" creationId="{00000000-0000-0000-0000-000000000000}"/>
          </ac:graphicFrameMkLst>
        </pc:graphicFrameChg>
      </pc:sldChg>
      <pc:sldChg chg="modSp">
        <pc:chgData name="Raether, Jerry" userId="14db987c-f35f-4c71-8653-84d365bd3bb9" providerId="ADAL" clId="{90AB4D30-48C4-4682-BFF1-114A65A1ABB8}" dt="2022-05-12T21:37:12.715" v="475"/>
        <pc:sldMkLst>
          <pc:docMk/>
          <pc:sldMk cId="2300956671" sldId="4271"/>
        </pc:sldMkLst>
        <pc:spChg chg="mod">
          <ac:chgData name="Raether, Jerry" userId="14db987c-f35f-4c71-8653-84d365bd3bb9" providerId="ADAL" clId="{90AB4D30-48C4-4682-BFF1-114A65A1ABB8}" dt="2022-05-12T21:37:12.715" v="475"/>
          <ac:spMkLst>
            <pc:docMk/>
            <pc:sldMk cId="2300956671" sldId="4271"/>
            <ac:spMk id="17" creationId="{98C93522-5A81-40A5-834A-7CC7643CB426}"/>
          </ac:spMkLst>
        </pc:spChg>
      </pc:sldChg>
      <pc:sldChg chg="modSp mod modNotesTx">
        <pc:chgData name="Raether, Jerry" userId="14db987c-f35f-4c71-8653-84d365bd3bb9" providerId="ADAL" clId="{90AB4D30-48C4-4682-BFF1-114A65A1ABB8}" dt="2022-05-12T21:01:43.720" v="413" actId="6549"/>
        <pc:sldMkLst>
          <pc:docMk/>
          <pc:sldMk cId="2586647777" sldId="4274"/>
        </pc:sldMkLst>
        <pc:spChg chg="mod">
          <ac:chgData name="Raether, Jerry" userId="14db987c-f35f-4c71-8653-84d365bd3bb9" providerId="ADAL" clId="{90AB4D30-48C4-4682-BFF1-114A65A1ABB8}" dt="2022-05-12T21:01:12.404" v="391"/>
          <ac:spMkLst>
            <pc:docMk/>
            <pc:sldMk cId="2586647777" sldId="4274"/>
            <ac:spMk id="5" creationId="{00000000-0000-0000-0000-000000000000}"/>
          </ac:spMkLst>
        </pc:spChg>
        <pc:spChg chg="mod">
          <ac:chgData name="Raether, Jerry" userId="14db987c-f35f-4c71-8653-84d365bd3bb9" providerId="ADAL" clId="{90AB4D30-48C4-4682-BFF1-114A65A1ABB8}" dt="2022-05-12T21:01:20.561" v="399" actId="20577"/>
          <ac:spMkLst>
            <pc:docMk/>
            <pc:sldMk cId="2586647777" sldId="4274"/>
            <ac:spMk id="34" creationId="{0B1023CE-411D-4A8D-A41E-5DE1CCB62607}"/>
          </ac:spMkLst>
        </pc:spChg>
      </pc:sldChg>
      <pc:sldChg chg="modSp mod modNotesTx">
        <pc:chgData name="Raether, Jerry" userId="14db987c-f35f-4c71-8653-84d365bd3bb9" providerId="ADAL" clId="{90AB4D30-48C4-4682-BFF1-114A65A1ABB8}" dt="2022-05-12T21:02:26.906" v="439" actId="6549"/>
        <pc:sldMkLst>
          <pc:docMk/>
          <pc:sldMk cId="2776648146" sldId="4276"/>
        </pc:sldMkLst>
        <pc:graphicFrameChg chg="modGraphic">
          <ac:chgData name="Raether, Jerry" userId="14db987c-f35f-4c71-8653-84d365bd3bb9" providerId="ADAL" clId="{90AB4D30-48C4-4682-BFF1-114A65A1ABB8}" dt="2022-05-12T21:02:09.729" v="425" actId="20577"/>
          <ac:graphicFrameMkLst>
            <pc:docMk/>
            <pc:sldMk cId="2776648146" sldId="4276"/>
            <ac:graphicFrameMk id="14" creationId="{219AAD19-813D-4C3D-9A80-CB62CAA08099}"/>
          </ac:graphicFrameMkLst>
        </pc:graphicFrameChg>
      </pc:sldChg>
      <pc:sldChg chg="modSp mod">
        <pc:chgData name="Raether, Jerry" userId="14db987c-f35f-4c71-8653-84d365bd3bb9" providerId="ADAL" clId="{90AB4D30-48C4-4682-BFF1-114A65A1ABB8}" dt="2022-05-12T20:51:35.409" v="256" actId="6549"/>
        <pc:sldMkLst>
          <pc:docMk/>
          <pc:sldMk cId="3550731511" sldId="2147374543"/>
        </pc:sldMkLst>
        <pc:spChg chg="mod">
          <ac:chgData name="Raether, Jerry" userId="14db987c-f35f-4c71-8653-84d365bd3bb9" providerId="ADAL" clId="{90AB4D30-48C4-4682-BFF1-114A65A1ABB8}" dt="2022-05-12T20:51:35.409" v="256" actId="6549"/>
          <ac:spMkLst>
            <pc:docMk/>
            <pc:sldMk cId="3550731511" sldId="2147374543"/>
            <ac:spMk id="2" creationId="{5E9386B8-5C25-45BC-84E3-F7F7022D92AD}"/>
          </ac:spMkLst>
        </pc:spChg>
        <pc:graphicFrameChg chg="modGraphic">
          <ac:chgData name="Raether, Jerry" userId="14db987c-f35f-4c71-8653-84d365bd3bb9" providerId="ADAL" clId="{90AB4D30-48C4-4682-BFF1-114A65A1ABB8}" dt="2022-05-12T20:50:44.999" v="242" actId="20577"/>
          <ac:graphicFrameMkLst>
            <pc:docMk/>
            <pc:sldMk cId="3550731511" sldId="2147374543"/>
            <ac:graphicFrameMk id="4" creationId="{73D26D84-F2D4-454F-9CBC-CD99B833945A}"/>
          </ac:graphicFrameMkLst>
        </pc:graphicFrameChg>
      </pc:sldChg>
      <pc:sldChg chg="delSp modSp del mod">
        <pc:chgData name="Raether, Jerry" userId="14db987c-f35f-4c71-8653-84d365bd3bb9" providerId="ADAL" clId="{90AB4D30-48C4-4682-BFF1-114A65A1ABB8}" dt="2022-05-24T16:36:22.806" v="501" actId="47"/>
        <pc:sldMkLst>
          <pc:docMk/>
          <pc:sldMk cId="2732325099" sldId="2147374545"/>
        </pc:sldMkLst>
        <pc:spChg chg="del">
          <ac:chgData name="Raether, Jerry" userId="14db987c-f35f-4c71-8653-84d365bd3bb9" providerId="ADAL" clId="{90AB4D30-48C4-4682-BFF1-114A65A1ABB8}" dt="2022-05-24T16:34:46.156" v="485" actId="478"/>
          <ac:spMkLst>
            <pc:docMk/>
            <pc:sldMk cId="2732325099" sldId="2147374545"/>
            <ac:spMk id="2" creationId="{E13C2BC8-E6C3-43B3-9946-27ECF952ABA9}"/>
          </ac:spMkLst>
        </pc:spChg>
        <pc:graphicFrameChg chg="mod modGraphic">
          <ac:chgData name="Raether, Jerry" userId="14db987c-f35f-4c71-8653-84d365bd3bb9" providerId="ADAL" clId="{90AB4D30-48C4-4682-BFF1-114A65A1ABB8}" dt="2022-05-24T16:34:54.431" v="500" actId="1036"/>
          <ac:graphicFrameMkLst>
            <pc:docMk/>
            <pc:sldMk cId="2732325099" sldId="2147374545"/>
            <ac:graphicFrameMk id="18" creationId="{B26D893D-B451-4FE3-A72C-C83032CAEA5C}"/>
          </ac:graphicFrameMkLst>
        </pc:graphicFrameChg>
        <pc:picChg chg="del">
          <ac:chgData name="Raether, Jerry" userId="14db987c-f35f-4c71-8653-84d365bd3bb9" providerId="ADAL" clId="{90AB4D30-48C4-4682-BFF1-114A65A1ABB8}" dt="2022-05-24T16:34:47.479" v="486" actId="478"/>
          <ac:picMkLst>
            <pc:docMk/>
            <pc:sldMk cId="2732325099" sldId="2147374545"/>
            <ac:picMk id="4" creationId="{15B4BC4B-4865-4A13-8856-7A1B583BB9F4}"/>
          </ac:picMkLst>
        </pc:picChg>
        <pc:picChg chg="del">
          <ac:chgData name="Raether, Jerry" userId="14db987c-f35f-4c71-8653-84d365bd3bb9" providerId="ADAL" clId="{90AB4D30-48C4-4682-BFF1-114A65A1ABB8}" dt="2022-05-24T16:34:46.156" v="485" actId="478"/>
          <ac:picMkLst>
            <pc:docMk/>
            <pc:sldMk cId="2732325099" sldId="2147374545"/>
            <ac:picMk id="26" creationId="{DE6E3659-0561-49CE-A23E-1F02176CCC7D}"/>
          </ac:picMkLst>
        </pc:picChg>
      </pc:sldChg>
    </pc:docChg>
  </pc:docChgLst>
  <pc:docChgLst>
    <pc:chgData name="Vasilis Karastergios" userId="2aa9c0a1-323b-48aa-83e0-abc8de3a69d0" providerId="ADAL" clId="{3A3D5ACB-750C-4195-899B-466533442B0B}"/>
    <pc:docChg chg="undo custSel addSld delSld modSld">
      <pc:chgData name="Vasilis Karastergios" userId="2aa9c0a1-323b-48aa-83e0-abc8de3a69d0" providerId="ADAL" clId="{3A3D5ACB-750C-4195-899B-466533442B0B}" dt="2022-09-14T08:20:17.413" v="6" actId="47"/>
      <pc:docMkLst>
        <pc:docMk/>
      </pc:docMkLst>
      <pc:sldChg chg="delSp mod">
        <pc:chgData name="Vasilis Karastergios" userId="2aa9c0a1-323b-48aa-83e0-abc8de3a69d0" providerId="ADAL" clId="{3A3D5ACB-750C-4195-899B-466533442B0B}" dt="2022-09-14T07:08:55.372" v="1" actId="478"/>
        <pc:sldMkLst>
          <pc:docMk/>
          <pc:sldMk cId="414466384" sldId="256"/>
        </pc:sldMkLst>
        <pc:spChg chg="del">
          <ac:chgData name="Vasilis Karastergios" userId="2aa9c0a1-323b-48aa-83e0-abc8de3a69d0" providerId="ADAL" clId="{3A3D5ACB-750C-4195-899B-466533442B0B}" dt="2022-09-14T07:08:53.996" v="0" actId="478"/>
          <ac:spMkLst>
            <pc:docMk/>
            <pc:sldMk cId="414466384" sldId="256"/>
            <ac:spMk id="6" creationId="{CB2687C6-2C40-4DA8-B634-FB273BDBD706}"/>
          </ac:spMkLst>
        </pc:spChg>
        <pc:spChg chg="del">
          <ac:chgData name="Vasilis Karastergios" userId="2aa9c0a1-323b-48aa-83e0-abc8de3a69d0" providerId="ADAL" clId="{3A3D5ACB-750C-4195-899B-466533442B0B}" dt="2022-09-14T07:08:55.372" v="1" actId="478"/>
          <ac:spMkLst>
            <pc:docMk/>
            <pc:sldMk cId="414466384" sldId="256"/>
            <ac:spMk id="7" creationId="{E1EF294E-1A80-450E-8536-7C781397D58A}"/>
          </ac:spMkLst>
        </pc:spChg>
      </pc:sldChg>
      <pc:sldChg chg="add del">
        <pc:chgData name="Vasilis Karastergios" userId="2aa9c0a1-323b-48aa-83e0-abc8de3a69d0" providerId="ADAL" clId="{3A3D5ACB-750C-4195-899B-466533442B0B}" dt="2022-09-14T08:18:26.374" v="5" actId="47"/>
        <pc:sldMkLst>
          <pc:docMk/>
          <pc:sldMk cId="4094293267" sldId="264"/>
        </pc:sldMkLst>
      </pc:sldChg>
      <pc:sldChg chg="add del">
        <pc:chgData name="Vasilis Karastergios" userId="2aa9c0a1-323b-48aa-83e0-abc8de3a69d0" providerId="ADAL" clId="{3A3D5ACB-750C-4195-899B-466533442B0B}" dt="2022-09-14T08:18:26.374" v="5" actId="47"/>
        <pc:sldMkLst>
          <pc:docMk/>
          <pc:sldMk cId="2571868114" sldId="268"/>
        </pc:sldMkLst>
      </pc:sldChg>
      <pc:sldChg chg="add del">
        <pc:chgData name="Vasilis Karastergios" userId="2aa9c0a1-323b-48aa-83e0-abc8de3a69d0" providerId="ADAL" clId="{3A3D5ACB-750C-4195-899B-466533442B0B}" dt="2022-09-14T08:18:26.374" v="5" actId="47"/>
        <pc:sldMkLst>
          <pc:docMk/>
          <pc:sldMk cId="3029366665" sldId="269"/>
        </pc:sldMkLst>
      </pc:sldChg>
      <pc:sldChg chg="add del">
        <pc:chgData name="Vasilis Karastergios" userId="2aa9c0a1-323b-48aa-83e0-abc8de3a69d0" providerId="ADAL" clId="{3A3D5ACB-750C-4195-899B-466533442B0B}" dt="2022-09-14T08:18:26.374" v="5" actId="47"/>
        <pc:sldMkLst>
          <pc:docMk/>
          <pc:sldMk cId="2738032135" sldId="270"/>
        </pc:sldMkLst>
      </pc:sldChg>
      <pc:sldChg chg="add del">
        <pc:chgData name="Vasilis Karastergios" userId="2aa9c0a1-323b-48aa-83e0-abc8de3a69d0" providerId="ADAL" clId="{3A3D5ACB-750C-4195-899B-466533442B0B}" dt="2022-09-14T08:18:26.374" v="5" actId="47"/>
        <pc:sldMkLst>
          <pc:docMk/>
          <pc:sldMk cId="1254172494" sldId="271"/>
        </pc:sldMkLst>
      </pc:sldChg>
      <pc:sldChg chg="add del">
        <pc:chgData name="Vasilis Karastergios" userId="2aa9c0a1-323b-48aa-83e0-abc8de3a69d0" providerId="ADAL" clId="{3A3D5ACB-750C-4195-899B-466533442B0B}" dt="2022-09-14T08:18:26.374" v="5" actId="47"/>
        <pc:sldMkLst>
          <pc:docMk/>
          <pc:sldMk cId="3305666042" sldId="272"/>
        </pc:sldMkLst>
      </pc:sldChg>
      <pc:sldChg chg="add del">
        <pc:chgData name="Vasilis Karastergios" userId="2aa9c0a1-323b-48aa-83e0-abc8de3a69d0" providerId="ADAL" clId="{3A3D5ACB-750C-4195-899B-466533442B0B}" dt="2022-09-14T08:18:26.374" v="5" actId="47"/>
        <pc:sldMkLst>
          <pc:docMk/>
          <pc:sldMk cId="2563628684" sldId="273"/>
        </pc:sldMkLst>
      </pc:sldChg>
      <pc:sldChg chg="add del">
        <pc:chgData name="Vasilis Karastergios" userId="2aa9c0a1-323b-48aa-83e0-abc8de3a69d0" providerId="ADAL" clId="{3A3D5ACB-750C-4195-899B-466533442B0B}" dt="2022-09-14T08:18:26.374" v="5" actId="47"/>
        <pc:sldMkLst>
          <pc:docMk/>
          <pc:sldMk cId="1999616190" sldId="274"/>
        </pc:sldMkLst>
      </pc:sldChg>
      <pc:sldChg chg="add del">
        <pc:chgData name="Vasilis Karastergios" userId="2aa9c0a1-323b-48aa-83e0-abc8de3a69d0" providerId="ADAL" clId="{3A3D5ACB-750C-4195-899B-466533442B0B}" dt="2022-09-14T08:18:26.374" v="5" actId="47"/>
        <pc:sldMkLst>
          <pc:docMk/>
          <pc:sldMk cId="3919623369" sldId="275"/>
        </pc:sldMkLst>
      </pc:sldChg>
      <pc:sldChg chg="add del">
        <pc:chgData name="Vasilis Karastergios" userId="2aa9c0a1-323b-48aa-83e0-abc8de3a69d0" providerId="ADAL" clId="{3A3D5ACB-750C-4195-899B-466533442B0B}" dt="2022-09-14T08:18:26.374" v="5" actId="47"/>
        <pc:sldMkLst>
          <pc:docMk/>
          <pc:sldMk cId="4257292052" sldId="276"/>
        </pc:sldMkLst>
      </pc:sldChg>
      <pc:sldChg chg="add del">
        <pc:chgData name="Vasilis Karastergios" userId="2aa9c0a1-323b-48aa-83e0-abc8de3a69d0" providerId="ADAL" clId="{3A3D5ACB-750C-4195-899B-466533442B0B}" dt="2022-09-14T08:18:26.374" v="5" actId="47"/>
        <pc:sldMkLst>
          <pc:docMk/>
          <pc:sldMk cId="1953453059" sldId="277"/>
        </pc:sldMkLst>
      </pc:sldChg>
      <pc:sldChg chg="add del">
        <pc:chgData name="Vasilis Karastergios" userId="2aa9c0a1-323b-48aa-83e0-abc8de3a69d0" providerId="ADAL" clId="{3A3D5ACB-750C-4195-899B-466533442B0B}" dt="2022-09-14T08:18:26.374" v="5" actId="47"/>
        <pc:sldMkLst>
          <pc:docMk/>
          <pc:sldMk cId="3508150877" sldId="278"/>
        </pc:sldMkLst>
      </pc:sldChg>
      <pc:sldChg chg="add del">
        <pc:chgData name="Vasilis Karastergios" userId="2aa9c0a1-323b-48aa-83e0-abc8de3a69d0" providerId="ADAL" clId="{3A3D5ACB-750C-4195-899B-466533442B0B}" dt="2022-09-14T08:18:26.374" v="5" actId="47"/>
        <pc:sldMkLst>
          <pc:docMk/>
          <pc:sldMk cId="1825649633" sldId="279"/>
        </pc:sldMkLst>
      </pc:sldChg>
      <pc:sldChg chg="add del">
        <pc:chgData name="Vasilis Karastergios" userId="2aa9c0a1-323b-48aa-83e0-abc8de3a69d0" providerId="ADAL" clId="{3A3D5ACB-750C-4195-899B-466533442B0B}" dt="2022-09-14T08:18:26.374" v="5" actId="47"/>
        <pc:sldMkLst>
          <pc:docMk/>
          <pc:sldMk cId="997951892" sldId="280"/>
        </pc:sldMkLst>
      </pc:sldChg>
      <pc:sldChg chg="add del">
        <pc:chgData name="Vasilis Karastergios" userId="2aa9c0a1-323b-48aa-83e0-abc8de3a69d0" providerId="ADAL" clId="{3A3D5ACB-750C-4195-899B-466533442B0B}" dt="2022-09-14T08:18:26.374" v="5" actId="47"/>
        <pc:sldMkLst>
          <pc:docMk/>
          <pc:sldMk cId="1892660530" sldId="281"/>
        </pc:sldMkLst>
      </pc:sldChg>
      <pc:sldChg chg="add del">
        <pc:chgData name="Vasilis Karastergios" userId="2aa9c0a1-323b-48aa-83e0-abc8de3a69d0" providerId="ADAL" clId="{3A3D5ACB-750C-4195-899B-466533442B0B}" dt="2022-09-14T08:18:26.374" v="5" actId="47"/>
        <pc:sldMkLst>
          <pc:docMk/>
          <pc:sldMk cId="336095818" sldId="282"/>
        </pc:sldMkLst>
      </pc:sldChg>
      <pc:sldChg chg="add del">
        <pc:chgData name="Vasilis Karastergios" userId="2aa9c0a1-323b-48aa-83e0-abc8de3a69d0" providerId="ADAL" clId="{3A3D5ACB-750C-4195-899B-466533442B0B}" dt="2022-09-14T08:18:26.374" v="5" actId="47"/>
        <pc:sldMkLst>
          <pc:docMk/>
          <pc:sldMk cId="2514216803" sldId="285"/>
        </pc:sldMkLst>
      </pc:sldChg>
      <pc:sldChg chg="add del">
        <pc:chgData name="Vasilis Karastergios" userId="2aa9c0a1-323b-48aa-83e0-abc8de3a69d0" providerId="ADAL" clId="{3A3D5ACB-750C-4195-899B-466533442B0B}" dt="2022-09-14T08:18:26.374" v="5" actId="47"/>
        <pc:sldMkLst>
          <pc:docMk/>
          <pc:sldMk cId="882189469" sldId="286"/>
        </pc:sldMkLst>
      </pc:sldChg>
      <pc:sldChg chg="add del">
        <pc:chgData name="Vasilis Karastergios" userId="2aa9c0a1-323b-48aa-83e0-abc8de3a69d0" providerId="ADAL" clId="{3A3D5ACB-750C-4195-899B-466533442B0B}" dt="2022-09-14T08:18:26.374" v="5" actId="47"/>
        <pc:sldMkLst>
          <pc:docMk/>
          <pc:sldMk cId="3695834442" sldId="287"/>
        </pc:sldMkLst>
      </pc:sldChg>
      <pc:sldChg chg="add del">
        <pc:chgData name="Vasilis Karastergios" userId="2aa9c0a1-323b-48aa-83e0-abc8de3a69d0" providerId="ADAL" clId="{3A3D5ACB-750C-4195-899B-466533442B0B}" dt="2022-09-14T08:18:26.374" v="5" actId="47"/>
        <pc:sldMkLst>
          <pc:docMk/>
          <pc:sldMk cId="122525265" sldId="288"/>
        </pc:sldMkLst>
      </pc:sldChg>
      <pc:sldChg chg="add del">
        <pc:chgData name="Vasilis Karastergios" userId="2aa9c0a1-323b-48aa-83e0-abc8de3a69d0" providerId="ADAL" clId="{3A3D5ACB-750C-4195-899B-466533442B0B}" dt="2022-09-14T08:18:26.374" v="5" actId="47"/>
        <pc:sldMkLst>
          <pc:docMk/>
          <pc:sldMk cId="1787121163" sldId="290"/>
        </pc:sldMkLst>
      </pc:sldChg>
      <pc:sldChg chg="add del">
        <pc:chgData name="Vasilis Karastergios" userId="2aa9c0a1-323b-48aa-83e0-abc8de3a69d0" providerId="ADAL" clId="{3A3D5ACB-750C-4195-899B-466533442B0B}" dt="2022-09-14T08:18:26.374" v="5" actId="47"/>
        <pc:sldMkLst>
          <pc:docMk/>
          <pc:sldMk cId="3149996595" sldId="292"/>
        </pc:sldMkLst>
      </pc:sldChg>
      <pc:sldChg chg="add del">
        <pc:chgData name="Vasilis Karastergios" userId="2aa9c0a1-323b-48aa-83e0-abc8de3a69d0" providerId="ADAL" clId="{3A3D5ACB-750C-4195-899B-466533442B0B}" dt="2022-09-14T08:18:26.374" v="5" actId="47"/>
        <pc:sldMkLst>
          <pc:docMk/>
          <pc:sldMk cId="1304444699" sldId="293"/>
        </pc:sldMkLst>
      </pc:sldChg>
      <pc:sldChg chg="add del">
        <pc:chgData name="Vasilis Karastergios" userId="2aa9c0a1-323b-48aa-83e0-abc8de3a69d0" providerId="ADAL" clId="{3A3D5ACB-750C-4195-899B-466533442B0B}" dt="2022-09-14T08:18:26.374" v="5" actId="47"/>
        <pc:sldMkLst>
          <pc:docMk/>
          <pc:sldMk cId="3387686022" sldId="294"/>
        </pc:sldMkLst>
      </pc:sldChg>
      <pc:sldChg chg="add del">
        <pc:chgData name="Vasilis Karastergios" userId="2aa9c0a1-323b-48aa-83e0-abc8de3a69d0" providerId="ADAL" clId="{3A3D5ACB-750C-4195-899B-466533442B0B}" dt="2022-09-14T08:18:26.374" v="5" actId="47"/>
        <pc:sldMkLst>
          <pc:docMk/>
          <pc:sldMk cId="3937607177" sldId="295"/>
        </pc:sldMkLst>
      </pc:sldChg>
      <pc:sldChg chg="add del">
        <pc:chgData name="Vasilis Karastergios" userId="2aa9c0a1-323b-48aa-83e0-abc8de3a69d0" providerId="ADAL" clId="{3A3D5ACB-750C-4195-899B-466533442B0B}" dt="2022-09-14T08:18:26.374" v="5" actId="47"/>
        <pc:sldMkLst>
          <pc:docMk/>
          <pc:sldMk cId="1499592187" sldId="296"/>
        </pc:sldMkLst>
      </pc:sldChg>
      <pc:sldChg chg="add del">
        <pc:chgData name="Vasilis Karastergios" userId="2aa9c0a1-323b-48aa-83e0-abc8de3a69d0" providerId="ADAL" clId="{3A3D5ACB-750C-4195-899B-466533442B0B}" dt="2022-09-14T08:18:26.374" v="5" actId="47"/>
        <pc:sldMkLst>
          <pc:docMk/>
          <pc:sldMk cId="3337230950" sldId="297"/>
        </pc:sldMkLst>
      </pc:sldChg>
      <pc:sldChg chg="add del">
        <pc:chgData name="Vasilis Karastergios" userId="2aa9c0a1-323b-48aa-83e0-abc8de3a69d0" providerId="ADAL" clId="{3A3D5ACB-750C-4195-899B-466533442B0B}" dt="2022-09-14T08:18:26.374" v="5" actId="47"/>
        <pc:sldMkLst>
          <pc:docMk/>
          <pc:sldMk cId="195664574" sldId="298"/>
        </pc:sldMkLst>
      </pc:sldChg>
      <pc:sldChg chg="add del">
        <pc:chgData name="Vasilis Karastergios" userId="2aa9c0a1-323b-48aa-83e0-abc8de3a69d0" providerId="ADAL" clId="{3A3D5ACB-750C-4195-899B-466533442B0B}" dt="2022-09-14T08:18:26.374" v="5" actId="47"/>
        <pc:sldMkLst>
          <pc:docMk/>
          <pc:sldMk cId="2362471767" sldId="299"/>
        </pc:sldMkLst>
      </pc:sldChg>
      <pc:sldChg chg="add del">
        <pc:chgData name="Vasilis Karastergios" userId="2aa9c0a1-323b-48aa-83e0-abc8de3a69d0" providerId="ADAL" clId="{3A3D5ACB-750C-4195-899B-466533442B0B}" dt="2022-09-14T08:18:26.374" v="5" actId="47"/>
        <pc:sldMkLst>
          <pc:docMk/>
          <pc:sldMk cId="3135937029" sldId="300"/>
        </pc:sldMkLst>
      </pc:sldChg>
      <pc:sldChg chg="add del">
        <pc:chgData name="Vasilis Karastergios" userId="2aa9c0a1-323b-48aa-83e0-abc8de3a69d0" providerId="ADAL" clId="{3A3D5ACB-750C-4195-899B-466533442B0B}" dt="2022-09-14T08:18:26.374" v="5" actId="47"/>
        <pc:sldMkLst>
          <pc:docMk/>
          <pc:sldMk cId="2623953556" sldId="301"/>
        </pc:sldMkLst>
      </pc:sldChg>
      <pc:sldChg chg="add del">
        <pc:chgData name="Vasilis Karastergios" userId="2aa9c0a1-323b-48aa-83e0-abc8de3a69d0" providerId="ADAL" clId="{3A3D5ACB-750C-4195-899B-466533442B0B}" dt="2022-09-14T08:18:26.374" v="5" actId="47"/>
        <pc:sldMkLst>
          <pc:docMk/>
          <pc:sldMk cId="1318941235" sldId="302"/>
        </pc:sldMkLst>
      </pc:sldChg>
      <pc:sldChg chg="add del">
        <pc:chgData name="Vasilis Karastergios" userId="2aa9c0a1-323b-48aa-83e0-abc8de3a69d0" providerId="ADAL" clId="{3A3D5ACB-750C-4195-899B-466533442B0B}" dt="2022-09-14T08:18:26.374" v="5" actId="47"/>
        <pc:sldMkLst>
          <pc:docMk/>
          <pc:sldMk cId="3270403626" sldId="303"/>
        </pc:sldMkLst>
      </pc:sldChg>
      <pc:sldChg chg="add del">
        <pc:chgData name="Vasilis Karastergios" userId="2aa9c0a1-323b-48aa-83e0-abc8de3a69d0" providerId="ADAL" clId="{3A3D5ACB-750C-4195-899B-466533442B0B}" dt="2022-09-14T08:18:26.374" v="5" actId="47"/>
        <pc:sldMkLst>
          <pc:docMk/>
          <pc:sldMk cId="1697543259" sldId="304"/>
        </pc:sldMkLst>
      </pc:sldChg>
      <pc:sldChg chg="add del">
        <pc:chgData name="Vasilis Karastergios" userId="2aa9c0a1-323b-48aa-83e0-abc8de3a69d0" providerId="ADAL" clId="{3A3D5ACB-750C-4195-899B-466533442B0B}" dt="2022-09-14T08:18:26.374" v="5" actId="47"/>
        <pc:sldMkLst>
          <pc:docMk/>
          <pc:sldMk cId="2133282100" sldId="305"/>
        </pc:sldMkLst>
      </pc:sldChg>
      <pc:sldChg chg="add del">
        <pc:chgData name="Vasilis Karastergios" userId="2aa9c0a1-323b-48aa-83e0-abc8de3a69d0" providerId="ADAL" clId="{3A3D5ACB-750C-4195-899B-466533442B0B}" dt="2022-09-14T08:18:26.374" v="5" actId="47"/>
        <pc:sldMkLst>
          <pc:docMk/>
          <pc:sldMk cId="1501544537" sldId="306"/>
        </pc:sldMkLst>
      </pc:sldChg>
      <pc:sldChg chg="add del">
        <pc:chgData name="Vasilis Karastergios" userId="2aa9c0a1-323b-48aa-83e0-abc8de3a69d0" providerId="ADAL" clId="{3A3D5ACB-750C-4195-899B-466533442B0B}" dt="2022-09-14T08:18:26.374" v="5" actId="47"/>
        <pc:sldMkLst>
          <pc:docMk/>
          <pc:sldMk cId="572733746" sldId="307"/>
        </pc:sldMkLst>
      </pc:sldChg>
      <pc:sldChg chg="del">
        <pc:chgData name="Vasilis Karastergios" userId="2aa9c0a1-323b-48aa-83e0-abc8de3a69d0" providerId="ADAL" clId="{3A3D5ACB-750C-4195-899B-466533442B0B}" dt="2022-09-14T08:20:17.413" v="6" actId="47"/>
        <pc:sldMkLst>
          <pc:docMk/>
          <pc:sldMk cId="1657070728" sldId="308"/>
        </pc:sldMkLst>
      </pc:sldChg>
      <pc:sldChg chg="del">
        <pc:chgData name="Vasilis Karastergios" userId="2aa9c0a1-323b-48aa-83e0-abc8de3a69d0" providerId="ADAL" clId="{3A3D5ACB-750C-4195-899B-466533442B0B}" dt="2022-09-14T08:17:17.305" v="4" actId="47"/>
        <pc:sldMkLst>
          <pc:docMk/>
          <pc:sldMk cId="2185198492" sldId="314"/>
        </pc:sldMkLst>
      </pc:sldChg>
      <pc:sldChg chg="del">
        <pc:chgData name="Vasilis Karastergios" userId="2aa9c0a1-323b-48aa-83e0-abc8de3a69d0" providerId="ADAL" clId="{3A3D5ACB-750C-4195-899B-466533442B0B}" dt="2022-09-14T08:17:17.305" v="4" actId="47"/>
        <pc:sldMkLst>
          <pc:docMk/>
          <pc:sldMk cId="1354864347" sldId="316"/>
        </pc:sldMkLst>
      </pc:sldChg>
      <pc:sldChg chg="del">
        <pc:chgData name="Vasilis Karastergios" userId="2aa9c0a1-323b-48aa-83e0-abc8de3a69d0" providerId="ADAL" clId="{3A3D5ACB-750C-4195-899B-466533442B0B}" dt="2022-09-14T08:17:17.305" v="4" actId="47"/>
        <pc:sldMkLst>
          <pc:docMk/>
          <pc:sldMk cId="2339142375" sldId="317"/>
        </pc:sldMkLst>
      </pc:sldChg>
      <pc:sldChg chg="del">
        <pc:chgData name="Vasilis Karastergios" userId="2aa9c0a1-323b-48aa-83e0-abc8de3a69d0" providerId="ADAL" clId="{3A3D5ACB-750C-4195-899B-466533442B0B}" dt="2022-09-14T08:17:17.305" v="4" actId="47"/>
        <pc:sldMkLst>
          <pc:docMk/>
          <pc:sldMk cId="2335946654" sldId="318"/>
        </pc:sldMkLst>
      </pc:sldChg>
      <pc:sldChg chg="del">
        <pc:chgData name="Vasilis Karastergios" userId="2aa9c0a1-323b-48aa-83e0-abc8de3a69d0" providerId="ADAL" clId="{3A3D5ACB-750C-4195-899B-466533442B0B}" dt="2022-09-14T08:17:17.305" v="4" actId="47"/>
        <pc:sldMkLst>
          <pc:docMk/>
          <pc:sldMk cId="359037265" sldId="319"/>
        </pc:sldMkLst>
      </pc:sldChg>
      <pc:sldChg chg="del">
        <pc:chgData name="Vasilis Karastergios" userId="2aa9c0a1-323b-48aa-83e0-abc8de3a69d0" providerId="ADAL" clId="{3A3D5ACB-750C-4195-899B-466533442B0B}" dt="2022-09-14T08:17:17.305" v="4" actId="47"/>
        <pc:sldMkLst>
          <pc:docMk/>
          <pc:sldMk cId="3614332943" sldId="320"/>
        </pc:sldMkLst>
      </pc:sldChg>
      <pc:sldChg chg="del">
        <pc:chgData name="Vasilis Karastergios" userId="2aa9c0a1-323b-48aa-83e0-abc8de3a69d0" providerId="ADAL" clId="{3A3D5ACB-750C-4195-899B-466533442B0B}" dt="2022-09-14T08:17:17.305" v="4" actId="47"/>
        <pc:sldMkLst>
          <pc:docMk/>
          <pc:sldMk cId="769370881" sldId="321"/>
        </pc:sldMkLst>
      </pc:sldChg>
      <pc:sldChg chg="del">
        <pc:chgData name="Vasilis Karastergios" userId="2aa9c0a1-323b-48aa-83e0-abc8de3a69d0" providerId="ADAL" clId="{3A3D5ACB-750C-4195-899B-466533442B0B}" dt="2022-09-14T08:17:17.305" v="4" actId="47"/>
        <pc:sldMkLst>
          <pc:docMk/>
          <pc:sldMk cId="2149512705" sldId="322"/>
        </pc:sldMkLst>
      </pc:sldChg>
      <pc:sldChg chg="del">
        <pc:chgData name="Vasilis Karastergios" userId="2aa9c0a1-323b-48aa-83e0-abc8de3a69d0" providerId="ADAL" clId="{3A3D5ACB-750C-4195-899B-466533442B0B}" dt="2022-09-14T08:17:17.305" v="4" actId="47"/>
        <pc:sldMkLst>
          <pc:docMk/>
          <pc:sldMk cId="2151169478" sldId="325"/>
        </pc:sldMkLst>
      </pc:sldChg>
      <pc:sldChg chg="del">
        <pc:chgData name="Vasilis Karastergios" userId="2aa9c0a1-323b-48aa-83e0-abc8de3a69d0" providerId="ADAL" clId="{3A3D5ACB-750C-4195-899B-466533442B0B}" dt="2022-09-14T08:17:17.305" v="4" actId="47"/>
        <pc:sldMkLst>
          <pc:docMk/>
          <pc:sldMk cId="888175597" sldId="326"/>
        </pc:sldMkLst>
      </pc:sldChg>
      <pc:sldChg chg="del">
        <pc:chgData name="Vasilis Karastergios" userId="2aa9c0a1-323b-48aa-83e0-abc8de3a69d0" providerId="ADAL" clId="{3A3D5ACB-750C-4195-899B-466533442B0B}" dt="2022-09-14T08:17:17.305" v="4" actId="47"/>
        <pc:sldMkLst>
          <pc:docMk/>
          <pc:sldMk cId="1228136347" sldId="331"/>
        </pc:sldMkLst>
      </pc:sldChg>
      <pc:sldChg chg="add del">
        <pc:chgData name="Vasilis Karastergios" userId="2aa9c0a1-323b-48aa-83e0-abc8de3a69d0" providerId="ADAL" clId="{3A3D5ACB-750C-4195-899B-466533442B0B}" dt="2022-09-14T08:18:26.374" v="5" actId="47"/>
        <pc:sldMkLst>
          <pc:docMk/>
          <pc:sldMk cId="376781885" sldId="342"/>
        </pc:sldMkLst>
      </pc:sldChg>
      <pc:sldChg chg="add del">
        <pc:chgData name="Vasilis Karastergios" userId="2aa9c0a1-323b-48aa-83e0-abc8de3a69d0" providerId="ADAL" clId="{3A3D5ACB-750C-4195-899B-466533442B0B}" dt="2022-09-14T08:18:26.374" v="5" actId="47"/>
        <pc:sldMkLst>
          <pc:docMk/>
          <pc:sldMk cId="3014045341" sldId="344"/>
        </pc:sldMkLst>
      </pc:sldChg>
      <pc:sldChg chg="add del">
        <pc:chgData name="Vasilis Karastergios" userId="2aa9c0a1-323b-48aa-83e0-abc8de3a69d0" providerId="ADAL" clId="{3A3D5ACB-750C-4195-899B-466533442B0B}" dt="2022-09-14T08:18:26.374" v="5" actId="47"/>
        <pc:sldMkLst>
          <pc:docMk/>
          <pc:sldMk cId="1402961565" sldId="346"/>
        </pc:sldMkLst>
      </pc:sldChg>
      <pc:sldChg chg="del">
        <pc:chgData name="Vasilis Karastergios" userId="2aa9c0a1-323b-48aa-83e0-abc8de3a69d0" providerId="ADAL" clId="{3A3D5ACB-750C-4195-899B-466533442B0B}" dt="2022-09-14T08:17:17.305" v="4" actId="47"/>
        <pc:sldMkLst>
          <pc:docMk/>
          <pc:sldMk cId="3223258149" sldId="348"/>
        </pc:sldMkLst>
      </pc:sldChg>
      <pc:sldChg chg="add del">
        <pc:chgData name="Vasilis Karastergios" userId="2aa9c0a1-323b-48aa-83e0-abc8de3a69d0" providerId="ADAL" clId="{3A3D5ACB-750C-4195-899B-466533442B0B}" dt="2022-09-14T08:18:26.374" v="5" actId="47"/>
        <pc:sldMkLst>
          <pc:docMk/>
          <pc:sldMk cId="3287804751" sldId="351"/>
        </pc:sldMkLst>
      </pc:sldChg>
      <pc:sldChg chg="add del">
        <pc:chgData name="Vasilis Karastergios" userId="2aa9c0a1-323b-48aa-83e0-abc8de3a69d0" providerId="ADAL" clId="{3A3D5ACB-750C-4195-899B-466533442B0B}" dt="2022-09-14T08:16:24.087" v="3" actId="47"/>
        <pc:sldMkLst>
          <pc:docMk/>
          <pc:sldMk cId="597429365" sldId="373"/>
        </pc:sldMkLst>
      </pc:sldChg>
      <pc:sldChg chg="del">
        <pc:chgData name="Vasilis Karastergios" userId="2aa9c0a1-323b-48aa-83e0-abc8de3a69d0" providerId="ADAL" clId="{3A3D5ACB-750C-4195-899B-466533442B0B}" dt="2022-09-14T08:17:17.305" v="4" actId="47"/>
        <pc:sldMkLst>
          <pc:docMk/>
          <pc:sldMk cId="3672931568" sldId="375"/>
        </pc:sldMkLst>
      </pc:sldChg>
      <pc:sldChg chg="add del">
        <pc:chgData name="Vasilis Karastergios" userId="2aa9c0a1-323b-48aa-83e0-abc8de3a69d0" providerId="ADAL" clId="{3A3D5ACB-750C-4195-899B-466533442B0B}" dt="2022-09-14T08:18:26.374" v="5" actId="47"/>
        <pc:sldMkLst>
          <pc:docMk/>
          <pc:sldMk cId="2961241260" sldId="3601"/>
        </pc:sldMkLst>
      </pc:sldChg>
      <pc:sldChg chg="del">
        <pc:chgData name="Vasilis Karastergios" userId="2aa9c0a1-323b-48aa-83e0-abc8de3a69d0" providerId="ADAL" clId="{3A3D5ACB-750C-4195-899B-466533442B0B}" dt="2022-09-14T08:17:17.305" v="4" actId="47"/>
        <pc:sldMkLst>
          <pc:docMk/>
          <pc:sldMk cId="3222589753" sldId="3610"/>
        </pc:sldMkLst>
      </pc:sldChg>
      <pc:sldChg chg="del">
        <pc:chgData name="Vasilis Karastergios" userId="2aa9c0a1-323b-48aa-83e0-abc8de3a69d0" providerId="ADAL" clId="{3A3D5ACB-750C-4195-899B-466533442B0B}" dt="2022-09-14T08:17:17.305" v="4" actId="47"/>
        <pc:sldMkLst>
          <pc:docMk/>
          <pc:sldMk cId="1732362419" sldId="3615"/>
        </pc:sldMkLst>
      </pc:sldChg>
      <pc:sldChg chg="add del">
        <pc:chgData name="Vasilis Karastergios" userId="2aa9c0a1-323b-48aa-83e0-abc8de3a69d0" providerId="ADAL" clId="{3A3D5ACB-750C-4195-899B-466533442B0B}" dt="2022-09-14T08:18:26.374" v="5" actId="47"/>
        <pc:sldMkLst>
          <pc:docMk/>
          <pc:sldMk cId="2036268873" sldId="3617"/>
        </pc:sldMkLst>
      </pc:sldChg>
      <pc:sldChg chg="add del">
        <pc:chgData name="Vasilis Karastergios" userId="2aa9c0a1-323b-48aa-83e0-abc8de3a69d0" providerId="ADAL" clId="{3A3D5ACB-750C-4195-899B-466533442B0B}" dt="2022-09-14T08:16:24.087" v="3" actId="47"/>
        <pc:sldMkLst>
          <pc:docMk/>
          <pc:sldMk cId="4133373926" sldId="3619"/>
        </pc:sldMkLst>
      </pc:sldChg>
      <pc:sldChg chg="add del">
        <pc:chgData name="Vasilis Karastergios" userId="2aa9c0a1-323b-48aa-83e0-abc8de3a69d0" providerId="ADAL" clId="{3A3D5ACB-750C-4195-899B-466533442B0B}" dt="2022-09-14T08:18:26.374" v="5" actId="47"/>
        <pc:sldMkLst>
          <pc:docMk/>
          <pc:sldMk cId="1490288003" sldId="3620"/>
        </pc:sldMkLst>
      </pc:sldChg>
      <pc:sldChg chg="add del">
        <pc:chgData name="Vasilis Karastergios" userId="2aa9c0a1-323b-48aa-83e0-abc8de3a69d0" providerId="ADAL" clId="{3A3D5ACB-750C-4195-899B-466533442B0B}" dt="2022-09-14T08:18:26.374" v="5" actId="47"/>
        <pc:sldMkLst>
          <pc:docMk/>
          <pc:sldMk cId="1182045187" sldId="3622"/>
        </pc:sldMkLst>
      </pc:sldChg>
      <pc:sldChg chg="del">
        <pc:chgData name="Vasilis Karastergios" userId="2aa9c0a1-323b-48aa-83e0-abc8de3a69d0" providerId="ADAL" clId="{3A3D5ACB-750C-4195-899B-466533442B0B}" dt="2022-09-14T08:17:17.305" v="4" actId="47"/>
        <pc:sldMkLst>
          <pc:docMk/>
          <pc:sldMk cId="270707387" sldId="4265"/>
        </pc:sldMkLst>
      </pc:sldChg>
      <pc:sldChg chg="add del">
        <pc:chgData name="Vasilis Karastergios" userId="2aa9c0a1-323b-48aa-83e0-abc8de3a69d0" providerId="ADAL" clId="{3A3D5ACB-750C-4195-899B-466533442B0B}" dt="2022-09-14T08:18:26.374" v="5" actId="47"/>
        <pc:sldMkLst>
          <pc:docMk/>
          <pc:sldMk cId="2261095948" sldId="4266"/>
        </pc:sldMkLst>
      </pc:sldChg>
      <pc:sldChg chg="add del">
        <pc:chgData name="Vasilis Karastergios" userId="2aa9c0a1-323b-48aa-83e0-abc8de3a69d0" providerId="ADAL" clId="{3A3D5ACB-750C-4195-899B-466533442B0B}" dt="2022-09-14T08:18:26.374" v="5" actId="47"/>
        <pc:sldMkLst>
          <pc:docMk/>
          <pc:sldMk cId="2878334215" sldId="4269"/>
        </pc:sldMkLst>
      </pc:sldChg>
      <pc:sldChg chg="del">
        <pc:chgData name="Vasilis Karastergios" userId="2aa9c0a1-323b-48aa-83e0-abc8de3a69d0" providerId="ADAL" clId="{3A3D5ACB-750C-4195-899B-466533442B0B}" dt="2022-09-14T08:17:17.305" v="4" actId="47"/>
        <pc:sldMkLst>
          <pc:docMk/>
          <pc:sldMk cId="901603402" sldId="4270"/>
        </pc:sldMkLst>
      </pc:sldChg>
      <pc:sldChg chg="del">
        <pc:chgData name="Vasilis Karastergios" userId="2aa9c0a1-323b-48aa-83e0-abc8de3a69d0" providerId="ADAL" clId="{3A3D5ACB-750C-4195-899B-466533442B0B}" dt="2022-09-14T08:17:17.305" v="4" actId="47"/>
        <pc:sldMkLst>
          <pc:docMk/>
          <pc:sldMk cId="2300956671" sldId="4271"/>
        </pc:sldMkLst>
      </pc:sldChg>
      <pc:sldChg chg="del">
        <pc:chgData name="Vasilis Karastergios" userId="2aa9c0a1-323b-48aa-83e0-abc8de3a69d0" providerId="ADAL" clId="{3A3D5ACB-750C-4195-899B-466533442B0B}" dt="2022-09-14T08:17:17.305" v="4" actId="47"/>
        <pc:sldMkLst>
          <pc:docMk/>
          <pc:sldMk cId="1009971067" sldId="4272"/>
        </pc:sldMkLst>
      </pc:sldChg>
      <pc:sldChg chg="del">
        <pc:chgData name="Vasilis Karastergios" userId="2aa9c0a1-323b-48aa-83e0-abc8de3a69d0" providerId="ADAL" clId="{3A3D5ACB-750C-4195-899B-466533442B0B}" dt="2022-09-14T08:17:17.305" v="4" actId="47"/>
        <pc:sldMkLst>
          <pc:docMk/>
          <pc:sldMk cId="144139227" sldId="4273"/>
        </pc:sldMkLst>
      </pc:sldChg>
      <pc:sldChg chg="del">
        <pc:chgData name="Vasilis Karastergios" userId="2aa9c0a1-323b-48aa-83e0-abc8de3a69d0" providerId="ADAL" clId="{3A3D5ACB-750C-4195-899B-466533442B0B}" dt="2022-09-14T08:17:17.305" v="4" actId="47"/>
        <pc:sldMkLst>
          <pc:docMk/>
          <pc:sldMk cId="2586647777" sldId="4274"/>
        </pc:sldMkLst>
      </pc:sldChg>
      <pc:sldChg chg="del">
        <pc:chgData name="Vasilis Karastergios" userId="2aa9c0a1-323b-48aa-83e0-abc8de3a69d0" providerId="ADAL" clId="{3A3D5ACB-750C-4195-899B-466533442B0B}" dt="2022-09-14T08:17:17.305" v="4" actId="47"/>
        <pc:sldMkLst>
          <pc:docMk/>
          <pc:sldMk cId="1215098397" sldId="4275"/>
        </pc:sldMkLst>
      </pc:sldChg>
      <pc:sldChg chg="del">
        <pc:chgData name="Vasilis Karastergios" userId="2aa9c0a1-323b-48aa-83e0-abc8de3a69d0" providerId="ADAL" clId="{3A3D5ACB-750C-4195-899B-466533442B0B}" dt="2022-09-14T08:17:17.305" v="4" actId="47"/>
        <pc:sldMkLst>
          <pc:docMk/>
          <pc:sldMk cId="2776648146" sldId="4276"/>
        </pc:sldMkLst>
      </pc:sldChg>
      <pc:sldChg chg="add del">
        <pc:chgData name="Vasilis Karastergios" userId="2aa9c0a1-323b-48aa-83e0-abc8de3a69d0" providerId="ADAL" clId="{3A3D5ACB-750C-4195-899B-466533442B0B}" dt="2022-09-14T08:18:26.374" v="5" actId="47"/>
        <pc:sldMkLst>
          <pc:docMk/>
          <pc:sldMk cId="1826397490" sldId="4278"/>
        </pc:sldMkLst>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A2224B0B-B14D-40AC-82DF-F3306E84CD2D}"/>
              </a:ext>
            </a:extLst>
          </p:cNvPr>
          <p:cNvSpPr>
            <a:spLocks noGrp="1"/>
          </p:cNvSpPr>
          <p:nvPr>
            <p:ph type="hdr" sz="quarter"/>
          </p:nvPr>
        </p:nvSpPr>
        <p:spPr>
          <a:xfrm>
            <a:off x="0" y="0"/>
            <a:ext cx="3038475" cy="466725"/>
          </a:xfrm>
          <a:prstGeom prst="rect">
            <a:avLst/>
          </a:prstGeom>
        </p:spPr>
        <p:txBody>
          <a:bodyPr vert="horz" lIns="91440" tIns="45720" rIns="91440" bIns="45720" rtlCol="0"/>
          <a:lstStyle>
            <a:lvl1pPr algn="l">
              <a:defRPr sz="1200"/>
            </a:lvl1pPr>
          </a:lstStyle>
          <a:p>
            <a:endParaRPr lang="es-PE" dirty="0">
              <a:latin typeface="PTCRaleway" panose="020B0503030101060003" pitchFamily="34" charset="0"/>
            </a:endParaRPr>
          </a:p>
        </p:txBody>
      </p:sp>
      <p:sp>
        <p:nvSpPr>
          <p:cNvPr id="3" name="Date Placeholder 2">
            <a:extLst>
              <a:ext uri="{FF2B5EF4-FFF2-40B4-BE49-F238E27FC236}">
                <a16:creationId xmlns:a16="http://schemas.microsoft.com/office/drawing/2014/main" id="{5F87035F-7A70-47F4-BE9C-22A896CD40FA}"/>
              </a:ext>
            </a:extLst>
          </p:cNvPr>
          <p:cNvSpPr>
            <a:spLocks noGrp="1"/>
          </p:cNvSpPr>
          <p:nvPr>
            <p:ph type="dt" sz="quarter" idx="1"/>
          </p:nvPr>
        </p:nvSpPr>
        <p:spPr>
          <a:xfrm>
            <a:off x="3970338" y="0"/>
            <a:ext cx="3038475" cy="466725"/>
          </a:xfrm>
          <a:prstGeom prst="rect">
            <a:avLst/>
          </a:prstGeom>
        </p:spPr>
        <p:txBody>
          <a:bodyPr vert="horz" lIns="91440" tIns="45720" rIns="91440" bIns="45720" rtlCol="0"/>
          <a:lstStyle>
            <a:lvl1pPr algn="r">
              <a:defRPr sz="1200"/>
            </a:lvl1pPr>
          </a:lstStyle>
          <a:p>
            <a:fld id="{044D8EA7-7DA4-4945-AC0B-1C137F860C15}" type="datetimeFigureOut">
              <a:rPr lang="es-PE" smtClean="0">
                <a:latin typeface="PTCRaleway" panose="020B0503030101060003" pitchFamily="34" charset="0"/>
              </a:rPr>
              <a:t>8/01/2024</a:t>
            </a:fld>
            <a:endParaRPr lang="es-PE" dirty="0">
              <a:latin typeface="PTCRaleway" panose="020B0503030101060003" pitchFamily="34" charset="0"/>
            </a:endParaRPr>
          </a:p>
        </p:txBody>
      </p:sp>
      <p:sp>
        <p:nvSpPr>
          <p:cNvPr id="4" name="Footer Placeholder 3">
            <a:extLst>
              <a:ext uri="{FF2B5EF4-FFF2-40B4-BE49-F238E27FC236}">
                <a16:creationId xmlns:a16="http://schemas.microsoft.com/office/drawing/2014/main" id="{B411217F-1BC1-4AA5-8B2B-5ECC481CC313}"/>
              </a:ext>
            </a:extLst>
          </p:cNvPr>
          <p:cNvSpPr>
            <a:spLocks noGrp="1"/>
          </p:cNvSpPr>
          <p:nvPr>
            <p:ph type="ftr" sz="quarter" idx="2"/>
          </p:nvPr>
        </p:nvSpPr>
        <p:spPr>
          <a:xfrm>
            <a:off x="0" y="8829675"/>
            <a:ext cx="3038475" cy="466725"/>
          </a:xfrm>
          <a:prstGeom prst="rect">
            <a:avLst/>
          </a:prstGeom>
        </p:spPr>
        <p:txBody>
          <a:bodyPr vert="horz" lIns="91440" tIns="45720" rIns="91440" bIns="45720" rtlCol="0" anchor="b"/>
          <a:lstStyle>
            <a:lvl1pPr algn="l">
              <a:defRPr sz="1200"/>
            </a:lvl1pPr>
          </a:lstStyle>
          <a:p>
            <a:endParaRPr lang="es-PE" dirty="0">
              <a:latin typeface="PTCRaleway" panose="020B0503030101060003" pitchFamily="34" charset="0"/>
            </a:endParaRPr>
          </a:p>
        </p:txBody>
      </p:sp>
      <p:sp>
        <p:nvSpPr>
          <p:cNvPr id="5" name="Slide Number Placeholder 4">
            <a:extLst>
              <a:ext uri="{FF2B5EF4-FFF2-40B4-BE49-F238E27FC236}">
                <a16:creationId xmlns:a16="http://schemas.microsoft.com/office/drawing/2014/main" id="{FCF08F94-7F82-4A63-917E-74383B6A0A59}"/>
              </a:ext>
            </a:extLst>
          </p:cNvPr>
          <p:cNvSpPr>
            <a:spLocks noGrp="1"/>
          </p:cNvSpPr>
          <p:nvPr>
            <p:ph type="sldNum" sz="quarter" idx="3"/>
          </p:nvPr>
        </p:nvSpPr>
        <p:spPr>
          <a:xfrm>
            <a:off x="3970338" y="8829675"/>
            <a:ext cx="3038475" cy="466725"/>
          </a:xfrm>
          <a:prstGeom prst="rect">
            <a:avLst/>
          </a:prstGeom>
        </p:spPr>
        <p:txBody>
          <a:bodyPr vert="horz" lIns="91440" tIns="45720" rIns="91440" bIns="45720" rtlCol="0" anchor="b"/>
          <a:lstStyle>
            <a:lvl1pPr algn="r">
              <a:defRPr sz="1200"/>
            </a:lvl1pPr>
          </a:lstStyle>
          <a:p>
            <a:fld id="{B276B9F4-9710-4869-B60C-B0B61D2780E4}" type="slidenum">
              <a:rPr lang="es-PE" smtClean="0">
                <a:latin typeface="PTCRaleway" panose="020B0503030101060003" pitchFamily="34" charset="0"/>
              </a:rPr>
              <a:t>‹#›</a:t>
            </a:fld>
            <a:endParaRPr lang="es-PE" dirty="0">
              <a:latin typeface="PTCRaleway" panose="020B0503030101060003" pitchFamily="34" charset="0"/>
            </a:endParaRPr>
          </a:p>
        </p:txBody>
      </p:sp>
    </p:spTree>
    <p:extLst>
      <p:ext uri="{BB962C8B-B14F-4D97-AF65-F5344CB8AC3E}">
        <p14:creationId xmlns:p14="http://schemas.microsoft.com/office/powerpoint/2010/main" val="60246535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8475" cy="466725"/>
          </a:xfrm>
          <a:prstGeom prst="rect">
            <a:avLst/>
          </a:prstGeom>
        </p:spPr>
        <p:txBody>
          <a:bodyPr vert="horz" lIns="91440" tIns="45720" rIns="91440" bIns="45720" rtlCol="0"/>
          <a:lstStyle>
            <a:lvl1pPr algn="l">
              <a:defRPr sz="1200">
                <a:latin typeface="PTCRaleway" panose="020B0503030101060003" pitchFamily="34" charset="0"/>
              </a:defRPr>
            </a:lvl1pPr>
          </a:lstStyle>
          <a:p>
            <a:endParaRPr lang="en-US" dirty="0"/>
          </a:p>
        </p:txBody>
      </p:sp>
      <p:sp>
        <p:nvSpPr>
          <p:cNvPr id="3" name="Date Placeholder 2"/>
          <p:cNvSpPr>
            <a:spLocks noGrp="1"/>
          </p:cNvSpPr>
          <p:nvPr>
            <p:ph type="dt" idx="1"/>
          </p:nvPr>
        </p:nvSpPr>
        <p:spPr>
          <a:xfrm>
            <a:off x="3970338" y="0"/>
            <a:ext cx="3038475" cy="466725"/>
          </a:xfrm>
          <a:prstGeom prst="rect">
            <a:avLst/>
          </a:prstGeom>
        </p:spPr>
        <p:txBody>
          <a:bodyPr vert="horz" lIns="91440" tIns="45720" rIns="91440" bIns="45720" rtlCol="0"/>
          <a:lstStyle>
            <a:lvl1pPr algn="r">
              <a:defRPr sz="1200">
                <a:latin typeface="PTCRaleway" panose="020B0503030101060003" pitchFamily="34" charset="0"/>
              </a:defRPr>
            </a:lvl1pPr>
          </a:lstStyle>
          <a:p>
            <a:fld id="{AC5DD82D-684E-4FFB-8320-B8CCB1AF24EB}" type="datetimeFigureOut">
              <a:rPr lang="en-US" smtClean="0"/>
              <a:pPr/>
              <a:t>1/8/2024</a:t>
            </a:fld>
            <a:endParaRPr lang="en-US" dirty="0"/>
          </a:p>
        </p:txBody>
      </p:sp>
      <p:sp>
        <p:nvSpPr>
          <p:cNvPr id="4" name="Slide Image Placeholder 3"/>
          <p:cNvSpPr>
            <a:spLocks noGrp="1" noRot="1" noChangeAspect="1"/>
          </p:cNvSpPr>
          <p:nvPr>
            <p:ph type="sldImg" idx="2"/>
          </p:nvPr>
        </p:nvSpPr>
        <p:spPr>
          <a:xfrm>
            <a:off x="717550" y="1162050"/>
            <a:ext cx="5575300" cy="31369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701675" y="4473575"/>
            <a:ext cx="5607050" cy="3660775"/>
          </a:xfrm>
          <a:prstGeom prst="rect">
            <a:avLst/>
          </a:prstGeom>
        </p:spPr>
        <p:txBody>
          <a:bodyPr vert="horz" lIns="91440" tIns="45720" rIns="91440" bIns="45720"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8829675"/>
            <a:ext cx="3038475" cy="466725"/>
          </a:xfrm>
          <a:prstGeom prst="rect">
            <a:avLst/>
          </a:prstGeom>
        </p:spPr>
        <p:txBody>
          <a:bodyPr vert="horz" lIns="91440" tIns="45720" rIns="91440" bIns="45720" rtlCol="0" anchor="b"/>
          <a:lstStyle>
            <a:lvl1pPr algn="l">
              <a:defRPr sz="1200">
                <a:latin typeface="PTCRaleway" panose="020B0503030101060003" pitchFamily="34" charset="0"/>
              </a:defRPr>
            </a:lvl1pPr>
          </a:lstStyle>
          <a:p>
            <a:endParaRPr lang="en-US" dirty="0"/>
          </a:p>
        </p:txBody>
      </p:sp>
      <p:sp>
        <p:nvSpPr>
          <p:cNvPr id="7" name="Slide Number Placeholder 6"/>
          <p:cNvSpPr>
            <a:spLocks noGrp="1"/>
          </p:cNvSpPr>
          <p:nvPr>
            <p:ph type="sldNum" sz="quarter" idx="5"/>
          </p:nvPr>
        </p:nvSpPr>
        <p:spPr>
          <a:xfrm>
            <a:off x="3970338" y="8829675"/>
            <a:ext cx="3038475" cy="466725"/>
          </a:xfrm>
          <a:prstGeom prst="rect">
            <a:avLst/>
          </a:prstGeom>
        </p:spPr>
        <p:txBody>
          <a:bodyPr vert="horz" lIns="91440" tIns="45720" rIns="91440" bIns="45720" rtlCol="0" anchor="b"/>
          <a:lstStyle>
            <a:lvl1pPr algn="r">
              <a:defRPr sz="1200">
                <a:latin typeface="PTCRaleway" panose="020B0503030101060003" pitchFamily="34" charset="0"/>
              </a:defRPr>
            </a:lvl1pPr>
          </a:lstStyle>
          <a:p>
            <a:fld id="{D1F37E36-7D7C-4671-B3B8-2BFBF9F6F7FB}" type="slidenum">
              <a:rPr lang="en-US" smtClean="0"/>
              <a:pPr/>
              <a:t>‹#›</a:t>
            </a:fld>
            <a:endParaRPr lang="en-US" dirty="0"/>
          </a:p>
        </p:txBody>
      </p:sp>
    </p:spTree>
    <p:extLst>
      <p:ext uri="{BB962C8B-B14F-4D97-AF65-F5344CB8AC3E}">
        <p14:creationId xmlns:p14="http://schemas.microsoft.com/office/powerpoint/2010/main" val="370164433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PTCRaleway" panose="020B0503030101060003" pitchFamily="34" charset="0"/>
        <a:ea typeface="+mn-ea"/>
        <a:cs typeface="+mn-cs"/>
      </a:defRPr>
    </a:lvl1pPr>
    <a:lvl2pPr marL="457200" algn="l" defTabSz="914400" rtl="0" eaLnBrk="1" latinLnBrk="0" hangingPunct="1">
      <a:defRPr sz="1200" kern="1200">
        <a:solidFill>
          <a:schemeClr val="tx1"/>
        </a:solidFill>
        <a:latin typeface="PTCRaleway" panose="020B0503030101060003" pitchFamily="34" charset="0"/>
        <a:ea typeface="+mn-ea"/>
        <a:cs typeface="+mn-cs"/>
      </a:defRPr>
    </a:lvl2pPr>
    <a:lvl3pPr marL="914400" algn="l" defTabSz="914400" rtl="0" eaLnBrk="1" latinLnBrk="0" hangingPunct="1">
      <a:defRPr sz="1200" kern="1200">
        <a:solidFill>
          <a:schemeClr val="tx1"/>
        </a:solidFill>
        <a:latin typeface="PTCRaleway" panose="020B0503030101060003" pitchFamily="34" charset="0"/>
        <a:ea typeface="+mn-ea"/>
        <a:cs typeface="+mn-cs"/>
      </a:defRPr>
    </a:lvl3pPr>
    <a:lvl4pPr marL="1371600" algn="l" defTabSz="914400" rtl="0" eaLnBrk="1" latinLnBrk="0" hangingPunct="1">
      <a:defRPr sz="1200" kern="1200">
        <a:solidFill>
          <a:schemeClr val="tx1"/>
        </a:solidFill>
        <a:latin typeface="PTCRaleway" panose="020B0503030101060003" pitchFamily="34" charset="0"/>
        <a:ea typeface="+mn-ea"/>
        <a:cs typeface="+mn-cs"/>
      </a:defRPr>
    </a:lvl4pPr>
    <a:lvl5pPr marL="1828800" algn="l" defTabSz="914400" rtl="0" eaLnBrk="1" latinLnBrk="0" hangingPunct="1">
      <a:defRPr sz="1200" kern="1200">
        <a:solidFill>
          <a:schemeClr val="tx1"/>
        </a:solidFill>
        <a:latin typeface="PTCRaleway" panose="020B0503030101060003"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1" i="0" dirty="0">
                <a:solidFill>
                  <a:srgbClr val="293F4D"/>
                </a:solidFill>
                <a:effectLst/>
                <a:latin typeface="source sans pro" panose="020B0503030403020204" pitchFamily="34" charset="0"/>
              </a:rPr>
              <a:t>To avoid confusion with the planned release of Creo+, CAD packages and Extensions that contain "plus" will be renamed. </a:t>
            </a:r>
            <a:endParaRPr lang="en-US" b="0" i="0" dirty="0">
              <a:solidFill>
                <a:srgbClr val="293F4D"/>
              </a:solidFill>
              <a:effectLst/>
              <a:latin typeface="source sans pro" panose="020B0503030403020204" pitchFamily="34" charset="0"/>
            </a:endParaRPr>
          </a:p>
          <a:p>
            <a:pPr algn="l"/>
            <a:r>
              <a:rPr lang="en-US" b="1" i="0" dirty="0">
                <a:solidFill>
                  <a:srgbClr val="293F4D"/>
                </a:solidFill>
                <a:effectLst/>
                <a:latin typeface="source sans pro" panose="020B0503030403020204" pitchFamily="34" charset="0"/>
              </a:rPr>
              <a:t>Packages ("Professional")</a:t>
            </a:r>
            <a:endParaRPr lang="en-US" b="0" i="0" dirty="0">
              <a:solidFill>
                <a:srgbClr val="293F4D"/>
              </a:solidFill>
              <a:effectLst/>
              <a:latin typeface="source sans pro" panose="020B0503030403020204" pitchFamily="34" charset="0"/>
            </a:endParaRPr>
          </a:p>
          <a:p>
            <a:pPr algn="l">
              <a:buFont typeface="Arial" panose="020B0604020202020204" pitchFamily="34" charset="0"/>
              <a:buChar char="•"/>
            </a:pPr>
            <a:r>
              <a:rPr lang="en-US" b="0" i="0" dirty="0">
                <a:solidFill>
                  <a:srgbClr val="293F4D"/>
                </a:solidFill>
                <a:effectLst/>
                <a:latin typeface="source sans pro" panose="020B0503030403020204" pitchFamily="34" charset="0"/>
              </a:rPr>
              <a:t>Design Essentials, Design Advanced, Design Advanced </a:t>
            </a:r>
            <a:r>
              <a:rPr lang="en-US" b="1" i="0" dirty="0">
                <a:solidFill>
                  <a:srgbClr val="293F4D"/>
                </a:solidFill>
                <a:effectLst/>
                <a:latin typeface="source sans pro" panose="020B0503030403020204" pitchFamily="34" charset="0"/>
              </a:rPr>
              <a:t>Professional</a:t>
            </a:r>
            <a:r>
              <a:rPr lang="en-US" b="0" i="0" dirty="0">
                <a:solidFill>
                  <a:srgbClr val="293F4D"/>
                </a:solidFill>
                <a:effectLst/>
                <a:latin typeface="source sans pro" panose="020B0503030403020204" pitchFamily="34" charset="0"/>
              </a:rPr>
              <a:t>, Design Premium, Design Premium </a:t>
            </a:r>
            <a:r>
              <a:rPr lang="en-US" b="1" i="0" dirty="0">
                <a:solidFill>
                  <a:srgbClr val="293F4D"/>
                </a:solidFill>
                <a:effectLst/>
                <a:latin typeface="source sans pro" panose="020B0503030403020204" pitchFamily="34" charset="0"/>
              </a:rPr>
              <a:t>Professional</a:t>
            </a:r>
            <a:r>
              <a:rPr lang="en-US" b="0" i="0" dirty="0">
                <a:solidFill>
                  <a:srgbClr val="293F4D"/>
                </a:solidFill>
                <a:effectLst/>
                <a:latin typeface="source sans pro" panose="020B0503030403020204" pitchFamily="34" charset="0"/>
              </a:rPr>
              <a:t>​</a:t>
            </a:r>
          </a:p>
          <a:p>
            <a:pPr algn="l">
              <a:buFont typeface="Arial" panose="020B0604020202020204" pitchFamily="34" charset="0"/>
              <a:buChar char="•"/>
            </a:pPr>
            <a:r>
              <a:rPr lang="en-US" b="0" i="0" dirty="0">
                <a:solidFill>
                  <a:srgbClr val="293F4D"/>
                </a:solidFill>
                <a:effectLst/>
                <a:latin typeface="source sans pro" panose="020B0503030403020204" pitchFamily="34" charset="0"/>
              </a:rPr>
              <a:t>Creo Parametric Essentials </a:t>
            </a:r>
            <a:r>
              <a:rPr lang="en-US" b="1" i="0" dirty="0">
                <a:solidFill>
                  <a:srgbClr val="293F4D"/>
                </a:solidFill>
                <a:effectLst/>
                <a:latin typeface="source sans pro" panose="020B0503030403020204" pitchFamily="34" charset="0"/>
              </a:rPr>
              <a:t>Professional</a:t>
            </a:r>
            <a:r>
              <a:rPr lang="en-US" b="0" i="0" dirty="0">
                <a:solidFill>
                  <a:srgbClr val="293F4D"/>
                </a:solidFill>
                <a:effectLst/>
                <a:latin typeface="source sans pro" panose="020B0503030403020204" pitchFamily="34" charset="0"/>
              </a:rPr>
              <a:t>, Creo Essentials </a:t>
            </a:r>
            <a:r>
              <a:rPr lang="en-US" b="1" i="0" dirty="0">
                <a:solidFill>
                  <a:srgbClr val="293F4D"/>
                </a:solidFill>
                <a:effectLst/>
                <a:latin typeface="source sans pro" panose="020B0503030403020204" pitchFamily="34" charset="0"/>
              </a:rPr>
              <a:t>Professional </a:t>
            </a:r>
            <a:endParaRPr lang="en-US" b="0" i="0" dirty="0">
              <a:solidFill>
                <a:srgbClr val="293F4D"/>
              </a:solidFill>
              <a:effectLst/>
              <a:latin typeface="source sans pro" panose="020B0503030403020204" pitchFamily="34" charset="0"/>
            </a:endParaRPr>
          </a:p>
          <a:p>
            <a:pPr algn="l"/>
            <a:r>
              <a:rPr lang="en-US" b="1" i="0" dirty="0">
                <a:solidFill>
                  <a:srgbClr val="293F4D"/>
                </a:solidFill>
                <a:effectLst/>
                <a:latin typeface="source sans pro" panose="020B0503030403020204" pitchFamily="34" charset="0"/>
              </a:rPr>
              <a:t>Extensions ("Advanced")</a:t>
            </a:r>
            <a:endParaRPr lang="en-US" b="0" i="0" dirty="0">
              <a:solidFill>
                <a:srgbClr val="293F4D"/>
              </a:solidFill>
              <a:effectLst/>
              <a:latin typeface="source sans pro" panose="020B0503030403020204" pitchFamily="34" charset="0"/>
            </a:endParaRPr>
          </a:p>
          <a:p>
            <a:pPr algn="l">
              <a:buFont typeface="Arial" panose="020B0604020202020204" pitchFamily="34" charset="0"/>
              <a:buChar char="•"/>
            </a:pPr>
            <a:r>
              <a:rPr lang="en-US" b="0" i="0" dirty="0">
                <a:solidFill>
                  <a:srgbClr val="293F4D"/>
                </a:solidFill>
                <a:effectLst/>
                <a:latin typeface="source sans pro" panose="020B0503030403020204" pitchFamily="34" charset="0"/>
              </a:rPr>
              <a:t>Creo Simulation Live (CSL) </a:t>
            </a:r>
            <a:r>
              <a:rPr lang="en-US" b="1" i="0" dirty="0">
                <a:solidFill>
                  <a:srgbClr val="293F4D"/>
                </a:solidFill>
                <a:effectLst/>
                <a:latin typeface="source sans pro" panose="020B0503030403020204" pitchFamily="34" charset="0"/>
              </a:rPr>
              <a:t>Advanced</a:t>
            </a:r>
            <a:r>
              <a:rPr lang="en-US" b="0" i="0" dirty="0">
                <a:solidFill>
                  <a:srgbClr val="293F4D"/>
                </a:solidFill>
                <a:effectLst/>
                <a:latin typeface="source sans pro" panose="020B0503030403020204" pitchFamily="34" charset="0"/>
              </a:rPr>
              <a:t>​</a:t>
            </a:r>
          </a:p>
          <a:p>
            <a:pPr algn="l">
              <a:buFont typeface="Arial" panose="020B0604020202020204" pitchFamily="34" charset="0"/>
              <a:buChar char="•"/>
            </a:pPr>
            <a:r>
              <a:rPr lang="en-US" b="0" i="0" dirty="0">
                <a:solidFill>
                  <a:srgbClr val="293F4D"/>
                </a:solidFill>
                <a:effectLst/>
                <a:latin typeface="source sans pro" panose="020B0503030403020204" pitchFamily="34" charset="0"/>
              </a:rPr>
              <a:t>Creo Flow Analysis (CFA) </a:t>
            </a:r>
            <a:r>
              <a:rPr lang="en-US" b="1" i="0" dirty="0">
                <a:solidFill>
                  <a:srgbClr val="293F4D"/>
                </a:solidFill>
                <a:effectLst/>
                <a:latin typeface="source sans pro" panose="020B0503030403020204" pitchFamily="34" charset="0"/>
              </a:rPr>
              <a:t>Advanced</a:t>
            </a:r>
            <a:r>
              <a:rPr lang="en-US" b="0" i="0" dirty="0">
                <a:solidFill>
                  <a:srgbClr val="293F4D"/>
                </a:solidFill>
                <a:effectLst/>
                <a:latin typeface="source sans pro" panose="020B0503030403020204" pitchFamily="34" charset="0"/>
              </a:rPr>
              <a:t> ​</a:t>
            </a:r>
          </a:p>
          <a:p>
            <a:pPr algn="l">
              <a:buFont typeface="Arial" panose="020B0604020202020204" pitchFamily="34" charset="0"/>
              <a:buChar char="•"/>
            </a:pPr>
            <a:r>
              <a:rPr lang="en-US" b="0" i="0" dirty="0">
                <a:solidFill>
                  <a:srgbClr val="293F4D"/>
                </a:solidFill>
                <a:effectLst/>
                <a:latin typeface="source sans pro" panose="020B0503030403020204" pitchFamily="34" charset="0"/>
              </a:rPr>
              <a:t>Creo GD&amp;T Advisor </a:t>
            </a:r>
            <a:r>
              <a:rPr lang="en-US" b="1" i="0" dirty="0">
                <a:solidFill>
                  <a:srgbClr val="293F4D"/>
                </a:solidFill>
                <a:effectLst/>
                <a:latin typeface="source sans pro" panose="020B0503030403020204" pitchFamily="34" charset="0"/>
              </a:rPr>
              <a:t>Advanced</a:t>
            </a:r>
            <a:r>
              <a:rPr lang="en-US" b="0" i="0" dirty="0">
                <a:solidFill>
                  <a:srgbClr val="293F4D"/>
                </a:solidFill>
                <a:effectLst/>
                <a:latin typeface="source sans pro" panose="020B0503030403020204" pitchFamily="34" charset="0"/>
              </a:rPr>
              <a:t> ​</a:t>
            </a:r>
          </a:p>
          <a:p>
            <a:pPr algn="l">
              <a:buFont typeface="Arial" panose="020B0604020202020204" pitchFamily="34" charset="0"/>
              <a:buChar char="•"/>
            </a:pPr>
            <a:r>
              <a:rPr lang="en-US" b="0" i="0" dirty="0">
                <a:solidFill>
                  <a:srgbClr val="293F4D"/>
                </a:solidFill>
                <a:effectLst/>
                <a:latin typeface="source sans pro" panose="020B0503030403020204" pitchFamily="34" charset="0"/>
              </a:rPr>
              <a:t>Creo Additive Manufacturing (AMX) </a:t>
            </a:r>
            <a:r>
              <a:rPr lang="en-US" b="1" i="0" dirty="0">
                <a:solidFill>
                  <a:srgbClr val="293F4D"/>
                </a:solidFill>
                <a:effectLst/>
                <a:latin typeface="source sans pro" panose="020B0503030403020204" pitchFamily="34" charset="0"/>
              </a:rPr>
              <a:t>Advanced</a:t>
            </a:r>
            <a:r>
              <a:rPr lang="en-US" b="0" i="0" dirty="0">
                <a:solidFill>
                  <a:srgbClr val="293F4D"/>
                </a:solidFill>
                <a:effectLst/>
                <a:latin typeface="source sans pro" panose="020B0503030403020204" pitchFamily="34" charset="0"/>
              </a:rPr>
              <a:t> ​</a:t>
            </a:r>
          </a:p>
          <a:p>
            <a:pPr algn="l">
              <a:buFont typeface="Arial" panose="020B0604020202020204" pitchFamily="34" charset="0"/>
              <a:buChar char="•"/>
            </a:pPr>
            <a:r>
              <a:rPr lang="en-US" b="0" i="0" dirty="0">
                <a:solidFill>
                  <a:srgbClr val="293F4D"/>
                </a:solidFill>
                <a:effectLst/>
                <a:latin typeface="source sans pro" panose="020B0503030403020204" pitchFamily="34" charset="0"/>
              </a:rPr>
              <a:t>Creo High Speed Milling </a:t>
            </a:r>
            <a:r>
              <a:rPr lang="en-US" b="1" i="0" dirty="0">
                <a:solidFill>
                  <a:srgbClr val="293F4D"/>
                </a:solidFill>
                <a:effectLst/>
                <a:latin typeface="source sans pro" panose="020B0503030403020204" pitchFamily="34" charset="0"/>
              </a:rPr>
              <a:t>Advanced</a:t>
            </a:r>
            <a:r>
              <a:rPr lang="en-US" b="0" i="0" dirty="0">
                <a:solidFill>
                  <a:srgbClr val="293F4D"/>
                </a:solidFill>
                <a:effectLst/>
                <a:latin typeface="source sans pro" panose="020B0503030403020204" pitchFamily="34" charset="0"/>
              </a:rPr>
              <a:t> </a:t>
            </a:r>
          </a:p>
          <a:p>
            <a:pPr algn="l"/>
            <a:r>
              <a:rPr lang="en-US" b="0" i="0" dirty="0">
                <a:solidFill>
                  <a:srgbClr val="293F4D"/>
                </a:solidFill>
                <a:effectLst/>
                <a:latin typeface="source sans pro" panose="020B0503030403020204" pitchFamily="34" charset="0"/>
              </a:rPr>
              <a:t>Go Live date for changes August 12, 2022</a:t>
            </a:r>
          </a:p>
          <a:p>
            <a:endParaRPr lang="en-US" dirty="0"/>
          </a:p>
        </p:txBody>
      </p:sp>
      <p:sp>
        <p:nvSpPr>
          <p:cNvPr id="4" name="Slide Number Placeholder 3"/>
          <p:cNvSpPr>
            <a:spLocks noGrp="1"/>
          </p:cNvSpPr>
          <p:nvPr>
            <p:ph type="sldNum" sz="quarter" idx="10"/>
          </p:nvPr>
        </p:nvSpPr>
        <p:spPr/>
        <p:txBody>
          <a:bodyPr/>
          <a:lstStyle/>
          <a:p>
            <a:fld id="{BAF6CFA2-E031-4982-97B7-5ABD811C6623}" type="slidenum">
              <a:rPr lang="en-US" smtClean="0"/>
              <a:pPr/>
              <a:t>1</a:t>
            </a:fld>
            <a:endParaRPr lang="en-US"/>
          </a:p>
        </p:txBody>
      </p:sp>
    </p:spTree>
    <p:extLst>
      <p:ext uri="{BB962C8B-B14F-4D97-AF65-F5344CB8AC3E}">
        <p14:creationId xmlns:p14="http://schemas.microsoft.com/office/powerpoint/2010/main" val="43998905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0525" y="677863"/>
            <a:ext cx="6015038" cy="338455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1200" b="0" i="0" u="none" strike="noStrike" kern="1200" cap="none" spc="0" normalizeH="0" baseline="0" noProof="0" dirty="0">
                <a:ln>
                  <a:noFill/>
                </a:ln>
                <a:solidFill>
                  <a:srgbClr val="FFFFFF"/>
                </a:solidFill>
                <a:effectLst/>
                <a:uLnTx/>
                <a:uFillTx/>
                <a:ea typeface="+mn-ea"/>
                <a:cs typeface="+mn-cs"/>
              </a:rPr>
              <a:t>When refinement is near complete and designs are no longer subject to drastic or frequent change, more detailed “high-fidelity” analysis is performed using Ansys Simulation to generate highly accurate results</a:t>
            </a:r>
          </a:p>
          <a:p>
            <a:pPr marL="400050" marR="0" lvl="1" indent="-171450" algn="l" defTabSz="914400" rtl="0" eaLnBrk="1" fontAlgn="auto" latinLnBrk="0" hangingPunct="1">
              <a:lnSpc>
                <a:spcPct val="100000"/>
              </a:lnSpc>
              <a:spcBef>
                <a:spcPts val="0"/>
              </a:spcBef>
              <a:spcAft>
                <a:spcPts val="0"/>
              </a:spcAft>
              <a:buClrTx/>
              <a:buSzTx/>
              <a:buFont typeface="Century Gothic" panose="020B0502020202020204" pitchFamily="34" charset="0"/>
              <a:buChar char="–"/>
              <a:tabLst/>
              <a:defRPr/>
            </a:pPr>
            <a:r>
              <a:rPr kumimoji="0" lang="en-US" sz="1200" b="0" i="0" u="none" strike="noStrike" kern="1200" cap="none" spc="0" normalizeH="0" baseline="0" noProof="0" dirty="0">
                <a:ln>
                  <a:noFill/>
                </a:ln>
                <a:solidFill>
                  <a:srgbClr val="FFFFFF"/>
                </a:solidFill>
                <a:effectLst/>
                <a:uLnTx/>
                <a:uFillTx/>
                <a:ea typeface="+mn-ea"/>
                <a:cs typeface="+mn-cs"/>
              </a:rPr>
              <a:t>At this point, analysis may be turned over to specialist and experts that are more suited to perform “detailed” analysis  </a:t>
            </a:r>
          </a:p>
          <a:p>
            <a:pPr marL="400050" marR="0" lvl="1" indent="-171450" algn="l" defTabSz="914400" rtl="0" eaLnBrk="1" fontAlgn="auto" latinLnBrk="0" hangingPunct="1">
              <a:lnSpc>
                <a:spcPct val="100000"/>
              </a:lnSpc>
              <a:spcBef>
                <a:spcPts val="0"/>
              </a:spcBef>
              <a:spcAft>
                <a:spcPts val="0"/>
              </a:spcAft>
              <a:buClrTx/>
              <a:buSzTx/>
              <a:buFont typeface="Century Gothic" panose="020B0502020202020204" pitchFamily="34" charset="0"/>
              <a:buChar char="–"/>
              <a:tabLst/>
              <a:defRPr/>
            </a:pPr>
            <a:r>
              <a:rPr kumimoji="0" lang="en-US" sz="1200" b="0" i="0" u="none" strike="noStrike" kern="1200" cap="none" spc="0" normalizeH="0" baseline="0" noProof="0" dirty="0">
                <a:ln>
                  <a:noFill/>
                </a:ln>
                <a:solidFill>
                  <a:srgbClr val="FFFFFF"/>
                </a:solidFill>
                <a:effectLst/>
                <a:uLnTx/>
                <a:uFillTx/>
                <a:ea typeface="+mn-ea"/>
                <a:cs typeface="+mn-cs"/>
              </a:rPr>
              <a:t>The setup information from Simulation Live can be directly used in Ansys Simulation eliminating any rework</a:t>
            </a:r>
          </a:p>
          <a:p>
            <a:pPr marL="0" indent="0" defTabSz="894832">
              <a:spcBef>
                <a:spcPts val="0"/>
              </a:spcBef>
              <a:buNone/>
              <a:defRPr/>
            </a:pPr>
            <a:endParaRPr lang="en-GB" sz="1200" dirty="0"/>
          </a:p>
          <a:p>
            <a:pPr marL="167781" indent="-167781" defTabSz="894832">
              <a:spcBef>
                <a:spcPts val="0"/>
              </a:spcBef>
              <a:defRPr/>
            </a:pPr>
            <a:endParaRPr lang="en-GB" sz="1200" dirty="0"/>
          </a:p>
          <a:p>
            <a:pPr marL="0" indent="0" defTabSz="894832">
              <a:spcBef>
                <a:spcPts val="0"/>
              </a:spcBef>
              <a:buNone/>
              <a:defRPr/>
            </a:pPr>
            <a:endParaRPr lang="en-GB" sz="1200" dirty="0"/>
          </a:p>
          <a:p>
            <a:pPr lvl="0"/>
            <a:endParaRPr lang="en-GB" sz="1200" dirty="0"/>
          </a:p>
          <a:p>
            <a:pPr marL="167781" indent="-167781" defTabSz="894832">
              <a:spcBef>
                <a:spcPts val="0"/>
              </a:spcBef>
              <a:defRPr/>
            </a:pPr>
            <a:endParaRPr lang="en-US" sz="1200" dirty="0"/>
          </a:p>
          <a:p>
            <a:pPr lvl="0"/>
            <a:endParaRPr lang="en-US" dirty="0"/>
          </a:p>
        </p:txBody>
      </p:sp>
      <p:sp>
        <p:nvSpPr>
          <p:cNvPr id="4" name="Slide Number Placeholder 3"/>
          <p:cNvSpPr>
            <a:spLocks noGrp="1"/>
          </p:cNvSpPr>
          <p:nvPr>
            <p:ph type="sldNum" sz="quarter" idx="10"/>
          </p:nvPr>
        </p:nvSpPr>
        <p:spPr/>
        <p:txBody>
          <a:bodyPr/>
          <a:lstStyle/>
          <a:p>
            <a:pPr marL="0" marR="0" lvl="0" indent="0" algn="r" defTabSz="1086775" rtl="0" eaLnBrk="1" fontAlgn="auto" latinLnBrk="0" hangingPunct="1">
              <a:lnSpc>
                <a:spcPct val="100000"/>
              </a:lnSpc>
              <a:spcBef>
                <a:spcPts val="0"/>
              </a:spcBef>
              <a:spcAft>
                <a:spcPts val="0"/>
              </a:spcAft>
              <a:buClrTx/>
              <a:buSzTx/>
              <a:buFontTx/>
              <a:buNone/>
              <a:tabLst/>
              <a:defRPr/>
            </a:pPr>
            <a:fld id="{4569F304-ADA7-46EF-8A38-C4E5E6F6404B}" type="slidenum">
              <a:rPr kumimoji="0" lang="en-US" sz="1200" b="0" i="0" u="none" strike="noStrike" kern="1200" cap="none" spc="0" normalizeH="0" baseline="0" noProof="0" smtClean="0">
                <a:ln>
                  <a:noFill/>
                </a:ln>
                <a:solidFill>
                  <a:srgbClr val="3D4647"/>
                </a:solidFill>
                <a:effectLst/>
                <a:uLnTx/>
                <a:uFillTx/>
                <a:ea typeface="+mn-ea"/>
                <a:cs typeface="+mn-cs"/>
              </a:rPr>
              <a:pPr marL="0" marR="0" lvl="0" indent="0" algn="r" defTabSz="1086775"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dirty="0">
              <a:ln>
                <a:noFill/>
              </a:ln>
              <a:solidFill>
                <a:srgbClr val="3D4647"/>
              </a:solidFill>
              <a:effectLst/>
              <a:uLnTx/>
              <a:uFillTx/>
              <a:ea typeface="+mn-ea"/>
              <a:cs typeface="+mn-cs"/>
            </a:endParaRPr>
          </a:p>
        </p:txBody>
      </p:sp>
    </p:spTree>
    <p:extLst>
      <p:ext uri="{BB962C8B-B14F-4D97-AF65-F5344CB8AC3E}">
        <p14:creationId xmlns:p14="http://schemas.microsoft.com/office/powerpoint/2010/main" val="294502592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US" b="1" dirty="0"/>
              <a:t>Note:</a:t>
            </a:r>
          </a:p>
          <a:p>
            <a:pPr marL="0" indent="0">
              <a:buNone/>
            </a:pPr>
            <a:r>
              <a:rPr lang="en-US" dirty="0"/>
              <a:t>Positioning simulation capabilities can be difficult. Your best option is to share the capability matrix with your customer and have them select the solution that best fits their needs for simulation and analysis. </a:t>
            </a:r>
          </a:p>
        </p:txBody>
      </p:sp>
      <p:sp>
        <p:nvSpPr>
          <p:cNvPr id="4" name="Slide Number Placeholder 3"/>
          <p:cNvSpPr>
            <a:spLocks noGrp="1"/>
          </p:cNvSpPr>
          <p:nvPr>
            <p:ph type="sldNum" sz="quarter" idx="5"/>
          </p:nvPr>
        </p:nvSpPr>
        <p:spPr/>
        <p:txBody>
          <a:bodyPr/>
          <a:lstStyle/>
          <a:p>
            <a:pPr marL="0" marR="0" lvl="0" indent="0" algn="r" defTabSz="1086775" rtl="0" eaLnBrk="1" fontAlgn="auto" latinLnBrk="0" hangingPunct="1">
              <a:lnSpc>
                <a:spcPct val="100000"/>
              </a:lnSpc>
              <a:spcBef>
                <a:spcPts val="0"/>
              </a:spcBef>
              <a:spcAft>
                <a:spcPts val="0"/>
              </a:spcAft>
              <a:buClrTx/>
              <a:buSzTx/>
              <a:buFontTx/>
              <a:buNone/>
              <a:tabLst/>
              <a:defRPr/>
            </a:pPr>
            <a:fld id="{D1F37E36-7D7C-4671-B3B8-2BFBF9F6F7FB}" type="slidenum">
              <a:rPr kumimoji="0" lang="en-US" sz="1200" b="0" i="0" u="none" strike="noStrike" kern="1200" cap="none" spc="0" normalizeH="0" baseline="0" noProof="0" smtClean="0">
                <a:ln>
                  <a:noFill/>
                </a:ln>
                <a:solidFill>
                  <a:prstClr val="black"/>
                </a:solidFill>
                <a:effectLst/>
                <a:uLnTx/>
                <a:uFillTx/>
                <a:latin typeface="PTCRaleway" panose="020B0503030101060003" pitchFamily="34" charset="0"/>
                <a:ea typeface="+mn-ea"/>
                <a:cs typeface="+mn-cs"/>
              </a:rPr>
              <a:pPr marL="0" marR="0" lvl="0" indent="0" algn="r" defTabSz="1086775"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dirty="0">
              <a:ln>
                <a:noFill/>
              </a:ln>
              <a:solidFill>
                <a:prstClr val="black"/>
              </a:solidFill>
              <a:effectLst/>
              <a:uLnTx/>
              <a:uFillTx/>
              <a:latin typeface="PTCRaleway" panose="020B0503030101060003" pitchFamily="34" charset="0"/>
              <a:ea typeface="+mn-ea"/>
              <a:cs typeface="+mn-cs"/>
            </a:endParaRPr>
          </a:p>
        </p:txBody>
      </p:sp>
    </p:spTree>
    <p:extLst>
      <p:ext uri="{BB962C8B-B14F-4D97-AF65-F5344CB8AC3E}">
        <p14:creationId xmlns:p14="http://schemas.microsoft.com/office/powerpoint/2010/main" val="49372248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0525" y="677863"/>
            <a:ext cx="6015038" cy="338455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1200"/>
              </a:spcBef>
              <a:spcAft>
                <a:spcPts val="0"/>
              </a:spcAft>
              <a:buClrTx/>
              <a:buSzTx/>
              <a:buFont typeface="Arial" panose="020B0604020202020204" pitchFamily="34" charset="0"/>
              <a:buNone/>
              <a:tabLst/>
              <a:defRPr/>
            </a:pPr>
            <a:r>
              <a:rPr lang="en-US" sz="1400" b="1" kern="1200" dirty="0">
                <a:solidFill>
                  <a:schemeClr val="tx1"/>
                </a:solidFill>
                <a:effectLst/>
                <a:ea typeface="+mn-ea"/>
                <a:cs typeface="+mn-cs"/>
              </a:rPr>
              <a:t>Question: Does Fatigue Advisor require Creo Simulation?</a:t>
            </a:r>
          </a:p>
          <a:p>
            <a:pPr marL="0" marR="0" lvl="0" indent="0" algn="l" defTabSz="914400" rtl="0" eaLnBrk="1" fontAlgn="auto" latinLnBrk="0" hangingPunct="1">
              <a:lnSpc>
                <a:spcPct val="100000"/>
              </a:lnSpc>
              <a:spcBef>
                <a:spcPts val="1200"/>
              </a:spcBef>
              <a:spcAft>
                <a:spcPts val="0"/>
              </a:spcAft>
              <a:buClrTx/>
              <a:buSzTx/>
              <a:buFont typeface="Arial" panose="020B0604020202020204" pitchFamily="34" charset="0"/>
              <a:buNone/>
              <a:tabLst/>
              <a:defRPr/>
            </a:pPr>
            <a:r>
              <a:rPr lang="en-US" sz="1400" kern="1200" dirty="0">
                <a:solidFill>
                  <a:schemeClr val="tx1"/>
                </a:solidFill>
                <a:effectLst/>
                <a:ea typeface="+mn-ea"/>
                <a:cs typeface="+mn-cs"/>
              </a:rPr>
              <a:t>Fatigue Advisor Extension has the prerequisite PTC Creo Parametric, so it requires Creo Parametric but not Creo Simulation.  </a:t>
            </a:r>
            <a:endParaRPr lang="en-US" b="1" dirty="0"/>
          </a:p>
          <a:p>
            <a:pPr marL="0" indent="0">
              <a:buNone/>
            </a:pPr>
            <a:endParaRPr lang="en-US" b="1" dirty="0"/>
          </a:p>
          <a:p>
            <a:pPr marL="0" indent="0">
              <a:buNone/>
            </a:pPr>
            <a:r>
              <a:rPr lang="en-US" b="1" dirty="0"/>
              <a:t>Applicability:  </a:t>
            </a:r>
            <a:r>
              <a:rPr lang="en-US" dirty="0"/>
              <a:t>Would you like to reduce product warranty costs by creating more durable products?</a:t>
            </a:r>
          </a:p>
          <a:p>
            <a:endParaRPr lang="en-US" b="1" dirty="0"/>
          </a:p>
          <a:p>
            <a:pPr marL="167781" indent="-167781"/>
            <a:r>
              <a:rPr lang="en-US" b="1" dirty="0"/>
              <a:t>Tell me </a:t>
            </a:r>
            <a:r>
              <a:rPr lang="en-US" dirty="0"/>
              <a:t>about the tools you use to predict the fatigue life of your products. </a:t>
            </a:r>
          </a:p>
          <a:p>
            <a:pPr marL="167781" indent="-167781"/>
            <a:r>
              <a:rPr lang="en-US" b="1" dirty="0"/>
              <a:t>Explain</a:t>
            </a:r>
            <a:r>
              <a:rPr lang="en-US" dirty="0"/>
              <a:t> the importance of being able to gain design confidence and improve product quality.  </a:t>
            </a:r>
          </a:p>
          <a:p>
            <a:pPr marL="167781" indent="-167781"/>
            <a:r>
              <a:rPr lang="en-US" b="1" dirty="0"/>
              <a:t>Describe</a:t>
            </a:r>
            <a:r>
              <a:rPr lang="en-US" dirty="0"/>
              <a:t> the costs implications resulting from faulty or failed products. </a:t>
            </a:r>
          </a:p>
          <a:p>
            <a:pPr marL="167781" indent="-167781"/>
            <a:r>
              <a:rPr lang="en-US" dirty="0"/>
              <a:t>To what extent do you perform fatigue analysis to avoid structural failures.</a:t>
            </a:r>
          </a:p>
          <a:p>
            <a:pPr marL="167781" indent="-167781"/>
            <a:r>
              <a:rPr lang="en-US" dirty="0"/>
              <a:t>What percentage of structural failures are the result of fatigue failure.</a:t>
            </a:r>
          </a:p>
          <a:p>
            <a:pPr marL="167781" indent="-167781"/>
            <a:r>
              <a:rPr lang="en-US" sz="2000" dirty="0">
                <a:solidFill>
                  <a:schemeClr val="bg2"/>
                </a:solidFill>
              </a:rPr>
              <a:t>What company initiatives or strategies are in place to reduce warranty and product liability costs. </a:t>
            </a:r>
            <a:endParaRPr lang="en-US" dirty="0"/>
          </a:p>
          <a:p>
            <a:pPr marL="0" indent="0" defTabSz="894832">
              <a:spcBef>
                <a:spcPts val="0"/>
              </a:spcBef>
              <a:buNone/>
              <a:defRPr/>
            </a:pPr>
            <a:endParaRPr lang="en-GB" sz="1200" dirty="0"/>
          </a:p>
          <a:p>
            <a:pPr marL="167781" indent="-167781" defTabSz="894832">
              <a:spcBef>
                <a:spcPts val="0"/>
              </a:spcBef>
              <a:defRPr/>
            </a:pPr>
            <a:endParaRPr lang="en-GB" sz="1200" dirty="0"/>
          </a:p>
          <a:p>
            <a:pPr marL="0" indent="0" defTabSz="894832">
              <a:spcBef>
                <a:spcPts val="0"/>
              </a:spcBef>
              <a:buNone/>
              <a:defRPr/>
            </a:pPr>
            <a:endParaRPr lang="en-GB" sz="1200" dirty="0"/>
          </a:p>
          <a:p>
            <a:pPr lvl="0"/>
            <a:endParaRPr lang="en-GB" sz="1200" dirty="0"/>
          </a:p>
          <a:p>
            <a:pPr marL="167781" indent="-167781" defTabSz="894832">
              <a:spcBef>
                <a:spcPts val="0"/>
              </a:spcBef>
              <a:defRPr/>
            </a:pPr>
            <a:endParaRPr lang="en-US" sz="1200" dirty="0"/>
          </a:p>
          <a:p>
            <a:pPr lvl="0"/>
            <a:endParaRPr lang="en-US" dirty="0"/>
          </a:p>
        </p:txBody>
      </p:sp>
      <p:sp>
        <p:nvSpPr>
          <p:cNvPr id="4" name="Slide Number Placeholder 3"/>
          <p:cNvSpPr>
            <a:spLocks noGrp="1"/>
          </p:cNvSpPr>
          <p:nvPr>
            <p:ph type="sldNum" sz="quarter" idx="10"/>
          </p:nvPr>
        </p:nvSpPr>
        <p:spPr/>
        <p:txBody>
          <a:bodyPr/>
          <a:lstStyle/>
          <a:p>
            <a:fld id="{4569F304-ADA7-46EF-8A38-C4E5E6F6404B}" type="slidenum">
              <a:rPr lang="en-US" smtClean="0"/>
              <a:t>13</a:t>
            </a:fld>
            <a:endParaRPr lang="en-US"/>
          </a:p>
        </p:txBody>
      </p:sp>
    </p:spTree>
    <p:extLst>
      <p:ext uri="{BB962C8B-B14F-4D97-AF65-F5344CB8AC3E}">
        <p14:creationId xmlns:p14="http://schemas.microsoft.com/office/powerpoint/2010/main" val="164819522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0525" y="677863"/>
            <a:ext cx="6015038" cy="3384550"/>
          </a:xfrm>
        </p:spPr>
      </p:sp>
      <p:sp>
        <p:nvSpPr>
          <p:cNvPr id="3" name="Notes Placeholder 2"/>
          <p:cNvSpPr>
            <a:spLocks noGrp="1"/>
          </p:cNvSpPr>
          <p:nvPr>
            <p:ph type="body" idx="1"/>
          </p:nvPr>
        </p:nvSpPr>
        <p:spPr/>
        <p:txBody>
          <a:bodyPr/>
          <a:lstStyle/>
          <a:p>
            <a:pPr lvl="0"/>
            <a:endParaRPr lang="en-GB" sz="1200" dirty="0"/>
          </a:p>
          <a:p>
            <a:pPr marL="167781" indent="-167781" defTabSz="894832">
              <a:spcBef>
                <a:spcPts val="0"/>
              </a:spcBef>
              <a:defRPr/>
            </a:pPr>
            <a:endParaRPr lang="en-US" sz="1200" dirty="0"/>
          </a:p>
          <a:p>
            <a:pPr lvl="0"/>
            <a:endParaRPr lang="en-US" dirty="0"/>
          </a:p>
        </p:txBody>
      </p:sp>
      <p:sp>
        <p:nvSpPr>
          <p:cNvPr id="4" name="Slide Number Placeholder 3"/>
          <p:cNvSpPr>
            <a:spLocks noGrp="1"/>
          </p:cNvSpPr>
          <p:nvPr>
            <p:ph type="sldNum" sz="quarter" idx="10"/>
          </p:nvPr>
        </p:nvSpPr>
        <p:spPr/>
        <p:txBody>
          <a:bodyPr/>
          <a:lstStyle/>
          <a:p>
            <a:fld id="{4569F304-ADA7-46EF-8A38-C4E5E6F6404B}" type="slidenum">
              <a:rPr lang="en-US" smtClean="0"/>
              <a:t>14</a:t>
            </a:fld>
            <a:endParaRPr lang="en-US"/>
          </a:p>
        </p:txBody>
      </p:sp>
    </p:spTree>
    <p:extLst>
      <p:ext uri="{BB962C8B-B14F-4D97-AF65-F5344CB8AC3E}">
        <p14:creationId xmlns:p14="http://schemas.microsoft.com/office/powerpoint/2010/main" val="354066711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US" sz="2100" baseline="0" dirty="0"/>
              <a:t>Creo Flow Analysis is packaged to delivers three levels of functional capabilities at a competitive price point.  Customer are able to choose the package that best meets their flow analysis requirements.  </a:t>
            </a:r>
          </a:p>
          <a:p>
            <a:endParaRPr lang="en-US" sz="2100" baseline="0" dirty="0"/>
          </a:p>
          <a:p>
            <a:r>
              <a:rPr lang="en-US" sz="2100" baseline="0" dirty="0"/>
              <a:t>Creo Flow Analysis is competitively priced and functionally superior to SolidWorks and Inventor flow analysis offerings.  When compared to Ansys Fluent and STAR CCM+, Creo Flow Analysis provides functionality and speed at a greatly reduced price point.</a:t>
            </a:r>
            <a:endParaRPr lang="en-US" dirty="0"/>
          </a:p>
        </p:txBody>
      </p:sp>
      <p:sp>
        <p:nvSpPr>
          <p:cNvPr id="4" name="Slide Number Placeholder 3"/>
          <p:cNvSpPr>
            <a:spLocks noGrp="1"/>
          </p:cNvSpPr>
          <p:nvPr>
            <p:ph type="sldNum" sz="quarter" idx="10"/>
          </p:nvPr>
        </p:nvSpPr>
        <p:spPr/>
        <p:txBody>
          <a:bodyPr/>
          <a:lstStyle/>
          <a:p>
            <a:fld id="{CED61EBF-DF32-46B4-B6D0-EC96803BB03E}" type="slidenum">
              <a:rPr lang="en-US" smtClean="0"/>
              <a:t>15</a:t>
            </a:fld>
            <a:endParaRPr lang="en-US"/>
          </a:p>
        </p:txBody>
      </p:sp>
    </p:spTree>
    <p:extLst>
      <p:ext uri="{BB962C8B-B14F-4D97-AF65-F5344CB8AC3E}">
        <p14:creationId xmlns:p14="http://schemas.microsoft.com/office/powerpoint/2010/main" val="187800070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BAF6CFA2-E031-4982-97B7-5ABD811C6623}" type="slidenum">
              <a:rPr lang="en-US" smtClean="0"/>
              <a:pPr/>
              <a:t>16</a:t>
            </a:fld>
            <a:endParaRPr lang="en-US"/>
          </a:p>
        </p:txBody>
      </p:sp>
    </p:spTree>
    <p:extLst>
      <p:ext uri="{BB962C8B-B14F-4D97-AF65-F5344CB8AC3E}">
        <p14:creationId xmlns:p14="http://schemas.microsoft.com/office/powerpoint/2010/main" val="40596068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US" dirty="0"/>
              <a:t>Creo Topology Optimization </a:t>
            </a:r>
            <a:r>
              <a:rPr lang="en-US" dirty="0">
                <a:sym typeface="Wingdings" panose="05000000000000000000" pitchFamily="2" charset="2"/>
              </a:rPr>
              <a:t> Creo Generative Topology Optimization (GTO)</a:t>
            </a:r>
            <a:endParaRPr lang="en-US" dirty="0"/>
          </a:p>
          <a:p>
            <a:pPr marL="0" indent="0">
              <a:buNone/>
            </a:pPr>
            <a:r>
              <a:rPr lang="en-US" dirty="0"/>
              <a:t>At the current time (Jan 2021), Top Optimization is in the T5 package which includes the GTO Serviceable. In Creo 7.0 or later you need to include the feature option for GTO (386) to your session of Creo to use the application. If the GTO license is a locked extension, you will need to add it to Creo through the installer. If the GTO license floating, you can simply launch Creo and click Applications &gt; Generative Design to check-out the license.</a:t>
            </a:r>
          </a:p>
          <a:p>
            <a:pPr marL="228600" indent="-228600"/>
            <a:r>
              <a:rPr lang="en-US" dirty="0"/>
              <a:t>The plan is to replace Top Op with Creo GTO in Creo 8.</a:t>
            </a:r>
          </a:p>
          <a:p>
            <a:pPr marL="0" indent="0">
              <a:buNone/>
            </a:pPr>
            <a:endParaRPr lang="en-US" dirty="0"/>
          </a:p>
          <a:p>
            <a:pPr marL="0" indent="0">
              <a:buNone/>
            </a:pPr>
            <a:r>
              <a:rPr lang="en-US" dirty="0"/>
              <a:t>Effective February 9, 2021 Mathcad has been added to the T2 and T3 seats. Prior to this time, Mathcad (Full) was only in the T4 and T5 packages.</a:t>
            </a:r>
          </a:p>
          <a:p>
            <a:pPr marL="0" indent="0">
              <a:buNone/>
            </a:pPr>
            <a:endParaRPr lang="en-US" dirty="0"/>
          </a:p>
          <a:p>
            <a:pPr marL="0" indent="0">
              <a:buNone/>
            </a:pPr>
            <a:r>
              <a:rPr lang="en-US" dirty="0"/>
              <a:t>Creo 8.0 (April 2021)</a:t>
            </a:r>
          </a:p>
          <a:p>
            <a:pPr marL="0" marR="0" lvl="0" indent="0" algn="l" defTabSz="914400" rtl="0" eaLnBrk="1" fontAlgn="auto" latinLnBrk="0" hangingPunct="1">
              <a:lnSpc>
                <a:spcPct val="100000"/>
              </a:lnSpc>
              <a:spcBef>
                <a:spcPts val="1200"/>
              </a:spcBef>
              <a:spcAft>
                <a:spcPts val="0"/>
              </a:spcAft>
              <a:buClrTx/>
              <a:buSzTx/>
              <a:buFont typeface="Arial" panose="020B0604020202020204" pitchFamily="34" charset="0"/>
              <a:buNone/>
              <a:tabLst/>
              <a:defRPr/>
            </a:pPr>
            <a:r>
              <a:rPr kumimoji="0" lang="en-US" sz="1400" b="1" i="0" u="none" strike="noStrike" kern="1200" cap="none" spc="0" normalizeH="0" baseline="0" noProof="0" dirty="0">
                <a:ln>
                  <a:noFill/>
                </a:ln>
                <a:solidFill>
                  <a:srgbClr val="3D4647"/>
                </a:solidFill>
                <a:effectLst/>
                <a:uLnTx/>
                <a:uFillTx/>
                <a:ea typeface="+mn-ea"/>
                <a:cs typeface="+mn-cs"/>
              </a:rPr>
              <a:t>Creo High Speed Milling Advanced </a:t>
            </a:r>
            <a:r>
              <a:rPr kumimoji="0" lang="en-US" sz="1400" b="0" i="0" u="none" strike="noStrike" kern="1200" cap="none" spc="0" normalizeH="0" baseline="0" noProof="0" dirty="0">
                <a:ln>
                  <a:noFill/>
                </a:ln>
                <a:solidFill>
                  <a:srgbClr val="3D4647"/>
                </a:solidFill>
                <a:effectLst/>
                <a:uLnTx/>
                <a:uFillTx/>
                <a:ea typeface="+mn-ea"/>
                <a:cs typeface="+mn-cs"/>
              </a:rPr>
              <a:t>replaces Creo Mold Machining Extension </a:t>
            </a:r>
          </a:p>
          <a:p>
            <a:pPr marL="228600" marR="0" lvl="0" indent="-228600" algn="l" defTabSz="914400" rtl="0" eaLnBrk="1" fontAlgn="auto" latinLnBrk="0" hangingPunct="1">
              <a:lnSpc>
                <a:spcPct val="100000"/>
              </a:lnSpc>
              <a:spcBef>
                <a:spcPts val="120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3D4647"/>
                </a:solidFill>
                <a:effectLst/>
                <a:uLnTx/>
                <a:uFillTx/>
                <a:ea typeface="+mn-ea"/>
                <a:cs typeface="+mn-cs"/>
              </a:rPr>
              <a:t>Same part #, adds additional HSM capabilities to support simultaneous 5-axis and 3+2-axis high speed machining</a:t>
            </a:r>
          </a:p>
          <a:p>
            <a:pPr marL="228600" marR="0" lvl="0" indent="-228600" algn="l" defTabSz="914400" rtl="0" eaLnBrk="1" fontAlgn="auto" latinLnBrk="0" hangingPunct="1">
              <a:lnSpc>
                <a:spcPct val="100000"/>
              </a:lnSpc>
              <a:spcBef>
                <a:spcPts val="120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ea typeface="+mn-ea"/>
                <a:cs typeface="+mn-cs"/>
              </a:rPr>
              <a:t>When customers install Creo 8.0 and later builds, the additional 5-axis HSM capabilities will be accessible </a:t>
            </a:r>
          </a:p>
          <a:p>
            <a:pPr marL="228600" marR="0" lvl="0" indent="-228600" algn="l" defTabSz="914400" rtl="0" eaLnBrk="1" fontAlgn="auto" latinLnBrk="0" hangingPunct="1">
              <a:lnSpc>
                <a:spcPct val="100000"/>
              </a:lnSpc>
              <a:spcBef>
                <a:spcPts val="120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ea typeface="+mn-ea"/>
                <a:cs typeface="+mn-cs"/>
              </a:rPr>
              <a:t>There is no need to update the license to get access</a:t>
            </a:r>
          </a:p>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n-US" sz="1400" b="1" i="0" u="none" strike="noStrike" kern="1200" cap="none" spc="0" normalizeH="0" baseline="0" noProof="0" dirty="0">
                <a:ln>
                  <a:noFill/>
                </a:ln>
                <a:solidFill>
                  <a:srgbClr val="3D4647"/>
                </a:solidFill>
                <a:effectLst/>
                <a:uLnTx/>
                <a:uFillTx/>
                <a:ea typeface="+mn-ea"/>
                <a:cs typeface="+mn-cs"/>
              </a:rPr>
              <a:t>Creo High Speed Milling (New Offering)</a:t>
            </a:r>
          </a:p>
          <a:p>
            <a:pPr marL="228600" marR="0" lvl="0" indent="-22860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rgbClr val="3D4647"/>
                </a:solidFill>
                <a:effectLst/>
                <a:uLnTx/>
                <a:uFillTx/>
                <a:ea typeface="+mn-ea"/>
                <a:cs typeface="+mn-cs"/>
              </a:rPr>
              <a:t>Specialized capabilities to support 3-axis high speed machining  </a:t>
            </a:r>
          </a:p>
          <a:p>
            <a:pPr marL="228600" marR="0" lvl="0" indent="-22860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endParaRPr kumimoji="0" lang="en-US" sz="1400" b="1" i="0" u="none" strike="noStrike" kern="1200" cap="none" spc="0" normalizeH="0" baseline="0" noProof="0" dirty="0">
              <a:ln>
                <a:noFill/>
              </a:ln>
              <a:solidFill>
                <a:srgbClr val="3D4647"/>
              </a:solidFill>
              <a:effectLst/>
              <a:uLnTx/>
              <a:uFillTx/>
              <a:ea typeface="+mn-ea"/>
              <a:cs typeface="+mn-cs"/>
            </a:endParaRPr>
          </a:p>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n-US" sz="1400" b="1" i="0" u="none" strike="noStrike" kern="1200" cap="none" spc="0" normalizeH="0" baseline="0" noProof="0" dirty="0">
                <a:ln>
                  <a:noFill/>
                </a:ln>
                <a:solidFill>
                  <a:srgbClr val="3D4647"/>
                </a:solidFill>
                <a:effectLst/>
                <a:uLnTx/>
                <a:uFillTx/>
                <a:ea typeface="+mn-ea"/>
                <a:cs typeface="+mn-cs"/>
              </a:rPr>
              <a:t>ISDX II History:</a:t>
            </a:r>
          </a:p>
          <a:p>
            <a:pPr marL="0" marR="0">
              <a:spcBef>
                <a:spcPts val="0"/>
              </a:spcBef>
              <a:spcAft>
                <a:spcPts val="0"/>
              </a:spcAft>
            </a:pPr>
            <a:r>
              <a:rPr lang="en-US" sz="1800" dirty="0">
                <a:effectLst/>
                <a:latin typeface="Calibri" panose="020F0502020204030204" pitchFamily="34" charset="0"/>
                <a:ea typeface="Calibri" panose="020F0502020204030204" pitchFamily="34" charset="0"/>
              </a:rPr>
              <a:t>Many years ago (20+), PTC sold the Advanced Surface Extension (ASX) that included Pro/Surface, Pro/COMPOSITE and Pro/SCAN-TOOLS</a:t>
            </a:r>
          </a:p>
          <a:p>
            <a:pPr marL="285750" marR="0" indent="-285750">
              <a:spcBef>
                <a:spcPts val="0"/>
              </a:spcBef>
              <a:spcAft>
                <a:spcPts val="0"/>
              </a:spcAft>
              <a:buFont typeface="Arial" panose="020B0604020202020204" pitchFamily="34" charset="0"/>
              <a:buChar char="•"/>
            </a:pPr>
            <a:r>
              <a:rPr lang="en-US" sz="1800" dirty="0">
                <a:effectLst/>
                <a:latin typeface="Calibri" panose="020F0502020204030204" pitchFamily="34" charset="0"/>
                <a:ea typeface="Calibri" panose="020F0502020204030204" pitchFamily="34" charset="0"/>
              </a:rPr>
              <a:t>Pro/SURFACE and Pro/SCAN-TOOLS were added to “core” Creo Parametric (Pro/SCAN-TOOLS was not included)</a:t>
            </a:r>
          </a:p>
          <a:p>
            <a:pPr marL="285750" marR="0" indent="-285750">
              <a:spcBef>
                <a:spcPts val="0"/>
              </a:spcBef>
              <a:spcAft>
                <a:spcPts val="0"/>
              </a:spcAft>
              <a:buFont typeface="Arial" panose="020B0604020202020204" pitchFamily="34" charset="0"/>
              <a:buChar char="•"/>
            </a:pPr>
            <a:r>
              <a:rPr lang="en-US" sz="1800" dirty="0">
                <a:effectLst/>
                <a:latin typeface="Calibri" panose="020F0502020204030204" pitchFamily="34" charset="0"/>
                <a:ea typeface="Calibri" panose="020F0502020204030204" pitchFamily="34" charset="0"/>
              </a:rPr>
              <a:t>ISDX II – added ASX to the base ISDX to include Pro/SCAN-TOOLS</a:t>
            </a:r>
          </a:p>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endParaRPr kumimoji="0" lang="en-US" sz="1400" b="0" i="0" u="none" strike="noStrike" kern="1200" cap="none" spc="0" normalizeH="0" baseline="0" noProof="0" dirty="0">
              <a:ln>
                <a:noFill/>
              </a:ln>
              <a:solidFill>
                <a:srgbClr val="3D4647"/>
              </a:solidFill>
              <a:effectLst/>
              <a:uLnTx/>
              <a:uFillTx/>
              <a:ea typeface="+mn-ea"/>
              <a:cs typeface="+mn-cs"/>
            </a:endParaRPr>
          </a:p>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n-US" sz="1400" b="1" i="0" u="none" strike="noStrike" kern="1200" cap="none" spc="0" normalizeH="0" baseline="0" noProof="0" dirty="0">
                <a:ln>
                  <a:noFill/>
                </a:ln>
                <a:solidFill>
                  <a:srgbClr val="3D4647"/>
                </a:solidFill>
                <a:effectLst/>
                <a:uLnTx/>
                <a:uFillTx/>
                <a:ea typeface="+mn-ea"/>
                <a:cs typeface="+mn-cs"/>
              </a:rPr>
              <a:t>EZ Tolerance Analysis</a:t>
            </a:r>
          </a:p>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n-US" sz="1400" b="0" i="0" u="none" strike="noStrike" kern="1200" cap="none" spc="0" normalizeH="0" baseline="0" noProof="0" dirty="0">
                <a:ln>
                  <a:noFill/>
                </a:ln>
                <a:solidFill>
                  <a:srgbClr val="3D4647"/>
                </a:solidFill>
                <a:effectLst/>
                <a:uLnTx/>
                <a:uFillTx/>
                <a:ea typeface="+mn-ea"/>
                <a:cs typeface="+mn-cs"/>
              </a:rPr>
              <a:t>EZ Tolerance Analysis replaces the Creo Tolerance Analysis Extension in Creo 7.0 and later builds</a:t>
            </a:r>
          </a:p>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lang="en-US" sz="1800" b="0" i="0" u="none" strike="noStrike" dirty="0">
                <a:solidFill>
                  <a:srgbClr val="000000"/>
                </a:solidFill>
                <a:effectLst/>
                <a:latin typeface="Calibri" panose="020F0502020204030204" pitchFamily="34" charset="0"/>
              </a:rPr>
              <a:t>Released with Creo 7.0, back ported to Creo 4.0 M110 and later, Creo 5.060 and later, Creo 6.030 and later - option to install Creo TAE or EZ Tol for these builds</a:t>
            </a:r>
            <a:r>
              <a:rPr lang="en-US" sz="2000" dirty="0"/>
              <a:t> </a:t>
            </a:r>
            <a:endParaRPr kumimoji="0" lang="en-US" sz="1400" b="0" i="0" u="none" strike="noStrike" kern="1200" cap="none" spc="0" normalizeH="0" baseline="0" noProof="0" dirty="0">
              <a:ln>
                <a:noFill/>
              </a:ln>
              <a:solidFill>
                <a:srgbClr val="3D4647"/>
              </a:solidFill>
              <a:effectLst/>
              <a:uLnTx/>
              <a:uFillTx/>
              <a:ea typeface="+mn-ea"/>
              <a:cs typeface="+mn-cs"/>
            </a:endParaRPr>
          </a:p>
        </p:txBody>
      </p:sp>
      <p:sp>
        <p:nvSpPr>
          <p:cNvPr id="4" name="Slide Number Placeholder 3"/>
          <p:cNvSpPr>
            <a:spLocks noGrp="1"/>
          </p:cNvSpPr>
          <p:nvPr>
            <p:ph type="sldNum" sz="quarter" idx="5"/>
          </p:nvPr>
        </p:nvSpPr>
        <p:spPr/>
        <p:txBody>
          <a:bodyPr/>
          <a:lstStyle/>
          <a:p>
            <a:pPr marL="0" marR="0" lvl="0" indent="0" algn="r" defTabSz="1086775" rtl="0" eaLnBrk="1" fontAlgn="auto" latinLnBrk="0" hangingPunct="1">
              <a:lnSpc>
                <a:spcPct val="100000"/>
              </a:lnSpc>
              <a:spcBef>
                <a:spcPts val="0"/>
              </a:spcBef>
              <a:spcAft>
                <a:spcPts val="0"/>
              </a:spcAft>
              <a:buClrTx/>
              <a:buSzTx/>
              <a:buFontTx/>
              <a:buNone/>
              <a:tabLst/>
              <a:defRPr/>
            </a:pPr>
            <a:fld id="{BAF6CFA2-E031-4982-97B7-5ABD811C6623}" type="slidenum">
              <a:rPr kumimoji="0" lang="en-US" sz="1200" b="0" i="0" u="none" strike="noStrike" kern="1200" cap="none" spc="0" normalizeH="0" baseline="0" noProof="0" smtClean="0">
                <a:ln>
                  <a:noFill/>
                </a:ln>
                <a:solidFill>
                  <a:srgbClr val="3D4647"/>
                </a:solidFill>
                <a:effectLst/>
                <a:uLnTx/>
                <a:uFillTx/>
                <a:ea typeface="+mn-ea"/>
                <a:cs typeface="+mn-cs"/>
              </a:rPr>
              <a:pPr marL="0" marR="0" lvl="0" indent="0" algn="r" defTabSz="1086775"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dirty="0">
              <a:ln>
                <a:noFill/>
              </a:ln>
              <a:solidFill>
                <a:srgbClr val="3D4647"/>
              </a:solidFill>
              <a:effectLst/>
              <a:uLnTx/>
              <a:uFillTx/>
              <a:ea typeface="+mn-ea"/>
              <a:cs typeface="+mn-cs"/>
            </a:endParaRPr>
          </a:p>
        </p:txBody>
      </p:sp>
    </p:spTree>
    <p:extLst>
      <p:ext uri="{BB962C8B-B14F-4D97-AF65-F5344CB8AC3E}">
        <p14:creationId xmlns:p14="http://schemas.microsoft.com/office/powerpoint/2010/main" val="300216411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a:t>The</a:t>
            </a:r>
            <a:r>
              <a:rPr lang="en-US" baseline="0" dirty="0"/>
              <a:t> subscription pricing model provides many benefits to our customers. </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kern="1200" dirty="0">
              <a:solidFill>
                <a:schemeClr val="tx1"/>
              </a:solidFill>
              <a:effectLs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baseline="0" dirty="0">
                <a:solidFill>
                  <a:srgbClr val="FF0000"/>
                </a:solidFill>
              </a:rPr>
              <a:t>To speed user adoption and increase productivity, the complete Creo eLearning Libraries are now included with every Creo Essentials package. </a:t>
            </a:r>
            <a:r>
              <a:rPr lang="en-US" sz="1200" kern="1200" baseline="0" dirty="0">
                <a:solidFill>
                  <a:schemeClr val="tx1"/>
                </a:solidFill>
                <a:effectLst/>
                <a:ea typeface="+mn-ea"/>
                <a:cs typeface="+mn-cs"/>
              </a:rPr>
              <a:t>Home Use licenses are also provided with the purchase of every Creo Essentials License.  For each floating license purchased, the customer receives 2 Home Use licenses, for each locked license purchased the customer receives 1 Home Use License.  The Home Use license provides Creo Essentials functionality.   </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kern="1200" baseline="0" dirty="0">
              <a:solidFill>
                <a:schemeClr val="tx1"/>
              </a:solidFill>
              <a:effectLst/>
              <a:ea typeface="+mn-ea"/>
              <a:cs typeface="+mn-cs"/>
            </a:endParaRPr>
          </a:p>
          <a:p>
            <a:r>
              <a:rPr lang="en-US" baseline="0" dirty="0"/>
              <a:t>Subscription pricing eliminates the high upfront investment by combining software and maintenance at a greatly reduced rate equal to roughly 45% of the perpetual license cost.  Gold Level Support provides major software releases, security updates and maintenance builds, 24X5 access to the gold support desk, pro-active support alerts, self-guided online support and intelligent case management.  </a:t>
            </a:r>
          </a:p>
          <a:p>
            <a:endParaRPr lang="en-US" sz="1200" kern="1200" baseline="0" dirty="0">
              <a:solidFill>
                <a:schemeClr val="tx1"/>
              </a:solidFill>
              <a:effectLst/>
              <a:ea typeface="+mn-ea"/>
              <a:cs typeface="+mn-cs"/>
            </a:endParaRPr>
          </a:p>
          <a:p>
            <a:r>
              <a:rPr lang="en-US" sz="1200" kern="1200" baseline="0" dirty="0">
                <a:solidFill>
                  <a:schemeClr val="tx1"/>
                </a:solidFill>
                <a:effectLst/>
                <a:ea typeface="+mn-ea"/>
                <a:cs typeface="+mn-cs"/>
              </a:rPr>
              <a:t>Basic and premium performance advisor functionality is also included to provide hardware and software performance monitoring.  License borrowing has also been extended to 180 days.</a:t>
            </a:r>
          </a:p>
          <a:p>
            <a:endParaRPr lang="en-US" sz="1200" kern="1200" baseline="0" dirty="0">
              <a:solidFill>
                <a:schemeClr val="tx1"/>
              </a:solidFill>
              <a:effectLst/>
              <a:ea typeface="+mn-ea"/>
              <a:cs typeface="+mn-cs"/>
            </a:endParaRPr>
          </a:p>
          <a:p>
            <a:pPr marL="0" indent="0">
              <a:buNone/>
            </a:pPr>
            <a:r>
              <a:rPr lang="en-US" sz="1400" b="1" kern="1200" dirty="0">
                <a:solidFill>
                  <a:schemeClr val="tx1"/>
                </a:solidFill>
                <a:effectLst/>
                <a:ea typeface="+mn-ea"/>
                <a:cs typeface="+mn-cs"/>
              </a:rPr>
              <a:t>*****Home Use License*****</a:t>
            </a:r>
          </a:p>
          <a:p>
            <a:pPr marL="0" indent="0">
              <a:buNone/>
            </a:pPr>
            <a:r>
              <a:rPr lang="en-US" sz="1400" b="0" kern="1200" dirty="0">
                <a:solidFill>
                  <a:schemeClr val="tx1"/>
                </a:solidFill>
                <a:effectLst/>
                <a:ea typeface="+mn-ea"/>
                <a:cs typeface="+mn-cs"/>
              </a:rPr>
              <a:t>The following procedure details the steps that a customer would go through to obtain licenses and provide user access to Home Use software.</a:t>
            </a:r>
          </a:p>
          <a:p>
            <a:pPr lvl="0"/>
            <a:r>
              <a:rPr lang="en-US" sz="1400" kern="1200" dirty="0">
                <a:solidFill>
                  <a:schemeClr val="tx1"/>
                </a:solidFill>
                <a:effectLst/>
                <a:ea typeface="+mn-ea"/>
                <a:cs typeface="+mn-cs"/>
              </a:rPr>
              <a:t>Admin creates list of users’ CPU_IDs that want a Home Use license</a:t>
            </a:r>
          </a:p>
          <a:p>
            <a:pPr lvl="0"/>
            <a:r>
              <a:rPr lang="en-US" sz="1400" kern="1200" dirty="0">
                <a:solidFill>
                  <a:schemeClr val="tx1"/>
                </a:solidFill>
                <a:effectLst/>
                <a:ea typeface="+mn-ea"/>
                <a:cs typeface="+mn-cs"/>
              </a:rPr>
              <a:t>Admin uses the web tools to obtain locked license files for each user requesting Home Use License</a:t>
            </a:r>
          </a:p>
          <a:p>
            <a:pPr lvl="0"/>
            <a:r>
              <a:rPr lang="en-US" sz="1400" kern="1200" dirty="0">
                <a:solidFill>
                  <a:schemeClr val="tx1"/>
                </a:solidFill>
                <a:effectLst/>
                <a:ea typeface="+mn-ea"/>
                <a:cs typeface="+mn-cs"/>
              </a:rPr>
              <a:t>Admin creates a thumb drive with a folder containing the codes and the Creo Installation software</a:t>
            </a:r>
          </a:p>
          <a:p>
            <a:pPr lvl="0"/>
            <a:r>
              <a:rPr lang="en-US" sz="1400" kern="1200" dirty="0">
                <a:solidFill>
                  <a:schemeClr val="tx1"/>
                </a:solidFill>
                <a:effectLst/>
                <a:ea typeface="+mn-ea"/>
                <a:cs typeface="+mn-cs"/>
              </a:rPr>
              <a:t>Each user then takes the thumb drive home, installs the software, drags their specific license file into the licensing page of the installation and lets Creo install itself from there</a:t>
            </a:r>
          </a:p>
          <a:p>
            <a:pPr marL="0" indent="0">
              <a:buNone/>
            </a:pPr>
            <a:endParaRPr lang="en-US" baseline="0" dirty="0"/>
          </a:p>
          <a:p>
            <a:pPr marL="0" indent="0">
              <a:buNone/>
            </a:pPr>
            <a:r>
              <a:rPr lang="en-US" b="1" baseline="0" dirty="0"/>
              <a:t>See slide 24 for eLearning details</a:t>
            </a:r>
          </a:p>
        </p:txBody>
      </p:sp>
      <p:sp>
        <p:nvSpPr>
          <p:cNvPr id="4" name="Slide Number Placeholder 3"/>
          <p:cNvSpPr>
            <a:spLocks noGrp="1"/>
          </p:cNvSpPr>
          <p:nvPr>
            <p:ph type="sldNum" sz="quarter" idx="10"/>
          </p:nvPr>
        </p:nvSpPr>
        <p:spPr/>
        <p:txBody>
          <a:bodyPr/>
          <a:lstStyle/>
          <a:p>
            <a:pPr marL="0" marR="0" lvl="0" indent="0" algn="r" defTabSz="1086775" rtl="0" eaLnBrk="1" fontAlgn="auto" latinLnBrk="0" hangingPunct="1">
              <a:lnSpc>
                <a:spcPct val="100000"/>
              </a:lnSpc>
              <a:spcBef>
                <a:spcPts val="0"/>
              </a:spcBef>
              <a:spcAft>
                <a:spcPts val="0"/>
              </a:spcAft>
              <a:buClrTx/>
              <a:buSzTx/>
              <a:buFontTx/>
              <a:buNone/>
              <a:tabLst/>
              <a:defRPr/>
            </a:pPr>
            <a:fld id="{08B0661E-1D89-49C8-AB88-63F074EB25F5}" type="slidenum">
              <a:rPr kumimoji="0" lang="en-US" sz="1200" b="0" i="0" u="none" strike="noStrike" kern="1200" cap="none" spc="0" normalizeH="0" baseline="0" noProof="0" smtClean="0">
                <a:ln>
                  <a:noFill/>
                </a:ln>
                <a:solidFill>
                  <a:srgbClr val="3D4647"/>
                </a:solidFill>
                <a:effectLst/>
                <a:uLnTx/>
                <a:uFillTx/>
                <a:latin typeface="PTCRaleway" panose="020B0503030101060003" pitchFamily="34" charset="0"/>
                <a:ea typeface="+mn-ea"/>
                <a:cs typeface="+mn-cs"/>
              </a:rPr>
              <a:pPr marL="0" marR="0" lvl="0" indent="0" algn="r" defTabSz="1086775"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Tree>
    <p:extLst>
      <p:ext uri="{BB962C8B-B14F-4D97-AF65-F5344CB8AC3E}">
        <p14:creationId xmlns:p14="http://schemas.microsoft.com/office/powerpoint/2010/main" val="209715075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0525" y="677863"/>
            <a:ext cx="6015038" cy="3384550"/>
          </a:xfrm>
        </p:spPr>
      </p:sp>
      <p:sp>
        <p:nvSpPr>
          <p:cNvPr id="3" name="Notes Placeholder 2"/>
          <p:cNvSpPr>
            <a:spLocks noGrp="1"/>
          </p:cNvSpPr>
          <p:nvPr>
            <p:ph type="body" idx="1"/>
          </p:nvPr>
        </p:nvSpPr>
        <p:spPr/>
        <p:txBody>
          <a:bodyPr/>
          <a:lstStyle/>
          <a:p>
            <a:pPr marL="0" indent="0" defTabSz="894832">
              <a:spcBef>
                <a:spcPts val="0"/>
              </a:spcBef>
              <a:buNone/>
              <a:defRPr/>
            </a:pPr>
            <a:r>
              <a:rPr lang="en-GB" sz="1200" dirty="0"/>
              <a:t>Opportunity:</a:t>
            </a:r>
          </a:p>
          <a:p>
            <a:pPr marL="167781" indent="-167781" defTabSz="894832">
              <a:spcBef>
                <a:spcPts val="0"/>
              </a:spcBef>
              <a:defRPr/>
            </a:pPr>
            <a:r>
              <a:rPr lang="en-GB" sz="1200" dirty="0"/>
              <a:t>The target prospect for Creo Simulate requires integral simulation capabilities to mitigate risk of warranty, service, repair and liability </a:t>
            </a:r>
          </a:p>
          <a:p>
            <a:pPr marL="615197" lvl="1" indent="-167781" defTabSz="894832">
              <a:spcBef>
                <a:spcPts val="0"/>
              </a:spcBef>
              <a:buFont typeface="Arial" panose="020B0604020202020204" pitchFamily="34" charset="0"/>
              <a:buChar char="•"/>
              <a:defRPr/>
            </a:pPr>
            <a:r>
              <a:rPr lang="en-GB" sz="1200" dirty="0"/>
              <a:t>If product failure can result in loss or endangerment of life, the company needs analysis to demonstrate safe operation and specify maximum load conditions</a:t>
            </a:r>
          </a:p>
          <a:p>
            <a:pPr marL="0" indent="0" defTabSz="894832">
              <a:spcBef>
                <a:spcPts val="0"/>
              </a:spcBef>
              <a:buNone/>
              <a:defRPr/>
            </a:pPr>
            <a:endParaRPr lang="en-GB" sz="1200" dirty="0"/>
          </a:p>
          <a:p>
            <a:pPr marL="0" indent="0" defTabSz="894832">
              <a:spcBef>
                <a:spcPts val="0"/>
              </a:spcBef>
              <a:buNone/>
              <a:defRPr/>
            </a:pPr>
            <a:r>
              <a:rPr lang="en-GB" sz="1200" dirty="0"/>
              <a:t>Positioning:</a:t>
            </a:r>
          </a:p>
          <a:p>
            <a:pPr marL="167781" indent="-167781" defTabSz="894832">
              <a:spcBef>
                <a:spcPts val="0"/>
              </a:spcBef>
              <a:defRPr/>
            </a:pPr>
            <a:r>
              <a:rPr lang="en-GB" sz="1200" dirty="0"/>
              <a:t>Creo Simulate delivers integral analysis capabilities to support early stage analysis and design optimization </a:t>
            </a:r>
          </a:p>
          <a:p>
            <a:pPr marL="167781" indent="-167781" defTabSz="894832">
              <a:spcBef>
                <a:spcPts val="0"/>
              </a:spcBef>
              <a:defRPr/>
            </a:pPr>
            <a:r>
              <a:rPr lang="en-GB" sz="1200" dirty="0"/>
              <a:t>Without analysis data to support engineering decisions companies risk law suites and legal liability </a:t>
            </a:r>
          </a:p>
          <a:p>
            <a:pPr marL="0" indent="0" defTabSz="894832">
              <a:spcBef>
                <a:spcPts val="0"/>
              </a:spcBef>
              <a:buNone/>
              <a:defRPr/>
            </a:pPr>
            <a:endParaRPr lang="en-GB" sz="1200" dirty="0"/>
          </a:p>
          <a:p>
            <a:pPr marL="167781" indent="-167781" defTabSz="894832">
              <a:spcBef>
                <a:spcPts val="0"/>
              </a:spcBef>
              <a:defRPr/>
            </a:pPr>
            <a:endParaRPr lang="en-GB" sz="1200" dirty="0"/>
          </a:p>
          <a:p>
            <a:pPr marL="0" indent="0" defTabSz="894832">
              <a:spcBef>
                <a:spcPts val="0"/>
              </a:spcBef>
              <a:buNone/>
              <a:defRPr/>
            </a:pPr>
            <a:endParaRPr lang="en-GB" sz="1200" dirty="0"/>
          </a:p>
          <a:p>
            <a:pPr lvl="0"/>
            <a:endParaRPr lang="en-GB" sz="1200" dirty="0"/>
          </a:p>
          <a:p>
            <a:pPr marL="167781" indent="-167781" defTabSz="894832">
              <a:spcBef>
                <a:spcPts val="0"/>
              </a:spcBef>
              <a:defRPr/>
            </a:pPr>
            <a:endParaRPr lang="en-US" sz="1200" dirty="0"/>
          </a:p>
          <a:p>
            <a:pPr lvl="0"/>
            <a:endParaRPr lang="en-US" dirty="0"/>
          </a:p>
        </p:txBody>
      </p:sp>
      <p:sp>
        <p:nvSpPr>
          <p:cNvPr id="4" name="Slide Number Placeholder 3"/>
          <p:cNvSpPr>
            <a:spLocks noGrp="1"/>
          </p:cNvSpPr>
          <p:nvPr>
            <p:ph type="sldNum" sz="quarter" idx="10"/>
          </p:nvPr>
        </p:nvSpPr>
        <p:spPr/>
        <p:txBody>
          <a:bodyPr/>
          <a:lstStyle/>
          <a:p>
            <a:fld id="{4569F304-ADA7-46EF-8A38-C4E5E6F6404B}" type="slidenum">
              <a:rPr lang="en-US" smtClean="0"/>
              <a:t>4</a:t>
            </a:fld>
            <a:endParaRPr lang="en-US"/>
          </a:p>
        </p:txBody>
      </p:sp>
    </p:spTree>
    <p:extLst>
      <p:ext uri="{BB962C8B-B14F-4D97-AF65-F5344CB8AC3E}">
        <p14:creationId xmlns:p14="http://schemas.microsoft.com/office/powerpoint/2010/main" val="149104311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endParaRPr lang="en-US"/>
          </a:p>
        </p:txBody>
      </p:sp>
      <p:sp>
        <p:nvSpPr>
          <p:cNvPr id="4" name="Slide Number Placeholder 3"/>
          <p:cNvSpPr>
            <a:spLocks noGrp="1"/>
          </p:cNvSpPr>
          <p:nvPr>
            <p:ph type="sldNum" sz="quarter" idx="10"/>
          </p:nvPr>
        </p:nvSpPr>
        <p:spPr/>
        <p:txBody>
          <a:bodyPr/>
          <a:lstStyle/>
          <a:p>
            <a:pPr marL="0" marR="0" lvl="0" indent="0" algn="r" defTabSz="1086775" rtl="0" eaLnBrk="1" fontAlgn="auto" latinLnBrk="0" hangingPunct="1">
              <a:lnSpc>
                <a:spcPct val="100000"/>
              </a:lnSpc>
              <a:spcBef>
                <a:spcPts val="0"/>
              </a:spcBef>
              <a:spcAft>
                <a:spcPts val="0"/>
              </a:spcAft>
              <a:buClrTx/>
              <a:buSzTx/>
              <a:buFontTx/>
              <a:buNone/>
              <a:tabLst/>
              <a:defRPr/>
            </a:pPr>
            <a:fld id="{CED61EBF-DF32-46B4-B6D0-EC96803BB03E}" type="slidenum">
              <a:rPr kumimoji="0" lang="en-US" sz="1200" b="0" i="0" u="none" strike="noStrike" kern="1200" cap="none" spc="0" normalizeH="0" baseline="0" noProof="0" smtClean="0">
                <a:ln>
                  <a:noFill/>
                </a:ln>
                <a:solidFill>
                  <a:prstClr val="black"/>
                </a:solidFill>
                <a:effectLst/>
                <a:uLnTx/>
                <a:uFillTx/>
                <a:ea typeface="+mn-ea"/>
                <a:cs typeface="+mn-cs"/>
              </a:rPr>
              <a:pPr marL="0" marR="0" lvl="0" indent="0" algn="r" defTabSz="1086775"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dirty="0">
              <a:ln>
                <a:noFill/>
              </a:ln>
              <a:solidFill>
                <a:prstClr val="black"/>
              </a:solidFill>
              <a:effectLst/>
              <a:uLnTx/>
              <a:uFillTx/>
              <a:ea typeface="+mn-ea"/>
              <a:cs typeface="+mn-cs"/>
            </a:endParaRPr>
          </a:p>
        </p:txBody>
      </p:sp>
    </p:spTree>
    <p:extLst>
      <p:ext uri="{BB962C8B-B14F-4D97-AF65-F5344CB8AC3E}">
        <p14:creationId xmlns:p14="http://schemas.microsoft.com/office/powerpoint/2010/main" val="5909993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0525" y="677863"/>
            <a:ext cx="6015038" cy="3384550"/>
          </a:xfrm>
        </p:spPr>
      </p:sp>
      <p:sp>
        <p:nvSpPr>
          <p:cNvPr id="3" name="Notes Placeholder 2"/>
          <p:cNvSpPr>
            <a:spLocks noGrp="1"/>
          </p:cNvSpPr>
          <p:nvPr>
            <p:ph type="body" idx="1"/>
          </p:nvPr>
        </p:nvSpPr>
        <p:spPr/>
        <p:txBody>
          <a:bodyPr/>
          <a:lstStyle/>
          <a:p>
            <a:pPr marL="0" indent="0" defTabSz="894832">
              <a:spcBef>
                <a:spcPts val="0"/>
              </a:spcBef>
              <a:buNone/>
              <a:defRPr/>
            </a:pPr>
            <a:r>
              <a:rPr lang="en-GB" sz="1200" dirty="0"/>
              <a:t>Opportunity:</a:t>
            </a:r>
          </a:p>
          <a:p>
            <a:pPr marL="167781" indent="-167781" defTabSz="894832">
              <a:spcBef>
                <a:spcPts val="0"/>
              </a:spcBef>
              <a:defRPr/>
            </a:pPr>
            <a:r>
              <a:rPr lang="en-GB" sz="1200" dirty="0"/>
              <a:t>The target prospect for Creo Simulate requires integral simulation capabilities to mitigate risk of warranty, service, repair and liability </a:t>
            </a:r>
          </a:p>
          <a:p>
            <a:pPr marL="615197" lvl="1" indent="-167781" defTabSz="894832">
              <a:spcBef>
                <a:spcPts val="0"/>
              </a:spcBef>
              <a:buFont typeface="Arial" panose="020B0604020202020204" pitchFamily="34" charset="0"/>
              <a:buChar char="•"/>
              <a:defRPr/>
            </a:pPr>
            <a:r>
              <a:rPr lang="en-GB" sz="1200" dirty="0"/>
              <a:t>If product failure can result in loss or endangerment of life, the company needs analysis to demonstrate safe operation and specify maximum load conditions</a:t>
            </a:r>
          </a:p>
          <a:p>
            <a:pPr marL="0" indent="0" defTabSz="894832">
              <a:spcBef>
                <a:spcPts val="0"/>
              </a:spcBef>
              <a:buNone/>
              <a:defRPr/>
            </a:pPr>
            <a:endParaRPr lang="en-GB" sz="1200" dirty="0"/>
          </a:p>
          <a:p>
            <a:pPr marL="0" indent="0" defTabSz="894832">
              <a:spcBef>
                <a:spcPts val="0"/>
              </a:spcBef>
              <a:buNone/>
              <a:defRPr/>
            </a:pPr>
            <a:r>
              <a:rPr lang="en-GB" sz="1200" dirty="0"/>
              <a:t>Positioning:</a:t>
            </a:r>
          </a:p>
          <a:p>
            <a:pPr marL="167781" indent="-167781" defTabSz="894832">
              <a:spcBef>
                <a:spcPts val="0"/>
              </a:spcBef>
              <a:defRPr/>
            </a:pPr>
            <a:r>
              <a:rPr lang="en-GB" sz="1200" dirty="0"/>
              <a:t>Creo Simulate delivers integral analysis capabilities to support early stage analysis and design optimization </a:t>
            </a:r>
          </a:p>
          <a:p>
            <a:pPr marL="167781" indent="-167781" defTabSz="894832">
              <a:spcBef>
                <a:spcPts val="0"/>
              </a:spcBef>
              <a:defRPr/>
            </a:pPr>
            <a:r>
              <a:rPr lang="en-GB" sz="1200" dirty="0"/>
              <a:t>Without analysis data to support engineering decisions companies risk law suites and legal liability </a:t>
            </a:r>
          </a:p>
          <a:p>
            <a:pPr marL="0" indent="0" defTabSz="894832">
              <a:spcBef>
                <a:spcPts val="0"/>
              </a:spcBef>
              <a:buNone/>
              <a:defRPr/>
            </a:pPr>
            <a:endParaRPr lang="en-GB" sz="1200" dirty="0"/>
          </a:p>
          <a:p>
            <a:pPr marL="167781" indent="-167781" defTabSz="894832">
              <a:spcBef>
                <a:spcPts val="0"/>
              </a:spcBef>
              <a:defRPr/>
            </a:pPr>
            <a:endParaRPr lang="en-GB" sz="1200" dirty="0"/>
          </a:p>
          <a:p>
            <a:pPr marL="0" indent="0" defTabSz="894832">
              <a:spcBef>
                <a:spcPts val="0"/>
              </a:spcBef>
              <a:buNone/>
              <a:defRPr/>
            </a:pPr>
            <a:endParaRPr lang="en-GB" sz="1200" dirty="0"/>
          </a:p>
          <a:p>
            <a:pPr lvl="0"/>
            <a:endParaRPr lang="en-GB" sz="1200" dirty="0"/>
          </a:p>
          <a:p>
            <a:pPr marL="167781" indent="-167781" defTabSz="894832">
              <a:spcBef>
                <a:spcPts val="0"/>
              </a:spcBef>
              <a:defRPr/>
            </a:pPr>
            <a:endParaRPr lang="en-US" sz="1200" dirty="0"/>
          </a:p>
          <a:p>
            <a:pPr lvl="0"/>
            <a:endParaRPr lang="en-US" dirty="0"/>
          </a:p>
        </p:txBody>
      </p:sp>
      <p:sp>
        <p:nvSpPr>
          <p:cNvPr id="4" name="Slide Number Placeholder 3"/>
          <p:cNvSpPr>
            <a:spLocks noGrp="1"/>
          </p:cNvSpPr>
          <p:nvPr>
            <p:ph type="sldNum" sz="quarter" idx="10"/>
          </p:nvPr>
        </p:nvSpPr>
        <p:spPr/>
        <p:txBody>
          <a:bodyPr/>
          <a:lstStyle/>
          <a:p>
            <a:fld id="{4569F304-ADA7-46EF-8A38-C4E5E6F6404B}" type="slidenum">
              <a:rPr lang="en-US" smtClean="0"/>
              <a:t>6</a:t>
            </a:fld>
            <a:endParaRPr lang="en-US"/>
          </a:p>
        </p:txBody>
      </p:sp>
    </p:spTree>
    <p:extLst>
      <p:ext uri="{BB962C8B-B14F-4D97-AF65-F5344CB8AC3E}">
        <p14:creationId xmlns:p14="http://schemas.microsoft.com/office/powerpoint/2010/main" val="163591101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US" sz="2100" baseline="0" dirty="0"/>
              <a:t>The functionality matrix was updated 3-1-19 to reference the Simulation Capabilities Brochure.</a:t>
            </a:r>
          </a:p>
          <a:p>
            <a:endParaRPr lang="en-US" sz="2100" baseline="0" dirty="0"/>
          </a:p>
          <a:p>
            <a:r>
              <a:rPr lang="en-US" sz="2100" baseline="0" dirty="0"/>
              <a:t>Lite Simulation capabilities are also included with Creo Parametric. The “lite” capabilities are presented using a simplified wizard UI.  Users follow and step by step approach to define basic loads and constraints and run the analysis.  Lite Simulate capabilities cannot be used to analyze models containing over 200 surfaces.  </a:t>
            </a:r>
          </a:p>
          <a:p>
            <a:endParaRPr lang="en-US" sz="2100" baseline="0" dirty="0"/>
          </a:p>
          <a:p>
            <a:r>
              <a:rPr lang="en-US" sz="2100" baseline="0" dirty="0"/>
              <a:t>Creo Simulation “Elite” capabilities are included with the “old” Creo Essentials Premium – subscription bundle and the newly released Creo Design Essentials (T1), Creo Design Advanced (T2) and Creo Design Advanced Professional (T3) subscription packages.  Note: Creo Design Premium (T4) and Creo Design Premium Professional (T5) include Creo Simulation Extension.  Creo Simulation “Elite” provides a broader subset of Creo Simulate functionality allowing users to perform linear static analysis on parts and assemblies.  Users are able to access the full Simulate UI to define analysis models using solids, beams, shells, masses and springs.  There are no limitation on file size.</a:t>
            </a:r>
            <a:endParaRPr lang="en-US" sz="2400" dirty="0"/>
          </a:p>
          <a:p>
            <a:pPr marL="0" indent="0">
              <a:buNone/>
            </a:pPr>
            <a:endParaRPr lang="en-US" dirty="0"/>
          </a:p>
          <a:p>
            <a:pPr marL="0" indent="0">
              <a:buNone/>
            </a:pPr>
            <a:r>
              <a:rPr lang="en-US" dirty="0"/>
              <a:t>Additional details added 9-16-19 (Per Todd Kraft)</a:t>
            </a:r>
          </a:p>
          <a:p>
            <a:pPr lvl="0"/>
            <a:r>
              <a:rPr lang="en-US" sz="1400" kern="1200" dirty="0" err="1">
                <a:solidFill>
                  <a:schemeClr val="tx1"/>
                </a:solidFill>
                <a:effectLst/>
                <a:ea typeface="+mn-ea"/>
                <a:cs typeface="+mn-cs"/>
              </a:rPr>
              <a:t>Precharge</a:t>
            </a:r>
            <a:r>
              <a:rPr lang="en-US" sz="1400" kern="1200" dirty="0">
                <a:solidFill>
                  <a:schemeClr val="tx1"/>
                </a:solidFill>
                <a:effectLst/>
                <a:ea typeface="+mn-ea"/>
                <a:cs typeface="+mn-cs"/>
              </a:rPr>
              <a:t> in idealized fasteners – Creo Simulation</a:t>
            </a:r>
          </a:p>
          <a:p>
            <a:pPr lvl="0"/>
            <a:r>
              <a:rPr lang="en-US" sz="1400" kern="1200" dirty="0" err="1">
                <a:solidFill>
                  <a:schemeClr val="tx1"/>
                </a:solidFill>
                <a:effectLst/>
                <a:ea typeface="+mn-ea"/>
                <a:cs typeface="+mn-cs"/>
              </a:rPr>
              <a:t>Precharge</a:t>
            </a:r>
            <a:r>
              <a:rPr lang="en-US" sz="1400" kern="1200" dirty="0">
                <a:solidFill>
                  <a:schemeClr val="tx1"/>
                </a:solidFill>
                <a:effectLst/>
                <a:ea typeface="+mn-ea"/>
                <a:cs typeface="+mn-cs"/>
              </a:rPr>
              <a:t> in solid fasteners – Creo Advanced Simulation</a:t>
            </a:r>
          </a:p>
          <a:p>
            <a:pPr lvl="0"/>
            <a:r>
              <a:rPr lang="en-US" sz="1400" u="sng" kern="1200" dirty="0">
                <a:solidFill>
                  <a:schemeClr val="tx1"/>
                </a:solidFill>
                <a:effectLst/>
                <a:ea typeface="+mn-ea"/>
                <a:cs typeface="+mn-cs"/>
              </a:rPr>
              <a:t>Finite or infinite</a:t>
            </a:r>
            <a:r>
              <a:rPr lang="en-US" sz="1400" kern="1200" dirty="0">
                <a:solidFill>
                  <a:schemeClr val="tx1"/>
                </a:solidFill>
                <a:effectLst/>
                <a:ea typeface="+mn-ea"/>
                <a:cs typeface="+mn-cs"/>
              </a:rPr>
              <a:t> friction in contact regions </a:t>
            </a:r>
          </a:p>
          <a:p>
            <a:pPr lvl="1"/>
            <a:r>
              <a:rPr lang="en-US" sz="1400" kern="1200" dirty="0">
                <a:solidFill>
                  <a:schemeClr val="tx1"/>
                </a:solidFill>
                <a:effectLst/>
                <a:ea typeface="+mn-ea"/>
                <a:cs typeface="+mn-cs"/>
              </a:rPr>
              <a:t>FINITE FRICTION= Creo Advanced Simulation</a:t>
            </a:r>
          </a:p>
          <a:p>
            <a:pPr lvl="1"/>
            <a:r>
              <a:rPr lang="en-US" sz="1400" kern="1200" dirty="0">
                <a:solidFill>
                  <a:schemeClr val="tx1"/>
                </a:solidFill>
                <a:effectLst/>
                <a:ea typeface="+mn-ea"/>
                <a:cs typeface="+mn-cs"/>
              </a:rPr>
              <a:t>INFINITE FRICTION – Creo Simulation</a:t>
            </a:r>
          </a:p>
          <a:p>
            <a:pPr lvl="0"/>
            <a:r>
              <a:rPr lang="en-US" sz="1400" kern="1200" dirty="0">
                <a:solidFill>
                  <a:schemeClr val="tx1"/>
                </a:solidFill>
                <a:effectLst/>
                <a:ea typeface="+mn-ea"/>
                <a:cs typeface="+mn-cs"/>
              </a:rPr>
              <a:t>Weighted links – Creo Advanced Simulation</a:t>
            </a:r>
          </a:p>
          <a:p>
            <a:pPr lvl="0"/>
            <a:r>
              <a:rPr lang="en-US" sz="1400" kern="1200" dirty="0">
                <a:solidFill>
                  <a:schemeClr val="tx1"/>
                </a:solidFill>
                <a:effectLst/>
                <a:ea typeface="+mn-ea"/>
                <a:cs typeface="+mn-cs"/>
              </a:rPr>
              <a:t>Rigid links – Creo Simulation</a:t>
            </a:r>
          </a:p>
          <a:p>
            <a:pPr marL="0" indent="0">
              <a:buNone/>
            </a:pPr>
            <a:endParaRPr lang="en-US" dirty="0"/>
          </a:p>
        </p:txBody>
      </p:sp>
      <p:sp>
        <p:nvSpPr>
          <p:cNvPr id="4" name="Slide Number Placeholder 3"/>
          <p:cNvSpPr>
            <a:spLocks noGrp="1"/>
          </p:cNvSpPr>
          <p:nvPr>
            <p:ph type="sldNum" sz="quarter" idx="10"/>
          </p:nvPr>
        </p:nvSpPr>
        <p:spPr/>
        <p:txBody>
          <a:bodyPr/>
          <a:lstStyle/>
          <a:p>
            <a:pPr marL="0" marR="0" lvl="0" indent="0" algn="r" defTabSz="1086775" rtl="0" eaLnBrk="1" fontAlgn="auto" latinLnBrk="0" hangingPunct="1">
              <a:lnSpc>
                <a:spcPct val="100000"/>
              </a:lnSpc>
              <a:spcBef>
                <a:spcPts val="0"/>
              </a:spcBef>
              <a:spcAft>
                <a:spcPts val="0"/>
              </a:spcAft>
              <a:buClrTx/>
              <a:buSzTx/>
              <a:buFontTx/>
              <a:buNone/>
              <a:tabLst/>
              <a:defRPr/>
            </a:pPr>
            <a:fld id="{CED61EBF-DF32-46B4-B6D0-EC96803BB03E}" type="slidenum">
              <a:rPr kumimoji="0" lang="en-US" sz="1200" b="0" i="0" u="none" strike="noStrike" kern="1200" cap="none" spc="0" normalizeH="0" baseline="0" noProof="0" smtClean="0">
                <a:ln>
                  <a:noFill/>
                </a:ln>
                <a:solidFill>
                  <a:prstClr val="black"/>
                </a:solidFill>
                <a:effectLst/>
                <a:uLnTx/>
                <a:uFillTx/>
                <a:ea typeface="+mn-ea"/>
                <a:cs typeface="+mn-cs"/>
              </a:rPr>
              <a:pPr marL="0" marR="0" lvl="0" indent="0" algn="r" defTabSz="1086775"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dirty="0">
              <a:ln>
                <a:noFill/>
              </a:ln>
              <a:solidFill>
                <a:prstClr val="black"/>
              </a:solidFill>
              <a:effectLst/>
              <a:uLnTx/>
              <a:uFillTx/>
              <a:ea typeface="+mn-ea"/>
              <a:cs typeface="+mn-cs"/>
            </a:endParaRPr>
          </a:p>
        </p:txBody>
      </p:sp>
    </p:spTree>
    <p:extLst>
      <p:ext uri="{BB962C8B-B14F-4D97-AF65-F5344CB8AC3E}">
        <p14:creationId xmlns:p14="http://schemas.microsoft.com/office/powerpoint/2010/main" val="179430921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0525" y="677863"/>
            <a:ext cx="6015038" cy="3384550"/>
          </a:xfrm>
        </p:spPr>
      </p:sp>
      <p:sp>
        <p:nvSpPr>
          <p:cNvPr id="3" name="Notes Placeholder 2"/>
          <p:cNvSpPr>
            <a:spLocks noGrp="1"/>
          </p:cNvSpPr>
          <p:nvPr>
            <p:ph type="body" idx="1"/>
          </p:nvPr>
        </p:nvSpPr>
        <p:spPr/>
        <p:txBody>
          <a:bodyPr/>
          <a:lstStyle/>
          <a:p>
            <a:pPr marL="0" indent="0" defTabSz="894832">
              <a:spcBef>
                <a:spcPts val="0"/>
              </a:spcBef>
              <a:buNone/>
              <a:defRPr/>
            </a:pPr>
            <a:endParaRPr lang="en-GB" sz="1200" dirty="0"/>
          </a:p>
        </p:txBody>
      </p:sp>
      <p:sp>
        <p:nvSpPr>
          <p:cNvPr id="4" name="Slide Number Placeholder 3"/>
          <p:cNvSpPr>
            <a:spLocks noGrp="1"/>
          </p:cNvSpPr>
          <p:nvPr>
            <p:ph type="sldNum" sz="quarter" idx="10"/>
          </p:nvPr>
        </p:nvSpPr>
        <p:spPr/>
        <p:txBody>
          <a:bodyPr/>
          <a:lstStyle/>
          <a:p>
            <a:fld id="{4569F304-ADA7-46EF-8A38-C4E5E6F6404B}" type="slidenum">
              <a:rPr lang="en-US" smtClean="0"/>
              <a:t>8</a:t>
            </a:fld>
            <a:endParaRPr lang="en-US"/>
          </a:p>
        </p:txBody>
      </p:sp>
    </p:spTree>
    <p:extLst>
      <p:ext uri="{BB962C8B-B14F-4D97-AF65-F5344CB8AC3E}">
        <p14:creationId xmlns:p14="http://schemas.microsoft.com/office/powerpoint/2010/main" val="262940847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0525" y="677863"/>
            <a:ext cx="6015038" cy="3384550"/>
          </a:xfrm>
        </p:spPr>
      </p:sp>
      <p:sp>
        <p:nvSpPr>
          <p:cNvPr id="3" name="Notes Placeholder 2"/>
          <p:cNvSpPr>
            <a:spLocks noGrp="1"/>
          </p:cNvSpPr>
          <p:nvPr>
            <p:ph type="body" idx="1"/>
          </p:nvPr>
        </p:nvSpPr>
        <p:spPr/>
        <p:txBody>
          <a:bodyPr/>
          <a:lstStyle/>
          <a:p>
            <a:pPr marL="0" lvl="1" indent="0" defTabSz="914377" fontAlgn="base">
              <a:lnSpc>
                <a:spcPct val="95000"/>
              </a:lnSpc>
              <a:spcBef>
                <a:spcPct val="25000"/>
              </a:spcBef>
              <a:spcAft>
                <a:spcPct val="0"/>
              </a:spcAft>
              <a:buNone/>
              <a:defRPr/>
            </a:pPr>
            <a:r>
              <a:rPr lang="en-US" kern="0" dirty="0">
                <a:solidFill>
                  <a:schemeClr val="tx1">
                    <a:lumMod val="85000"/>
                    <a:lumOff val="15000"/>
                  </a:schemeClr>
                </a:solidFill>
                <a:cs typeface="Arial"/>
                <a:sym typeface="Arial"/>
              </a:rPr>
              <a:t>CSL Fluid Flow Highlights</a:t>
            </a:r>
          </a:p>
          <a:p>
            <a:pPr marL="228600" lvl="0" indent="-228600" defTabSz="914377" fontAlgn="base">
              <a:lnSpc>
                <a:spcPct val="95000"/>
              </a:lnSpc>
              <a:spcBef>
                <a:spcPct val="25000"/>
              </a:spcBef>
              <a:spcAft>
                <a:spcPct val="0"/>
              </a:spcAft>
              <a:defRPr/>
            </a:pPr>
            <a:r>
              <a:rPr lang="en-US" dirty="0"/>
              <a:t>Fluid Domain Creation</a:t>
            </a:r>
          </a:p>
          <a:p>
            <a:pPr marL="228600" lvl="0" indent="-228600" defTabSz="914377" fontAlgn="base">
              <a:lnSpc>
                <a:spcPct val="95000"/>
              </a:lnSpc>
              <a:spcBef>
                <a:spcPct val="25000"/>
              </a:spcBef>
              <a:spcAft>
                <a:spcPct val="0"/>
              </a:spcAft>
              <a:defRPr/>
            </a:pPr>
            <a:r>
              <a:rPr lang="en-US" dirty="0"/>
              <a:t>External Flow</a:t>
            </a:r>
          </a:p>
          <a:p>
            <a:pPr marL="228600" lvl="0" indent="-228600" defTabSz="914377" fontAlgn="base">
              <a:lnSpc>
                <a:spcPct val="95000"/>
              </a:lnSpc>
              <a:spcBef>
                <a:spcPct val="25000"/>
              </a:spcBef>
              <a:spcAft>
                <a:spcPct val="0"/>
              </a:spcAft>
              <a:defRPr/>
            </a:pPr>
            <a:r>
              <a:rPr lang="en-US" dirty="0"/>
              <a:t>Internal Flow</a:t>
            </a:r>
          </a:p>
          <a:p>
            <a:pPr marL="228600" lvl="0" indent="-228600" defTabSz="914377" fontAlgn="base">
              <a:lnSpc>
                <a:spcPct val="95000"/>
              </a:lnSpc>
              <a:spcBef>
                <a:spcPct val="25000"/>
              </a:spcBef>
              <a:spcAft>
                <a:spcPct val="0"/>
              </a:spcAft>
              <a:defRPr/>
            </a:pPr>
            <a:r>
              <a:rPr lang="en-US" dirty="0"/>
              <a:t>Results Display and Interactive Probes</a:t>
            </a:r>
          </a:p>
          <a:p>
            <a:pPr marL="228600" lvl="0" indent="-228600" defTabSz="914377" fontAlgn="base">
              <a:lnSpc>
                <a:spcPct val="95000"/>
              </a:lnSpc>
              <a:spcBef>
                <a:spcPct val="25000"/>
              </a:spcBef>
              <a:spcAft>
                <a:spcPct val="0"/>
              </a:spcAft>
              <a:defRPr/>
            </a:pPr>
            <a:r>
              <a:rPr lang="en-US" dirty="0"/>
              <a:t>Fluid Flow and Temperature Simulations</a:t>
            </a:r>
          </a:p>
          <a:p>
            <a:pPr marL="228600" lvl="0" indent="-228600" defTabSz="914377" fontAlgn="base">
              <a:lnSpc>
                <a:spcPct val="95000"/>
              </a:lnSpc>
              <a:spcBef>
                <a:spcPct val="25000"/>
              </a:spcBef>
              <a:spcAft>
                <a:spcPct val="0"/>
              </a:spcAft>
              <a:defRPr/>
            </a:pPr>
            <a:r>
              <a:rPr lang="en-US" dirty="0"/>
              <a:t>Streamlines, cut planes, particles and Direction Field</a:t>
            </a:r>
          </a:p>
          <a:p>
            <a:pPr marL="0" indent="0" defTabSz="894832">
              <a:spcBef>
                <a:spcPts val="0"/>
              </a:spcBef>
              <a:buNone/>
              <a:defRPr/>
            </a:pPr>
            <a:endParaRPr lang="en-GB" sz="1200" dirty="0"/>
          </a:p>
        </p:txBody>
      </p:sp>
      <p:sp>
        <p:nvSpPr>
          <p:cNvPr id="4" name="Slide Number Placeholder 3"/>
          <p:cNvSpPr>
            <a:spLocks noGrp="1"/>
          </p:cNvSpPr>
          <p:nvPr>
            <p:ph type="sldNum" sz="quarter" idx="10"/>
          </p:nvPr>
        </p:nvSpPr>
        <p:spPr/>
        <p:txBody>
          <a:bodyPr/>
          <a:lstStyle/>
          <a:p>
            <a:pPr marL="0" marR="0" lvl="0" indent="0" algn="r" defTabSz="1086775" rtl="0" eaLnBrk="1" fontAlgn="auto" latinLnBrk="0" hangingPunct="1">
              <a:lnSpc>
                <a:spcPct val="100000"/>
              </a:lnSpc>
              <a:spcBef>
                <a:spcPts val="0"/>
              </a:spcBef>
              <a:spcAft>
                <a:spcPts val="0"/>
              </a:spcAft>
              <a:buClrTx/>
              <a:buSzTx/>
              <a:buFontTx/>
              <a:buNone/>
              <a:tabLst/>
              <a:defRPr/>
            </a:pPr>
            <a:fld id="{4569F304-ADA7-46EF-8A38-C4E5E6F6404B}" type="slidenum">
              <a:rPr kumimoji="0" lang="en-US" sz="1200" b="0" i="0" u="none" strike="noStrike" kern="1200" cap="none" spc="0" normalizeH="0" baseline="0" noProof="0" smtClean="0">
                <a:ln>
                  <a:noFill/>
                </a:ln>
                <a:solidFill>
                  <a:srgbClr val="3D4647"/>
                </a:solidFill>
                <a:effectLst/>
                <a:uLnTx/>
                <a:uFillTx/>
                <a:ea typeface="+mn-ea"/>
                <a:cs typeface="+mn-cs"/>
              </a:rPr>
              <a:pPr marL="0" marR="0" lvl="0" indent="0" algn="r" defTabSz="1086775"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dirty="0">
              <a:ln>
                <a:noFill/>
              </a:ln>
              <a:solidFill>
                <a:srgbClr val="3D4647"/>
              </a:solidFill>
              <a:effectLst/>
              <a:uLnTx/>
              <a:uFillTx/>
              <a:ea typeface="+mn-ea"/>
              <a:cs typeface="+mn-cs"/>
            </a:endParaRPr>
          </a:p>
        </p:txBody>
      </p:sp>
    </p:spTree>
    <p:extLst>
      <p:ext uri="{BB962C8B-B14F-4D97-AF65-F5344CB8AC3E}">
        <p14:creationId xmlns:p14="http://schemas.microsoft.com/office/powerpoint/2010/main" val="60672106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1.xml"/><Relationship Id="rId5" Type="http://schemas.openxmlformats.org/officeDocument/2006/relationships/image" Target="../media/image12.svg"/><Relationship Id="rId4" Type="http://schemas.openxmlformats.org/officeDocument/2006/relationships/image" Target="../media/image11.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7.emf"/><Relationship Id="rId2" Type="http://schemas.openxmlformats.org/officeDocument/2006/relationships/image" Target="../media/image16.png"/><Relationship Id="rId1" Type="http://schemas.openxmlformats.org/officeDocument/2006/relationships/slideMaster" Target="../slideMasters/slideMaster1.xml"/><Relationship Id="rId6" Type="http://schemas.openxmlformats.org/officeDocument/2006/relationships/image" Target="../media/image6.png"/><Relationship Id="rId5" Type="http://schemas.openxmlformats.org/officeDocument/2006/relationships/image" Target="../media/image2.svg"/><Relationship Id="rId4" Type="http://schemas.openxmlformats.org/officeDocument/2006/relationships/image" Target="../media/image1.png"/></Relationships>
</file>

<file path=ppt/slideLayouts/_rels/slideLayout11.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image" Target="../media/image17.emf"/><Relationship Id="rId7" Type="http://schemas.openxmlformats.org/officeDocument/2006/relationships/image" Target="../media/image2.svg"/><Relationship Id="rId2" Type="http://schemas.openxmlformats.org/officeDocument/2006/relationships/image" Target="../media/image16.png"/><Relationship Id="rId1" Type="http://schemas.openxmlformats.org/officeDocument/2006/relationships/slideMaster" Target="../slideMasters/slideMaster1.xml"/><Relationship Id="rId6" Type="http://schemas.openxmlformats.org/officeDocument/2006/relationships/image" Target="../media/image1.png"/><Relationship Id="rId5" Type="http://schemas.openxmlformats.org/officeDocument/2006/relationships/image" Target="../media/image19.svg"/><Relationship Id="rId4" Type="http://schemas.openxmlformats.org/officeDocument/2006/relationships/image" Target="../media/image18.png"/></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7.emf"/><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tags" Target="../tags/tag3.xml"/><Relationship Id="rId5" Type="http://schemas.openxmlformats.org/officeDocument/2006/relationships/image" Target="../media/image3.emf"/><Relationship Id="rId4" Type="http://schemas.openxmlformats.org/officeDocument/2006/relationships/oleObject" Target="../embeddings/oleObject2.bin"/></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tags" Target="../tags/tag5.xml"/><Relationship Id="rId5" Type="http://schemas.openxmlformats.org/officeDocument/2006/relationships/image" Target="../media/image3.emf"/><Relationship Id="rId4" Type="http://schemas.openxmlformats.org/officeDocument/2006/relationships/oleObject" Target="../embeddings/oleObject3.bin"/></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tags" Target="../tags/tag7.xml"/><Relationship Id="rId5" Type="http://schemas.openxmlformats.org/officeDocument/2006/relationships/image" Target="../media/image3.emf"/><Relationship Id="rId4" Type="http://schemas.openxmlformats.org/officeDocument/2006/relationships/oleObject" Target="../embeddings/oleObject4.bin"/></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10.svg"/><Relationship Id="rId7" Type="http://schemas.openxmlformats.org/officeDocument/2006/relationships/image" Target="../media/image12.svg"/><Relationship Id="rId2" Type="http://schemas.openxmlformats.org/officeDocument/2006/relationships/image" Target="../media/image9.png"/><Relationship Id="rId1" Type="http://schemas.openxmlformats.org/officeDocument/2006/relationships/slideMaster" Target="../slideMasters/slideMaster1.xml"/><Relationship Id="rId6" Type="http://schemas.openxmlformats.org/officeDocument/2006/relationships/image" Target="../media/image11.png"/><Relationship Id="rId5" Type="http://schemas.microsoft.com/office/2007/relationships/hdphoto" Target="../media/hdphoto1.wdp"/><Relationship Id="rId4" Type="http://schemas.openxmlformats.org/officeDocument/2006/relationships/image" Target="../media/image13.pn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8" Type="http://schemas.openxmlformats.org/officeDocument/2006/relationships/hyperlink" Target="https://facebook.com/ptc.inc" TargetMode="External"/><Relationship Id="rId13" Type="http://schemas.openxmlformats.org/officeDocument/2006/relationships/image" Target="../media/image27.png"/><Relationship Id="rId3" Type="http://schemas.openxmlformats.org/officeDocument/2006/relationships/image" Target="../media/image20.png"/><Relationship Id="rId7" Type="http://schemas.openxmlformats.org/officeDocument/2006/relationships/image" Target="../media/image24.emf"/><Relationship Id="rId12" Type="http://schemas.openxmlformats.org/officeDocument/2006/relationships/hyperlink" Target="https://www.linkedin.com/company/ptc/" TargetMode="External"/><Relationship Id="rId17" Type="http://schemas.openxmlformats.org/officeDocument/2006/relationships/image" Target="../media/image30.svg"/><Relationship Id="rId2" Type="http://schemas.openxmlformats.org/officeDocument/2006/relationships/hyperlink" Target="https://www.ptc.com/" TargetMode="External"/><Relationship Id="rId16" Type="http://schemas.openxmlformats.org/officeDocument/2006/relationships/image" Target="../media/image29.png"/><Relationship Id="rId1" Type="http://schemas.openxmlformats.org/officeDocument/2006/relationships/slideMaster" Target="../slideMasters/slideMaster1.xml"/><Relationship Id="rId6" Type="http://schemas.openxmlformats.org/officeDocument/2006/relationships/image" Target="../media/image23.png"/><Relationship Id="rId11" Type="http://schemas.openxmlformats.org/officeDocument/2006/relationships/image" Target="../media/image26.png"/><Relationship Id="rId5" Type="http://schemas.openxmlformats.org/officeDocument/2006/relationships/image" Target="../media/image22.png"/><Relationship Id="rId15" Type="http://schemas.openxmlformats.org/officeDocument/2006/relationships/image" Target="../media/image28.png"/><Relationship Id="rId10" Type="http://schemas.openxmlformats.org/officeDocument/2006/relationships/hyperlink" Target="https://twitter.com/ptc" TargetMode="External"/><Relationship Id="rId4" Type="http://schemas.openxmlformats.org/officeDocument/2006/relationships/image" Target="../media/image21.svg"/><Relationship Id="rId9" Type="http://schemas.openxmlformats.org/officeDocument/2006/relationships/image" Target="../media/image25.png"/><Relationship Id="rId14" Type="http://schemas.openxmlformats.org/officeDocument/2006/relationships/hyperlink" Target="https://youtube.com/ptc" TargetMode="Externa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2.xml"/><Relationship Id="rId6" Type="http://schemas.openxmlformats.org/officeDocument/2006/relationships/image" Target="../media/image12.svg"/><Relationship Id="rId5" Type="http://schemas.openxmlformats.org/officeDocument/2006/relationships/image" Target="../media/image11.png"/><Relationship Id="rId4" Type="http://schemas.openxmlformats.org/officeDocument/2006/relationships/image" Target="../media/image33.jpg"/></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10.svg"/><Relationship Id="rId2" Type="http://schemas.openxmlformats.org/officeDocument/2006/relationships/image" Target="../media/image9.png"/><Relationship Id="rId1" Type="http://schemas.openxmlformats.org/officeDocument/2006/relationships/slideMaster" Target="../slideMasters/slideMaster2.xml"/><Relationship Id="rId6" Type="http://schemas.openxmlformats.org/officeDocument/2006/relationships/image" Target="../media/image12.svg"/><Relationship Id="rId5" Type="http://schemas.openxmlformats.org/officeDocument/2006/relationships/image" Target="../media/image11.png"/><Relationship Id="rId4" Type="http://schemas.openxmlformats.org/officeDocument/2006/relationships/image" Target="../media/image34.jp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17.emf"/><Relationship Id="rId2" Type="http://schemas.openxmlformats.org/officeDocument/2006/relationships/image" Target="../media/image16.png"/><Relationship Id="rId1" Type="http://schemas.openxmlformats.org/officeDocument/2006/relationships/slideMaster" Target="../slideMasters/slideMaster2.xml"/><Relationship Id="rId6" Type="http://schemas.openxmlformats.org/officeDocument/2006/relationships/image" Target="../media/image6.png"/><Relationship Id="rId5" Type="http://schemas.openxmlformats.org/officeDocument/2006/relationships/image" Target="../media/image2.svg"/><Relationship Id="rId4" Type="http://schemas.openxmlformats.org/officeDocument/2006/relationships/image" Target="../media/image1.png"/></Relationships>
</file>

<file path=ppt/slideLayouts/_rels/slideLayout39.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image" Target="../media/image17.emf"/><Relationship Id="rId7" Type="http://schemas.openxmlformats.org/officeDocument/2006/relationships/image" Target="../media/image2.svg"/><Relationship Id="rId2" Type="http://schemas.openxmlformats.org/officeDocument/2006/relationships/image" Target="../media/image16.png"/><Relationship Id="rId1" Type="http://schemas.openxmlformats.org/officeDocument/2006/relationships/slideMaster" Target="../slideMasters/slideMaster2.xml"/><Relationship Id="rId6" Type="http://schemas.openxmlformats.org/officeDocument/2006/relationships/image" Target="../media/image1.png"/><Relationship Id="rId5" Type="http://schemas.openxmlformats.org/officeDocument/2006/relationships/image" Target="../media/image19.svg"/><Relationship Id="rId4" Type="http://schemas.openxmlformats.org/officeDocument/2006/relationships/image" Target="../media/image18.pn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17.emf"/><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2.xml"/><Relationship Id="rId1" Type="http://schemas.openxmlformats.org/officeDocument/2006/relationships/tags" Target="../tags/tag11.xml"/><Relationship Id="rId5" Type="http://schemas.openxmlformats.org/officeDocument/2006/relationships/image" Target="../media/image3.emf"/><Relationship Id="rId4" Type="http://schemas.openxmlformats.org/officeDocument/2006/relationships/oleObject" Target="../embeddings/oleObject6.bin"/></Relationships>
</file>

<file path=ppt/slideLayouts/_rels/slideLayout4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4.xml"/><Relationship Id="rId1" Type="http://schemas.openxmlformats.org/officeDocument/2006/relationships/tags" Target="../tags/tag13.xml"/><Relationship Id="rId5" Type="http://schemas.openxmlformats.org/officeDocument/2006/relationships/image" Target="../media/image3.emf"/><Relationship Id="rId4" Type="http://schemas.openxmlformats.org/officeDocument/2006/relationships/oleObject" Target="../embeddings/oleObject7.bin"/></Relationships>
</file>

<file path=ppt/slideLayouts/_rels/slideLayout4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6.xml"/><Relationship Id="rId1" Type="http://schemas.openxmlformats.org/officeDocument/2006/relationships/tags" Target="../tags/tag15.xml"/><Relationship Id="rId5" Type="http://schemas.openxmlformats.org/officeDocument/2006/relationships/image" Target="../media/image3.emf"/><Relationship Id="rId4" Type="http://schemas.openxmlformats.org/officeDocument/2006/relationships/oleObject" Target="../embeddings/oleObject8.bin"/></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8" Type="http://schemas.openxmlformats.org/officeDocument/2006/relationships/hyperlink" Target="https://facebook.com/ptc.inc" TargetMode="External"/><Relationship Id="rId13" Type="http://schemas.openxmlformats.org/officeDocument/2006/relationships/image" Target="../media/image27.png"/><Relationship Id="rId3" Type="http://schemas.openxmlformats.org/officeDocument/2006/relationships/image" Target="../media/image20.png"/><Relationship Id="rId7" Type="http://schemas.openxmlformats.org/officeDocument/2006/relationships/image" Target="../media/image24.emf"/><Relationship Id="rId12" Type="http://schemas.openxmlformats.org/officeDocument/2006/relationships/hyperlink" Target="https://www.linkedin.com/company/ptc/" TargetMode="External"/><Relationship Id="rId17" Type="http://schemas.openxmlformats.org/officeDocument/2006/relationships/image" Target="../media/image30.svg"/><Relationship Id="rId2" Type="http://schemas.openxmlformats.org/officeDocument/2006/relationships/hyperlink" Target="https://www.ptc.com/" TargetMode="External"/><Relationship Id="rId16" Type="http://schemas.openxmlformats.org/officeDocument/2006/relationships/image" Target="../media/image29.png"/><Relationship Id="rId1" Type="http://schemas.openxmlformats.org/officeDocument/2006/relationships/slideMaster" Target="../slideMasters/slideMaster2.xml"/><Relationship Id="rId6" Type="http://schemas.openxmlformats.org/officeDocument/2006/relationships/image" Target="../media/image23.png"/><Relationship Id="rId11" Type="http://schemas.openxmlformats.org/officeDocument/2006/relationships/image" Target="../media/image26.png"/><Relationship Id="rId5" Type="http://schemas.openxmlformats.org/officeDocument/2006/relationships/image" Target="../media/image22.png"/><Relationship Id="rId15" Type="http://schemas.openxmlformats.org/officeDocument/2006/relationships/image" Target="../media/image28.png"/><Relationship Id="rId10" Type="http://schemas.openxmlformats.org/officeDocument/2006/relationships/hyperlink" Target="https://twitter.com/ptc" TargetMode="External"/><Relationship Id="rId4" Type="http://schemas.openxmlformats.org/officeDocument/2006/relationships/image" Target="../media/image21.svg"/><Relationship Id="rId9" Type="http://schemas.openxmlformats.org/officeDocument/2006/relationships/image" Target="../media/image25.png"/><Relationship Id="rId14" Type="http://schemas.openxmlformats.org/officeDocument/2006/relationships/hyperlink" Target="https://youtube.com/ptc" TargetMode="Externa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cSld name="Cover">
    <p:bg>
      <p:bgRef idx="1001">
        <a:schemeClr val="bg1"/>
      </p:bgRef>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37373" y="5059333"/>
            <a:ext cx="4754880" cy="342017"/>
          </a:xfrm>
        </p:spPr>
        <p:txBody>
          <a:bodyPr vert="horz" wrap="square" lIns="0" tIns="9525" rIns="0" bIns="0" rtlCol="0">
            <a:spAutoFit/>
          </a:bodyPr>
          <a:lstStyle>
            <a:lvl1pPr marL="0" indent="0">
              <a:buNone/>
              <a:defRPr lang="en-US" sz="2400" b="1" kern="1200" spc="-4" dirty="0">
                <a:solidFill>
                  <a:schemeClr val="tx1"/>
                </a:solidFill>
                <a:latin typeface="+mj-lt"/>
                <a:ea typeface="+mn-ea"/>
                <a:cs typeface="PTCRaleway ExtraBold"/>
              </a:defRPr>
            </a:lvl1pPr>
          </a:lstStyle>
          <a:p>
            <a:pPr marL="9525" lvl="0">
              <a:spcBef>
                <a:spcPts val="75"/>
              </a:spcBef>
            </a:pPr>
            <a:r>
              <a:rPr lang="en-US"/>
              <a:t>Presenter’s Name</a:t>
            </a:r>
          </a:p>
        </p:txBody>
      </p:sp>
      <p:sp>
        <p:nvSpPr>
          <p:cNvPr id="8" name="Text Placeholder 7"/>
          <p:cNvSpPr>
            <a:spLocks noGrp="1"/>
          </p:cNvSpPr>
          <p:nvPr>
            <p:ph type="body" sz="quarter" idx="10" hasCustomPrompt="1"/>
          </p:nvPr>
        </p:nvSpPr>
        <p:spPr bwMode="gray">
          <a:xfrm>
            <a:off x="457383" y="5396933"/>
            <a:ext cx="4572000" cy="221599"/>
          </a:xfrm>
        </p:spPr>
        <p:txBody>
          <a:bodyPr>
            <a:noAutofit/>
          </a:bodyPr>
          <a:lstStyle>
            <a:lvl1pPr marL="0" indent="0" algn="l">
              <a:spcBef>
                <a:spcPts val="0"/>
              </a:spcBef>
              <a:buNone/>
              <a:defRPr lang="en-US" sz="1700" i="1" kern="1200" spc="8" dirty="0">
                <a:solidFill>
                  <a:schemeClr val="tx1"/>
                </a:solidFill>
                <a:latin typeface="+mj-lt"/>
                <a:ea typeface="+mn-ea"/>
                <a:cs typeface="PTCRaleway"/>
              </a:defRPr>
            </a:lvl1pPr>
            <a:lvl2pPr marL="455613" indent="0">
              <a:buNone/>
              <a:defRPr>
                <a:solidFill>
                  <a:schemeClr val="bg1"/>
                </a:solidFill>
              </a:defRPr>
            </a:lvl2pPr>
            <a:lvl3pPr marL="914400" indent="0">
              <a:buNone/>
              <a:defRPr>
                <a:solidFill>
                  <a:schemeClr val="bg1"/>
                </a:solidFill>
              </a:defRPr>
            </a:lvl3pPr>
            <a:lvl4pPr marL="1371600" indent="0">
              <a:buNone/>
              <a:defRPr>
                <a:solidFill>
                  <a:schemeClr val="bg1"/>
                </a:solidFill>
              </a:defRPr>
            </a:lvl4pPr>
            <a:lvl5pPr marL="1828800" indent="0">
              <a:buNone/>
              <a:defRPr>
                <a:solidFill>
                  <a:schemeClr val="bg1"/>
                </a:solidFill>
              </a:defRPr>
            </a:lvl5pPr>
          </a:lstStyle>
          <a:p>
            <a:pPr lvl="0"/>
            <a:r>
              <a:rPr lang="en-US"/>
              <a:t>Presenter’s Title</a:t>
            </a:r>
          </a:p>
        </p:txBody>
      </p:sp>
      <p:sp>
        <p:nvSpPr>
          <p:cNvPr id="10" name="Text Placeholder 9"/>
          <p:cNvSpPr>
            <a:spLocks noGrp="1"/>
          </p:cNvSpPr>
          <p:nvPr>
            <p:ph type="body" sz="quarter" idx="12" hasCustomPrompt="1"/>
          </p:nvPr>
        </p:nvSpPr>
        <p:spPr bwMode="gray">
          <a:xfrm>
            <a:off x="483723" y="6399289"/>
            <a:ext cx="3749040" cy="196592"/>
          </a:xfrm>
        </p:spPr>
        <p:txBody>
          <a:bodyPr vert="horz" wrap="square" lIns="0" tIns="9525" rIns="0" bIns="0" rtlCol="0" anchor="ctr" anchorCtr="0">
            <a:spAutoFit/>
          </a:bodyPr>
          <a:lstStyle>
            <a:lvl1pPr marL="0" indent="0">
              <a:buFontTx/>
              <a:buNone/>
              <a:defRPr lang="en-US" sz="1350" spc="8" dirty="0">
                <a:solidFill>
                  <a:schemeClr val="tx2">
                    <a:lumMod val="50000"/>
                  </a:schemeClr>
                </a:solidFill>
                <a:latin typeface="+mj-lt"/>
                <a:cs typeface="PTCRaleway"/>
              </a:defRPr>
            </a:lvl1pPr>
          </a:lstStyle>
          <a:p>
            <a:pPr marL="9525" lvl="0">
              <a:spcBef>
                <a:spcPts val="75"/>
              </a:spcBef>
            </a:pPr>
            <a:r>
              <a:rPr lang="en-US" dirty="0"/>
              <a:t>Add Date</a:t>
            </a:r>
          </a:p>
        </p:txBody>
      </p:sp>
      <p:sp>
        <p:nvSpPr>
          <p:cNvPr id="2" name="Title 1"/>
          <p:cNvSpPr>
            <a:spLocks noGrp="1"/>
          </p:cNvSpPr>
          <p:nvPr>
            <p:ph type="ctrTitle" hasCustomPrompt="1"/>
          </p:nvPr>
        </p:nvSpPr>
        <p:spPr bwMode="ltGray">
          <a:xfrm>
            <a:off x="427702" y="2708808"/>
            <a:ext cx="4409826" cy="1065933"/>
          </a:xfrm>
        </p:spPr>
        <p:txBody>
          <a:bodyPr vert="horz" wrap="square" lIns="0" tIns="9525" rIns="0" bIns="0" rtlCol="0" anchor="ctr" anchorCtr="0">
            <a:spAutoFit/>
          </a:bodyPr>
          <a:lstStyle>
            <a:lvl1pPr>
              <a:defRPr lang="en-US" sz="4200" b="1" dirty="0">
                <a:solidFill>
                  <a:schemeClr val="tx1"/>
                </a:solidFill>
              </a:defRPr>
            </a:lvl1pPr>
          </a:lstStyle>
          <a:p>
            <a:pPr marL="9525">
              <a:lnSpc>
                <a:spcPct val="78000"/>
              </a:lnSpc>
              <a:spcBef>
                <a:spcPts val="75"/>
              </a:spcBef>
              <a:tabLst>
                <a:tab pos="2245519" algn="l"/>
              </a:tabLst>
            </a:pPr>
            <a:r>
              <a:rPr lang="en-US" sz="4400" b="1" dirty="0"/>
              <a:t>PRESENTATION TITLE</a:t>
            </a:r>
          </a:p>
        </p:txBody>
      </p:sp>
      <p:pic>
        <p:nvPicPr>
          <p:cNvPr id="12" name="Graphic 11">
            <a:extLst>
              <a:ext uri="{FF2B5EF4-FFF2-40B4-BE49-F238E27FC236}">
                <a16:creationId xmlns:a16="http://schemas.microsoft.com/office/drawing/2014/main" id="{686A903A-4982-424F-B3B0-9B8CF40D994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040" y="6017774"/>
            <a:ext cx="2892560" cy="215304"/>
          </a:xfrm>
          <a:prstGeom prst="rect">
            <a:avLst/>
          </a:prstGeom>
        </p:spPr>
      </p:pic>
      <p:grpSp>
        <p:nvGrpSpPr>
          <p:cNvPr id="4" name="Group 3">
            <a:extLst>
              <a:ext uri="{FF2B5EF4-FFF2-40B4-BE49-F238E27FC236}">
                <a16:creationId xmlns:a16="http://schemas.microsoft.com/office/drawing/2014/main" id="{A9112476-DA2C-46A6-9213-5CA80A53F74F}"/>
              </a:ext>
            </a:extLst>
          </p:cNvPr>
          <p:cNvGrpSpPr/>
          <p:nvPr userDrawn="1"/>
        </p:nvGrpSpPr>
        <p:grpSpPr>
          <a:xfrm>
            <a:off x="4974342" y="0"/>
            <a:ext cx="7217659" cy="6867927"/>
            <a:chOff x="4974342" y="0"/>
            <a:chExt cx="7217659" cy="6867927"/>
          </a:xfrm>
        </p:grpSpPr>
        <p:sp>
          <p:nvSpPr>
            <p:cNvPr id="15" name="Freeform: Shape 17">
              <a:extLst>
                <a:ext uri="{FF2B5EF4-FFF2-40B4-BE49-F238E27FC236}">
                  <a16:creationId xmlns:a16="http://schemas.microsoft.com/office/drawing/2014/main" id="{03572900-C8B4-4FAF-9AE0-E3560497EC94}"/>
                </a:ext>
              </a:extLst>
            </p:cNvPr>
            <p:cNvSpPr/>
            <p:nvPr/>
          </p:nvSpPr>
          <p:spPr>
            <a:xfrm>
              <a:off x="4974342" y="0"/>
              <a:ext cx="4554128" cy="6139965"/>
            </a:xfrm>
            <a:custGeom>
              <a:avLst/>
              <a:gdLst>
                <a:gd name="connsiteX0" fmla="*/ 1298953 w 4554128"/>
                <a:gd name="connsiteY0" fmla="*/ 0 h 6139965"/>
                <a:gd name="connsiteX1" fmla="*/ 4554128 w 4554128"/>
                <a:gd name="connsiteY1" fmla="*/ 0 h 6139965"/>
                <a:gd name="connsiteX2" fmla="*/ 2231403 w 4554128"/>
                <a:gd name="connsiteY2" fmla="*/ 6139965 h 6139965"/>
                <a:gd name="connsiteX3" fmla="*/ 0 w 4554128"/>
                <a:gd name="connsiteY3" fmla="*/ 3393340 h 6139965"/>
                <a:gd name="connsiteX4" fmla="*/ 1298953 w 4554128"/>
                <a:gd name="connsiteY4" fmla="*/ 0 h 61399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54128" h="6139965">
                  <a:moveTo>
                    <a:pt x="1298953" y="0"/>
                  </a:moveTo>
                  <a:lnTo>
                    <a:pt x="4554128" y="0"/>
                  </a:lnTo>
                  <a:lnTo>
                    <a:pt x="2231403" y="6139965"/>
                  </a:lnTo>
                  <a:lnTo>
                    <a:pt x="0" y="3393340"/>
                  </a:lnTo>
                  <a:lnTo>
                    <a:pt x="1298953" y="0"/>
                  </a:lnTo>
                  <a:close/>
                </a:path>
              </a:pathLst>
            </a:custGeom>
            <a:solidFill>
              <a:srgbClr val="3D4647"/>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Bef>
                  <a:spcPts val="800"/>
                </a:spcBef>
              </a:pPr>
              <a:endParaRPr lang="en-US">
                <a:solidFill>
                  <a:schemeClr val="bg1"/>
                </a:solidFill>
              </a:endParaRPr>
            </a:p>
          </p:txBody>
        </p:sp>
        <p:sp>
          <p:nvSpPr>
            <p:cNvPr id="16" name="Freeform: Shape 23">
              <a:extLst>
                <a:ext uri="{FF2B5EF4-FFF2-40B4-BE49-F238E27FC236}">
                  <a16:creationId xmlns:a16="http://schemas.microsoft.com/office/drawing/2014/main" id="{EAC1E2BB-6C9C-4678-9B6B-89CCFC6E6ECD}"/>
                </a:ext>
              </a:extLst>
            </p:cNvPr>
            <p:cNvSpPr/>
            <p:nvPr/>
          </p:nvSpPr>
          <p:spPr>
            <a:xfrm>
              <a:off x="9482470" y="0"/>
              <a:ext cx="2709530" cy="2273732"/>
            </a:xfrm>
            <a:custGeom>
              <a:avLst/>
              <a:gdLst>
                <a:gd name="connsiteX0" fmla="*/ 866270 w 2709530"/>
                <a:gd name="connsiteY0" fmla="*/ 0 h 2273732"/>
                <a:gd name="connsiteX1" fmla="*/ 2709530 w 2709530"/>
                <a:gd name="connsiteY1" fmla="*/ 0 h 2273732"/>
                <a:gd name="connsiteX2" fmla="*/ 2709530 w 2709530"/>
                <a:gd name="connsiteY2" fmla="*/ 1843430 h 2273732"/>
                <a:gd name="connsiteX3" fmla="*/ 0 w 2709530"/>
                <a:gd name="connsiteY3" fmla="*/ 2273732 h 2273732"/>
                <a:gd name="connsiteX4" fmla="*/ 866270 w 2709530"/>
                <a:gd name="connsiteY4" fmla="*/ 0 h 22737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09530" h="2273732">
                  <a:moveTo>
                    <a:pt x="866270" y="0"/>
                  </a:moveTo>
                  <a:lnTo>
                    <a:pt x="2709530" y="0"/>
                  </a:lnTo>
                  <a:lnTo>
                    <a:pt x="2709530" y="1843430"/>
                  </a:lnTo>
                  <a:lnTo>
                    <a:pt x="0" y="2273732"/>
                  </a:lnTo>
                  <a:lnTo>
                    <a:pt x="866270" y="0"/>
                  </a:lnTo>
                  <a:close/>
                </a:path>
              </a:pathLst>
            </a:custGeom>
            <a:solidFill>
              <a:srgbClr val="3D4647"/>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Bef>
                  <a:spcPts val="800"/>
                </a:spcBef>
              </a:pPr>
              <a:endParaRPr lang="en-US">
                <a:solidFill>
                  <a:schemeClr val="bg1"/>
                </a:solidFill>
              </a:endParaRPr>
            </a:p>
          </p:txBody>
        </p:sp>
        <p:sp>
          <p:nvSpPr>
            <p:cNvPr id="17" name="Freeform: Shape 31">
              <a:extLst>
                <a:ext uri="{FF2B5EF4-FFF2-40B4-BE49-F238E27FC236}">
                  <a16:creationId xmlns:a16="http://schemas.microsoft.com/office/drawing/2014/main" id="{B7471F1D-1107-442C-8B1E-D54C148C5EB9}"/>
                </a:ext>
              </a:extLst>
            </p:cNvPr>
            <p:cNvSpPr/>
            <p:nvPr/>
          </p:nvSpPr>
          <p:spPr>
            <a:xfrm>
              <a:off x="7809494" y="2296870"/>
              <a:ext cx="4382507" cy="4571057"/>
            </a:xfrm>
            <a:custGeom>
              <a:avLst/>
              <a:gdLst>
                <a:gd name="connsiteX0" fmla="*/ 4382507 w 4382507"/>
                <a:gd name="connsiteY0" fmla="*/ 0 h 4571057"/>
                <a:gd name="connsiteX1" fmla="*/ 4382507 w 4382507"/>
                <a:gd name="connsiteY1" fmla="*/ 2755449 h 4571057"/>
                <a:gd name="connsiteX2" fmla="*/ 3801694 w 4382507"/>
                <a:gd name="connsiteY2" fmla="*/ 2849114 h 4571057"/>
                <a:gd name="connsiteX3" fmla="*/ 3484270 w 4382507"/>
                <a:gd name="connsiteY3" fmla="*/ 3687382 h 4571057"/>
                <a:gd name="connsiteX4" fmla="*/ 4382507 w 4382507"/>
                <a:gd name="connsiteY4" fmla="*/ 3541255 h 4571057"/>
                <a:gd name="connsiteX5" fmla="*/ 4382507 w 4382507"/>
                <a:gd name="connsiteY5" fmla="*/ 4571057 h 4571057"/>
                <a:gd name="connsiteX6" fmla="*/ 304272 w 4382507"/>
                <a:gd name="connsiteY6" fmla="*/ 4571057 h 4571057"/>
                <a:gd name="connsiteX7" fmla="*/ 0 w 4382507"/>
                <a:gd name="connsiteY7" fmla="*/ 4196530 h 4571057"/>
                <a:gd name="connsiteX8" fmla="*/ 1397515 w 4382507"/>
                <a:gd name="connsiteY8" fmla="*/ 474048 h 4571057"/>
                <a:gd name="connsiteX9" fmla="*/ 4382507 w 4382507"/>
                <a:gd name="connsiteY9" fmla="*/ 0 h 4571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82507" h="4571057">
                  <a:moveTo>
                    <a:pt x="4382507" y="0"/>
                  </a:moveTo>
                  <a:lnTo>
                    <a:pt x="4382507" y="2755449"/>
                  </a:lnTo>
                  <a:lnTo>
                    <a:pt x="3801694" y="2849114"/>
                  </a:lnTo>
                  <a:lnTo>
                    <a:pt x="3484270" y="3687382"/>
                  </a:lnTo>
                  <a:lnTo>
                    <a:pt x="4382507" y="3541255"/>
                  </a:lnTo>
                  <a:lnTo>
                    <a:pt x="4382507" y="4571057"/>
                  </a:lnTo>
                  <a:lnTo>
                    <a:pt x="304272" y="4571057"/>
                  </a:lnTo>
                  <a:lnTo>
                    <a:pt x="0" y="4196530"/>
                  </a:lnTo>
                  <a:lnTo>
                    <a:pt x="1397515" y="474048"/>
                  </a:lnTo>
                  <a:lnTo>
                    <a:pt x="4382507" y="0"/>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Bef>
                  <a:spcPts val="800"/>
                </a:spcBef>
              </a:pPr>
              <a:endParaRPr lang="en-US">
                <a:solidFill>
                  <a:schemeClr val="bg1"/>
                </a:solidFill>
              </a:endParaRPr>
            </a:p>
          </p:txBody>
        </p:sp>
      </p:grpSp>
      <p:pic>
        <p:nvPicPr>
          <p:cNvPr id="13" name="Graphic 12">
            <a:extLst>
              <a:ext uri="{FF2B5EF4-FFF2-40B4-BE49-F238E27FC236}">
                <a16:creationId xmlns:a16="http://schemas.microsoft.com/office/drawing/2014/main" id="{27800727-BEFA-4199-BF3F-02A14E0B6D10}"/>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29184" y="116399"/>
            <a:ext cx="3968766" cy="1609344"/>
          </a:xfrm>
          <a:prstGeom prst="rect">
            <a:avLst/>
          </a:prstGeom>
        </p:spPr>
      </p:pic>
    </p:spTree>
    <p:extLst>
      <p:ext uri="{BB962C8B-B14F-4D97-AF65-F5344CB8AC3E}">
        <p14:creationId xmlns:p14="http://schemas.microsoft.com/office/powerpoint/2010/main" val="156281357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dt="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One-third/Two-third Content">
    <p:spTree>
      <p:nvGrpSpPr>
        <p:cNvPr id="1" name=""/>
        <p:cNvGrpSpPr/>
        <p:nvPr/>
      </p:nvGrpSpPr>
      <p:grpSpPr>
        <a:xfrm>
          <a:off x="0" y="0"/>
          <a:ext cx="0" cy="0"/>
          <a:chOff x="0" y="0"/>
          <a:chExt cx="0" cy="0"/>
        </a:xfrm>
      </p:grpSpPr>
      <p:grpSp>
        <p:nvGrpSpPr>
          <p:cNvPr id="15" name="Group 14">
            <a:extLst>
              <a:ext uri="{FF2B5EF4-FFF2-40B4-BE49-F238E27FC236}">
                <a16:creationId xmlns:a16="http://schemas.microsoft.com/office/drawing/2014/main" id="{AD85CB9A-4B6E-46D5-93C1-6B94E6EC799C}"/>
              </a:ext>
            </a:extLst>
          </p:cNvPr>
          <p:cNvGrpSpPr/>
          <p:nvPr userDrawn="1"/>
        </p:nvGrpSpPr>
        <p:grpSpPr>
          <a:xfrm>
            <a:off x="567709" y="1509331"/>
            <a:ext cx="3558618" cy="4711129"/>
            <a:chOff x="567709" y="1528150"/>
            <a:chExt cx="3558618" cy="4692310"/>
          </a:xfrm>
        </p:grpSpPr>
        <p:sp>
          <p:nvSpPr>
            <p:cNvPr id="16" name="Rectangle 15">
              <a:extLst>
                <a:ext uri="{FF2B5EF4-FFF2-40B4-BE49-F238E27FC236}">
                  <a16:creationId xmlns:a16="http://schemas.microsoft.com/office/drawing/2014/main" id="{9A3E36D0-78B8-4B2E-80F7-98BD46D48237}"/>
                </a:ext>
              </a:extLst>
            </p:cNvPr>
            <p:cNvSpPr/>
            <p:nvPr userDrawn="1"/>
          </p:nvSpPr>
          <p:spPr>
            <a:xfrm>
              <a:off x="567709" y="1637881"/>
              <a:ext cx="3558618" cy="458257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Bef>
                  <a:spcPts val="800"/>
                </a:spcBef>
              </a:pPr>
              <a:endParaRPr lang="es-PE">
                <a:solidFill>
                  <a:schemeClr val="bg1"/>
                </a:solidFill>
              </a:endParaRPr>
            </a:p>
          </p:txBody>
        </p:sp>
        <p:sp>
          <p:nvSpPr>
            <p:cNvPr id="17" name="Arrow: Pentagon 16">
              <a:extLst>
                <a:ext uri="{FF2B5EF4-FFF2-40B4-BE49-F238E27FC236}">
                  <a16:creationId xmlns:a16="http://schemas.microsoft.com/office/drawing/2014/main" id="{8CCC2144-0958-47CB-9C83-0A02FD60F9F7}"/>
                </a:ext>
              </a:extLst>
            </p:cNvPr>
            <p:cNvSpPr/>
            <p:nvPr userDrawn="1"/>
          </p:nvSpPr>
          <p:spPr>
            <a:xfrm>
              <a:off x="567710" y="1528150"/>
              <a:ext cx="1235088" cy="223284"/>
            </a:xfrm>
            <a:prstGeom prst="homePlat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Bef>
                  <a:spcPts val="800"/>
                </a:spcBef>
              </a:pPr>
              <a:endParaRPr lang="es-PE">
                <a:solidFill>
                  <a:schemeClr val="bg1"/>
                </a:solidFill>
              </a:endParaRPr>
            </a:p>
          </p:txBody>
        </p:sp>
      </p:grpSp>
      <p:grpSp>
        <p:nvGrpSpPr>
          <p:cNvPr id="92" name="Group 91">
            <a:extLst>
              <a:ext uri="{FF2B5EF4-FFF2-40B4-BE49-F238E27FC236}">
                <a16:creationId xmlns:a16="http://schemas.microsoft.com/office/drawing/2014/main" id="{B12FF236-F99E-4479-85B4-369212AD24CC}"/>
              </a:ext>
            </a:extLst>
          </p:cNvPr>
          <p:cNvGrpSpPr/>
          <p:nvPr userDrawn="1"/>
        </p:nvGrpSpPr>
        <p:grpSpPr>
          <a:xfrm>
            <a:off x="3331998" y="1775504"/>
            <a:ext cx="631597" cy="594534"/>
            <a:chOff x="3331998" y="1775504"/>
            <a:chExt cx="631597" cy="594534"/>
          </a:xfrm>
        </p:grpSpPr>
        <p:sp>
          <p:nvSpPr>
            <p:cNvPr id="73" name="Freeform: Shape 72">
              <a:extLst>
                <a:ext uri="{FF2B5EF4-FFF2-40B4-BE49-F238E27FC236}">
                  <a16:creationId xmlns:a16="http://schemas.microsoft.com/office/drawing/2014/main" id="{3D0335EE-082B-49A5-8886-675F2FFC0959}"/>
                </a:ext>
              </a:extLst>
            </p:cNvPr>
            <p:cNvSpPr/>
            <p:nvPr userDrawn="1"/>
          </p:nvSpPr>
          <p:spPr>
            <a:xfrm flipH="1" flipV="1">
              <a:off x="3331998" y="1775507"/>
              <a:ext cx="236532" cy="243939"/>
            </a:xfrm>
            <a:custGeom>
              <a:avLst/>
              <a:gdLst>
                <a:gd name="connsiteX0" fmla="*/ 184242 w 236532"/>
                <a:gd name="connsiteY0" fmla="*/ 243939 h 243939"/>
                <a:gd name="connsiteX1" fmla="*/ 0 w 236532"/>
                <a:gd name="connsiteY1" fmla="*/ 243939 h 243939"/>
                <a:gd name="connsiteX2" fmla="*/ 236532 w 236532"/>
                <a:gd name="connsiteY2" fmla="*/ 0 h 243939"/>
                <a:gd name="connsiteX3" fmla="*/ 236532 w 236532"/>
                <a:gd name="connsiteY3" fmla="*/ 189945 h 243939"/>
                <a:gd name="connsiteX4" fmla="*/ 184242 w 236532"/>
                <a:gd name="connsiteY4" fmla="*/ 243939 h 2439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6532" h="243939">
                  <a:moveTo>
                    <a:pt x="184242" y="243939"/>
                  </a:moveTo>
                  <a:lnTo>
                    <a:pt x="0" y="243939"/>
                  </a:lnTo>
                  <a:lnTo>
                    <a:pt x="236532" y="0"/>
                  </a:lnTo>
                  <a:lnTo>
                    <a:pt x="236532" y="189945"/>
                  </a:lnTo>
                  <a:lnTo>
                    <a:pt x="184242" y="243939"/>
                  </a:lnTo>
                  <a:close/>
                </a:path>
              </a:pathLst>
            </a:custGeom>
            <a:solidFill>
              <a:schemeClr val="bg1">
                <a:alpha val="10000"/>
              </a:schemeClr>
            </a:solidFill>
            <a:ln w="9525" cap="flat">
              <a:noFill/>
              <a:prstDash val="solid"/>
              <a:miter/>
            </a:ln>
          </p:spPr>
          <p:txBody>
            <a:bodyPr wrap="square" rtlCol="0" anchor="ctr">
              <a:noAutofit/>
            </a:bodyPr>
            <a:lstStyle/>
            <a:p>
              <a:endParaRPr lang="en-US"/>
            </a:p>
          </p:txBody>
        </p:sp>
        <p:sp>
          <p:nvSpPr>
            <p:cNvPr id="89" name="Freeform: Shape 88">
              <a:extLst>
                <a:ext uri="{FF2B5EF4-FFF2-40B4-BE49-F238E27FC236}">
                  <a16:creationId xmlns:a16="http://schemas.microsoft.com/office/drawing/2014/main" id="{CA1C461B-0D2D-4EBC-A03B-8B16A24B85DD}"/>
                </a:ext>
              </a:extLst>
            </p:cNvPr>
            <p:cNvSpPr/>
            <p:nvPr userDrawn="1"/>
          </p:nvSpPr>
          <p:spPr>
            <a:xfrm flipH="1" flipV="1">
              <a:off x="3723772" y="2122077"/>
              <a:ext cx="239823" cy="247961"/>
            </a:xfrm>
            <a:custGeom>
              <a:avLst/>
              <a:gdLst>
                <a:gd name="connsiteX0" fmla="*/ 0 w 239823"/>
                <a:gd name="connsiteY0" fmla="*/ 247961 h 247961"/>
                <a:gd name="connsiteX1" fmla="*/ 0 w 239823"/>
                <a:gd name="connsiteY1" fmla="*/ 57467 h 247961"/>
                <a:gd name="connsiteX2" fmla="*/ 55581 w 239823"/>
                <a:gd name="connsiteY2" fmla="*/ 0 h 247961"/>
                <a:gd name="connsiteX3" fmla="*/ 239823 w 239823"/>
                <a:gd name="connsiteY3" fmla="*/ 0 h 247961"/>
                <a:gd name="connsiteX4" fmla="*/ 0 w 239823"/>
                <a:gd name="connsiteY4" fmla="*/ 247961 h 2479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9823" h="247961">
                  <a:moveTo>
                    <a:pt x="0" y="247961"/>
                  </a:moveTo>
                  <a:lnTo>
                    <a:pt x="0" y="57467"/>
                  </a:lnTo>
                  <a:lnTo>
                    <a:pt x="55581" y="0"/>
                  </a:lnTo>
                  <a:lnTo>
                    <a:pt x="239823" y="0"/>
                  </a:lnTo>
                  <a:lnTo>
                    <a:pt x="0" y="247961"/>
                  </a:lnTo>
                  <a:close/>
                </a:path>
              </a:pathLst>
            </a:custGeom>
            <a:solidFill>
              <a:schemeClr val="bg1">
                <a:alpha val="10000"/>
              </a:schemeClr>
            </a:solidFill>
            <a:ln w="9525" cap="flat">
              <a:noFill/>
              <a:prstDash val="solid"/>
              <a:miter/>
            </a:ln>
          </p:spPr>
          <p:txBody>
            <a:bodyPr wrap="square" rtlCol="0" anchor="ctr">
              <a:noAutofit/>
            </a:bodyPr>
            <a:lstStyle/>
            <a:p>
              <a:endParaRPr lang="en-US"/>
            </a:p>
          </p:txBody>
        </p:sp>
        <p:sp>
          <p:nvSpPr>
            <p:cNvPr id="82" name="Freeform: Shape 81">
              <a:extLst>
                <a:ext uri="{FF2B5EF4-FFF2-40B4-BE49-F238E27FC236}">
                  <a16:creationId xmlns:a16="http://schemas.microsoft.com/office/drawing/2014/main" id="{23666D4C-43E1-4899-A0D1-5640EFF2D767}"/>
                </a:ext>
              </a:extLst>
            </p:cNvPr>
            <p:cNvSpPr/>
            <p:nvPr userDrawn="1"/>
          </p:nvSpPr>
          <p:spPr>
            <a:xfrm>
              <a:off x="3340161" y="1775504"/>
              <a:ext cx="516651" cy="536140"/>
            </a:xfrm>
            <a:custGeom>
              <a:avLst/>
              <a:gdLst>
                <a:gd name="connsiteX0" fmla="*/ 332409 w 516651"/>
                <a:gd name="connsiteY0" fmla="*/ 0 h 536140"/>
                <a:gd name="connsiteX1" fmla="*/ 516651 w 516651"/>
                <a:gd name="connsiteY1" fmla="*/ 0 h 536140"/>
                <a:gd name="connsiteX2" fmla="*/ 0 w 516651"/>
                <a:gd name="connsiteY2" fmla="*/ 536140 h 536140"/>
                <a:gd name="connsiteX3" fmla="*/ 0 w 516651"/>
                <a:gd name="connsiteY3" fmla="*/ 344300 h 536140"/>
                <a:gd name="connsiteX4" fmla="*/ 332409 w 516651"/>
                <a:gd name="connsiteY4" fmla="*/ 0 h 5361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6651" h="536140">
                  <a:moveTo>
                    <a:pt x="332409" y="0"/>
                  </a:moveTo>
                  <a:lnTo>
                    <a:pt x="516651" y="0"/>
                  </a:lnTo>
                  <a:lnTo>
                    <a:pt x="0" y="536140"/>
                  </a:lnTo>
                  <a:lnTo>
                    <a:pt x="0" y="344300"/>
                  </a:lnTo>
                  <a:lnTo>
                    <a:pt x="332409" y="0"/>
                  </a:lnTo>
                  <a:close/>
                </a:path>
              </a:pathLst>
            </a:custGeom>
            <a:solidFill>
              <a:schemeClr val="bg1">
                <a:alpha val="10000"/>
              </a:schemeClr>
            </a:solidFill>
            <a:ln w="9525" cap="flat">
              <a:noFill/>
              <a:prstDash val="solid"/>
              <a:miter/>
            </a:ln>
          </p:spPr>
          <p:txBody>
            <a:bodyPr wrap="square" rtlCol="0" anchor="ctr">
              <a:noAutofit/>
            </a:bodyPr>
            <a:lstStyle/>
            <a:p>
              <a:pPr lvl="0"/>
              <a:endParaRPr lang="en-US" dirty="0" err="1">
                <a:solidFill>
                  <a:schemeClr val="tx1"/>
                </a:solidFill>
              </a:endParaRPr>
            </a:p>
          </p:txBody>
        </p:sp>
        <p:sp>
          <p:nvSpPr>
            <p:cNvPr id="86" name="Freeform: Shape 85">
              <a:extLst>
                <a:ext uri="{FF2B5EF4-FFF2-40B4-BE49-F238E27FC236}">
                  <a16:creationId xmlns:a16="http://schemas.microsoft.com/office/drawing/2014/main" id="{25D781CC-2319-4EA1-B52D-2909EADC4D4E}"/>
                </a:ext>
              </a:extLst>
            </p:cNvPr>
            <p:cNvSpPr/>
            <p:nvPr userDrawn="1"/>
          </p:nvSpPr>
          <p:spPr>
            <a:xfrm>
              <a:off x="3402110" y="1793022"/>
              <a:ext cx="556042" cy="577015"/>
            </a:xfrm>
            <a:custGeom>
              <a:avLst/>
              <a:gdLst>
                <a:gd name="connsiteX0" fmla="*/ 556042 w 556042"/>
                <a:gd name="connsiteY0" fmla="*/ 0 h 577015"/>
                <a:gd name="connsiteX1" fmla="*/ 556042 w 556042"/>
                <a:gd name="connsiteY1" fmla="*/ 191192 h 577015"/>
                <a:gd name="connsiteX2" fmla="*/ 184244 w 556042"/>
                <a:gd name="connsiteY2" fmla="*/ 577015 h 577015"/>
                <a:gd name="connsiteX3" fmla="*/ 0 w 556042"/>
                <a:gd name="connsiteY3" fmla="*/ 577015 h 577015"/>
                <a:gd name="connsiteX4" fmla="*/ 556042 w 556042"/>
                <a:gd name="connsiteY4" fmla="*/ 0 h 5770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6042" h="577015">
                  <a:moveTo>
                    <a:pt x="556042" y="0"/>
                  </a:moveTo>
                  <a:lnTo>
                    <a:pt x="556042" y="191192"/>
                  </a:lnTo>
                  <a:lnTo>
                    <a:pt x="184244" y="577015"/>
                  </a:lnTo>
                  <a:lnTo>
                    <a:pt x="0" y="577015"/>
                  </a:lnTo>
                  <a:lnTo>
                    <a:pt x="556042" y="0"/>
                  </a:lnTo>
                  <a:close/>
                </a:path>
              </a:pathLst>
            </a:cu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285750" indent="-285750" algn="l">
                <a:lnSpc>
                  <a:spcPct val="90000"/>
                </a:lnSpc>
                <a:spcBef>
                  <a:spcPts val="800"/>
                </a:spcBef>
                <a:buBlip>
                  <a:blip r:embed="rId2"/>
                </a:buBlip>
              </a:pPr>
              <a:endParaRPr lang="en-US" sz="1800" dirty="0" err="1">
                <a:solidFill>
                  <a:schemeClr val="bg1"/>
                </a:solidFill>
              </a:endParaRPr>
            </a:p>
          </p:txBody>
        </p:sp>
      </p:grpSp>
      <p:sp>
        <p:nvSpPr>
          <p:cNvPr id="14" name="Rectangle 13">
            <a:extLst>
              <a:ext uri="{FF2B5EF4-FFF2-40B4-BE49-F238E27FC236}">
                <a16:creationId xmlns:a16="http://schemas.microsoft.com/office/drawing/2014/main" id="{91DFB4FC-DBF3-4C25-B966-AEA10F97ECFF}"/>
              </a:ext>
            </a:extLst>
          </p:cNvPr>
          <p:cNvSpPr/>
          <p:nvPr userDrawn="1"/>
        </p:nvSpPr>
        <p:spPr>
          <a:xfrm>
            <a:off x="0" y="1509331"/>
            <a:ext cx="511478" cy="471112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Bef>
                <a:spcPts val="800"/>
              </a:spcBef>
            </a:pPr>
            <a:endParaRPr lang="es-PE">
              <a:solidFill>
                <a:schemeClr val="bg1"/>
              </a:solidFill>
            </a:endParaRPr>
          </a:p>
        </p:txBody>
      </p:sp>
      <p:pic>
        <p:nvPicPr>
          <p:cNvPr id="19" name="Picture 18">
            <a:extLst>
              <a:ext uri="{FF2B5EF4-FFF2-40B4-BE49-F238E27FC236}">
                <a16:creationId xmlns:a16="http://schemas.microsoft.com/office/drawing/2014/main" id="{5AC239A6-22F7-4B2D-8EF3-10BAABBED693}"/>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t="5332" r="41262"/>
          <a:stretch/>
        </p:blipFill>
        <p:spPr>
          <a:xfrm rot="10800000">
            <a:off x="3479920" y="2982554"/>
            <a:ext cx="499802" cy="3101889"/>
          </a:xfrm>
          <a:prstGeom prst="rect">
            <a:avLst/>
          </a:prstGeom>
        </p:spPr>
      </p:pic>
      <p:sp>
        <p:nvSpPr>
          <p:cNvPr id="3" name="Content Placeholder 2"/>
          <p:cNvSpPr>
            <a:spLocks noGrp="1"/>
          </p:cNvSpPr>
          <p:nvPr userDrawn="1">
            <p:ph idx="1" hasCustomPrompt="1"/>
          </p:nvPr>
        </p:nvSpPr>
        <p:spPr>
          <a:xfrm>
            <a:off x="4561364" y="1622243"/>
            <a:ext cx="7095744" cy="4572000"/>
          </a:xfrm>
        </p:spPr>
        <p:txBody>
          <a:bodyPr vert="horz" lIns="0" tIns="0" rIns="0" bIns="0" rtlCol="0">
            <a:noAutofit/>
          </a:bodyPr>
          <a:lstStyle>
            <a:lvl1pPr>
              <a:defRPr lang="en-US" dirty="0"/>
            </a:lvl1pPr>
            <a:lvl2pPr>
              <a:defRPr lang="en-US" dirty="0"/>
            </a:lvl2pPr>
            <a:lvl3pPr>
              <a:defRPr lang="en-US" dirty="0"/>
            </a:lvl3pPr>
            <a:lvl4pPr>
              <a:defRPr lang="en-US" dirty="0"/>
            </a:lvl4pPr>
            <a:lvl5pPr>
              <a:defRPr lang="en-US" dirty="0"/>
            </a:lvl5pPr>
          </a:lstStyle>
          <a:p>
            <a:pPr lvl="0"/>
            <a:r>
              <a:rPr lang="en-US" dirty="0"/>
              <a:t>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itle 11"/>
          <p:cNvSpPr>
            <a:spLocks noGrp="1"/>
          </p:cNvSpPr>
          <p:nvPr userDrawn="1">
            <p:ph type="title" hasCustomPrompt="1"/>
          </p:nvPr>
        </p:nvSpPr>
        <p:spPr/>
        <p:txBody>
          <a:bodyPr anchor="ctr" anchorCtr="0"/>
          <a:lstStyle>
            <a:lvl1pPr>
              <a:defRPr/>
            </a:lvl1pPr>
          </a:lstStyle>
          <a:p>
            <a:r>
              <a:rPr lang="en-US" dirty="0"/>
              <a:t>add title – keep it brief</a:t>
            </a:r>
          </a:p>
        </p:txBody>
      </p:sp>
      <p:sp>
        <p:nvSpPr>
          <p:cNvPr id="21" name="Text Placeholder 20">
            <a:extLst>
              <a:ext uri="{FF2B5EF4-FFF2-40B4-BE49-F238E27FC236}">
                <a16:creationId xmlns:a16="http://schemas.microsoft.com/office/drawing/2014/main" id="{25BD1AED-6D0A-4F50-922C-B2B90E0F1E52}"/>
              </a:ext>
            </a:extLst>
          </p:cNvPr>
          <p:cNvSpPr>
            <a:spLocks noGrp="1"/>
          </p:cNvSpPr>
          <p:nvPr>
            <p:ph type="body" sz="quarter" idx="14" hasCustomPrompt="1"/>
          </p:nvPr>
        </p:nvSpPr>
        <p:spPr>
          <a:xfrm>
            <a:off x="771144" y="1866900"/>
            <a:ext cx="3029331" cy="4056888"/>
          </a:xfrm>
        </p:spPr>
        <p:txBody>
          <a:bodyPr vert="horz" lIns="0" tIns="0" rIns="0" bIns="0" rtlCol="0" anchor="ctr" anchorCtr="0">
            <a:noAutofit/>
          </a:bodyPr>
          <a:lstStyle>
            <a:lvl1pPr>
              <a:defRPr lang="en-US" dirty="0">
                <a:solidFill>
                  <a:schemeClr val="bg1"/>
                </a:solidFill>
              </a:defRPr>
            </a:lvl1pPr>
            <a:lvl2pPr>
              <a:defRPr>
                <a:solidFill>
                  <a:schemeClr val="bg1"/>
                </a:solidFill>
              </a:defRPr>
            </a:lvl2pPr>
            <a:lvl3pPr marL="832104" indent="-228600">
              <a:buFontTx/>
              <a:buBlip>
                <a:blip r:embed="rId4">
                  <a:extLst>
                    <a:ext uri="{96DAC541-7B7A-43D3-8B79-37D633B846F1}">
                      <asvg:svgBlip xmlns:asvg="http://schemas.microsoft.com/office/drawing/2016/SVG/main" r:embed="rId5"/>
                    </a:ext>
                  </a:extLst>
                </a:blip>
              </a:buBlip>
              <a:defRPr>
                <a:solidFill>
                  <a:schemeClr val="bg1"/>
                </a:solidFill>
              </a:defRPr>
            </a:lvl3pPr>
            <a:lvl4pPr marL="1078992" indent="-228600">
              <a:buFontTx/>
              <a:buBlip>
                <a:blip r:embed="rId6"/>
              </a:buBlip>
              <a:defRPr>
                <a:solidFill>
                  <a:schemeClr val="bg1"/>
                </a:solidFill>
              </a:defRPr>
            </a:lvl4pPr>
          </a:lstStyle>
          <a:p>
            <a:pPr lvl="0"/>
            <a:r>
              <a:rPr lang="en-US" dirty="0"/>
              <a:t>Add call out text here</a:t>
            </a:r>
          </a:p>
          <a:p>
            <a:pPr lvl="1"/>
            <a:r>
              <a:rPr lang="en-US" dirty="0"/>
              <a:t>Bullet 2</a:t>
            </a:r>
          </a:p>
          <a:p>
            <a:pPr lvl="2"/>
            <a:r>
              <a:rPr lang="en-US" dirty="0"/>
              <a:t>Bullet 3</a:t>
            </a:r>
          </a:p>
          <a:p>
            <a:pPr lvl="3"/>
            <a:r>
              <a:rPr lang="en-US" dirty="0"/>
              <a:t>Bullet 4</a:t>
            </a:r>
          </a:p>
        </p:txBody>
      </p:sp>
      <p:sp>
        <p:nvSpPr>
          <p:cNvPr id="74" name="Freeform: Shape 73">
            <a:extLst>
              <a:ext uri="{FF2B5EF4-FFF2-40B4-BE49-F238E27FC236}">
                <a16:creationId xmlns:a16="http://schemas.microsoft.com/office/drawing/2014/main" id="{4C10FBDB-41E4-496C-8570-6220B8FEEEEC}"/>
              </a:ext>
            </a:extLst>
          </p:cNvPr>
          <p:cNvSpPr/>
          <p:nvPr userDrawn="1"/>
        </p:nvSpPr>
        <p:spPr>
          <a:xfrm flipH="1" flipV="1">
            <a:off x="4290848" y="1775505"/>
            <a:ext cx="192186" cy="198707"/>
          </a:xfrm>
          <a:custGeom>
            <a:avLst/>
            <a:gdLst>
              <a:gd name="connsiteX0" fmla="*/ 184242 w 192186"/>
              <a:gd name="connsiteY0" fmla="*/ 198707 h 198707"/>
              <a:gd name="connsiteX1" fmla="*/ 0 w 192186"/>
              <a:gd name="connsiteY1" fmla="*/ 198707 h 198707"/>
              <a:gd name="connsiteX2" fmla="*/ 192186 w 192186"/>
              <a:gd name="connsiteY2" fmla="*/ 0 h 198707"/>
              <a:gd name="connsiteX3" fmla="*/ 192186 w 192186"/>
              <a:gd name="connsiteY3" fmla="*/ 190494 h 198707"/>
              <a:gd name="connsiteX4" fmla="*/ 184242 w 192186"/>
              <a:gd name="connsiteY4" fmla="*/ 198707 h 1987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2186" h="198707">
                <a:moveTo>
                  <a:pt x="184242" y="198707"/>
                </a:moveTo>
                <a:lnTo>
                  <a:pt x="0" y="198707"/>
                </a:lnTo>
                <a:lnTo>
                  <a:pt x="192186" y="0"/>
                </a:lnTo>
                <a:lnTo>
                  <a:pt x="192186" y="190494"/>
                </a:lnTo>
                <a:lnTo>
                  <a:pt x="184242" y="198707"/>
                </a:lnTo>
                <a:close/>
              </a:path>
            </a:pathLst>
          </a:custGeom>
          <a:solidFill>
            <a:schemeClr val="bg1">
              <a:alpha val="40000"/>
            </a:schemeClr>
          </a:solidFill>
          <a:ln w="9525" cap="flat">
            <a:noFill/>
            <a:prstDash val="solid"/>
            <a:miter/>
          </a:ln>
        </p:spPr>
        <p:txBody>
          <a:bodyPr wrap="square" rtlCol="0" anchor="ctr">
            <a:noAutofit/>
          </a:bodyPr>
          <a:lstStyle/>
          <a:p>
            <a:endParaRPr lang="en-US"/>
          </a:p>
        </p:txBody>
      </p:sp>
    </p:spTree>
    <p:extLst>
      <p:ext uri="{BB962C8B-B14F-4D97-AF65-F5344CB8AC3E}">
        <p14:creationId xmlns:p14="http://schemas.microsoft.com/office/powerpoint/2010/main" val="14114463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Image or Graphic &amp; Content ">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F6F2220D-D049-431F-AE4C-66F06B49D14E}"/>
              </a:ext>
            </a:extLst>
          </p:cNvPr>
          <p:cNvGrpSpPr/>
          <p:nvPr userDrawn="1"/>
        </p:nvGrpSpPr>
        <p:grpSpPr>
          <a:xfrm>
            <a:off x="567709" y="1509331"/>
            <a:ext cx="3558618" cy="4711129"/>
            <a:chOff x="567709" y="1528150"/>
            <a:chExt cx="3558618" cy="4692310"/>
          </a:xfrm>
        </p:grpSpPr>
        <p:sp>
          <p:nvSpPr>
            <p:cNvPr id="48" name="Rectangle 47">
              <a:extLst>
                <a:ext uri="{FF2B5EF4-FFF2-40B4-BE49-F238E27FC236}">
                  <a16:creationId xmlns:a16="http://schemas.microsoft.com/office/drawing/2014/main" id="{9DD92F5C-AA83-4505-B194-3EB6A01DC91C}"/>
                </a:ext>
              </a:extLst>
            </p:cNvPr>
            <p:cNvSpPr/>
            <p:nvPr userDrawn="1"/>
          </p:nvSpPr>
          <p:spPr>
            <a:xfrm>
              <a:off x="567709" y="1637881"/>
              <a:ext cx="3558618" cy="458257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Bef>
                  <a:spcPts val="800"/>
                </a:spcBef>
              </a:pPr>
              <a:endParaRPr lang="es-PE">
                <a:solidFill>
                  <a:schemeClr val="bg1"/>
                </a:solidFill>
              </a:endParaRPr>
            </a:p>
          </p:txBody>
        </p:sp>
        <p:sp>
          <p:nvSpPr>
            <p:cNvPr id="4" name="Arrow: Pentagon 3">
              <a:extLst>
                <a:ext uri="{FF2B5EF4-FFF2-40B4-BE49-F238E27FC236}">
                  <a16:creationId xmlns:a16="http://schemas.microsoft.com/office/drawing/2014/main" id="{AD96E9CE-0E6C-4361-B959-D892AE199199}"/>
                </a:ext>
              </a:extLst>
            </p:cNvPr>
            <p:cNvSpPr/>
            <p:nvPr userDrawn="1"/>
          </p:nvSpPr>
          <p:spPr>
            <a:xfrm>
              <a:off x="567710" y="1528150"/>
              <a:ext cx="1235088" cy="223284"/>
            </a:xfrm>
            <a:prstGeom prst="homePlat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Bef>
                  <a:spcPts val="800"/>
                </a:spcBef>
              </a:pPr>
              <a:endParaRPr lang="es-PE">
                <a:solidFill>
                  <a:schemeClr val="bg1"/>
                </a:solidFill>
              </a:endParaRPr>
            </a:p>
          </p:txBody>
        </p:sp>
      </p:grpSp>
      <p:grpSp>
        <p:nvGrpSpPr>
          <p:cNvPr id="50" name="Group 49">
            <a:extLst>
              <a:ext uri="{FF2B5EF4-FFF2-40B4-BE49-F238E27FC236}">
                <a16:creationId xmlns:a16="http://schemas.microsoft.com/office/drawing/2014/main" id="{49522EDF-6B64-40DC-AF8F-1193DB30E268}"/>
              </a:ext>
            </a:extLst>
          </p:cNvPr>
          <p:cNvGrpSpPr/>
          <p:nvPr userDrawn="1"/>
        </p:nvGrpSpPr>
        <p:grpSpPr>
          <a:xfrm>
            <a:off x="3331998" y="1775504"/>
            <a:ext cx="631597" cy="594534"/>
            <a:chOff x="3331998" y="1775504"/>
            <a:chExt cx="631597" cy="594534"/>
          </a:xfrm>
        </p:grpSpPr>
        <p:sp>
          <p:nvSpPr>
            <p:cNvPr id="51" name="Freeform: Shape 50">
              <a:extLst>
                <a:ext uri="{FF2B5EF4-FFF2-40B4-BE49-F238E27FC236}">
                  <a16:creationId xmlns:a16="http://schemas.microsoft.com/office/drawing/2014/main" id="{446C2A21-3B85-4654-B356-193FF4A73DE5}"/>
                </a:ext>
              </a:extLst>
            </p:cNvPr>
            <p:cNvSpPr/>
            <p:nvPr userDrawn="1"/>
          </p:nvSpPr>
          <p:spPr>
            <a:xfrm flipH="1" flipV="1">
              <a:off x="3331998" y="1775507"/>
              <a:ext cx="236532" cy="243939"/>
            </a:xfrm>
            <a:custGeom>
              <a:avLst/>
              <a:gdLst>
                <a:gd name="connsiteX0" fmla="*/ 184242 w 236532"/>
                <a:gd name="connsiteY0" fmla="*/ 243939 h 243939"/>
                <a:gd name="connsiteX1" fmla="*/ 0 w 236532"/>
                <a:gd name="connsiteY1" fmla="*/ 243939 h 243939"/>
                <a:gd name="connsiteX2" fmla="*/ 236532 w 236532"/>
                <a:gd name="connsiteY2" fmla="*/ 0 h 243939"/>
                <a:gd name="connsiteX3" fmla="*/ 236532 w 236532"/>
                <a:gd name="connsiteY3" fmla="*/ 189945 h 243939"/>
                <a:gd name="connsiteX4" fmla="*/ 184242 w 236532"/>
                <a:gd name="connsiteY4" fmla="*/ 243939 h 2439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6532" h="243939">
                  <a:moveTo>
                    <a:pt x="184242" y="243939"/>
                  </a:moveTo>
                  <a:lnTo>
                    <a:pt x="0" y="243939"/>
                  </a:lnTo>
                  <a:lnTo>
                    <a:pt x="236532" y="0"/>
                  </a:lnTo>
                  <a:lnTo>
                    <a:pt x="236532" y="189945"/>
                  </a:lnTo>
                  <a:lnTo>
                    <a:pt x="184242" y="243939"/>
                  </a:lnTo>
                  <a:close/>
                </a:path>
              </a:pathLst>
            </a:custGeom>
            <a:solidFill>
              <a:schemeClr val="bg1">
                <a:alpha val="10000"/>
              </a:schemeClr>
            </a:solidFill>
            <a:ln w="9525" cap="flat">
              <a:noFill/>
              <a:prstDash val="solid"/>
              <a:miter/>
            </a:ln>
          </p:spPr>
          <p:txBody>
            <a:bodyPr wrap="square" rtlCol="0" anchor="ctr">
              <a:noAutofit/>
            </a:bodyPr>
            <a:lstStyle/>
            <a:p>
              <a:endParaRPr lang="en-US"/>
            </a:p>
          </p:txBody>
        </p:sp>
        <p:sp>
          <p:nvSpPr>
            <p:cNvPr id="52" name="Freeform: Shape 51">
              <a:extLst>
                <a:ext uri="{FF2B5EF4-FFF2-40B4-BE49-F238E27FC236}">
                  <a16:creationId xmlns:a16="http://schemas.microsoft.com/office/drawing/2014/main" id="{BF504655-6790-490E-BA0D-242ED3E5FA88}"/>
                </a:ext>
              </a:extLst>
            </p:cNvPr>
            <p:cNvSpPr/>
            <p:nvPr userDrawn="1"/>
          </p:nvSpPr>
          <p:spPr>
            <a:xfrm flipH="1" flipV="1">
              <a:off x="3723772" y="2122077"/>
              <a:ext cx="239823" cy="247961"/>
            </a:xfrm>
            <a:custGeom>
              <a:avLst/>
              <a:gdLst>
                <a:gd name="connsiteX0" fmla="*/ 0 w 239823"/>
                <a:gd name="connsiteY0" fmla="*/ 247961 h 247961"/>
                <a:gd name="connsiteX1" fmla="*/ 0 w 239823"/>
                <a:gd name="connsiteY1" fmla="*/ 57467 h 247961"/>
                <a:gd name="connsiteX2" fmla="*/ 55581 w 239823"/>
                <a:gd name="connsiteY2" fmla="*/ 0 h 247961"/>
                <a:gd name="connsiteX3" fmla="*/ 239823 w 239823"/>
                <a:gd name="connsiteY3" fmla="*/ 0 h 247961"/>
                <a:gd name="connsiteX4" fmla="*/ 0 w 239823"/>
                <a:gd name="connsiteY4" fmla="*/ 247961 h 2479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9823" h="247961">
                  <a:moveTo>
                    <a:pt x="0" y="247961"/>
                  </a:moveTo>
                  <a:lnTo>
                    <a:pt x="0" y="57467"/>
                  </a:lnTo>
                  <a:lnTo>
                    <a:pt x="55581" y="0"/>
                  </a:lnTo>
                  <a:lnTo>
                    <a:pt x="239823" y="0"/>
                  </a:lnTo>
                  <a:lnTo>
                    <a:pt x="0" y="247961"/>
                  </a:lnTo>
                  <a:close/>
                </a:path>
              </a:pathLst>
            </a:custGeom>
            <a:solidFill>
              <a:schemeClr val="bg1">
                <a:alpha val="10000"/>
              </a:schemeClr>
            </a:solidFill>
            <a:ln w="9525" cap="flat">
              <a:noFill/>
              <a:prstDash val="solid"/>
              <a:miter/>
            </a:ln>
          </p:spPr>
          <p:txBody>
            <a:bodyPr wrap="square" rtlCol="0" anchor="ctr">
              <a:noAutofit/>
            </a:bodyPr>
            <a:lstStyle/>
            <a:p>
              <a:endParaRPr lang="en-US"/>
            </a:p>
          </p:txBody>
        </p:sp>
        <p:sp>
          <p:nvSpPr>
            <p:cNvPr id="53" name="Freeform: Shape 52">
              <a:extLst>
                <a:ext uri="{FF2B5EF4-FFF2-40B4-BE49-F238E27FC236}">
                  <a16:creationId xmlns:a16="http://schemas.microsoft.com/office/drawing/2014/main" id="{6E483918-9EBB-4FAD-A165-6274601D3246}"/>
                </a:ext>
              </a:extLst>
            </p:cNvPr>
            <p:cNvSpPr/>
            <p:nvPr userDrawn="1"/>
          </p:nvSpPr>
          <p:spPr>
            <a:xfrm>
              <a:off x="3340161" y="1775504"/>
              <a:ext cx="516651" cy="536140"/>
            </a:xfrm>
            <a:custGeom>
              <a:avLst/>
              <a:gdLst>
                <a:gd name="connsiteX0" fmla="*/ 332409 w 516651"/>
                <a:gd name="connsiteY0" fmla="*/ 0 h 536140"/>
                <a:gd name="connsiteX1" fmla="*/ 516651 w 516651"/>
                <a:gd name="connsiteY1" fmla="*/ 0 h 536140"/>
                <a:gd name="connsiteX2" fmla="*/ 0 w 516651"/>
                <a:gd name="connsiteY2" fmla="*/ 536140 h 536140"/>
                <a:gd name="connsiteX3" fmla="*/ 0 w 516651"/>
                <a:gd name="connsiteY3" fmla="*/ 344300 h 536140"/>
                <a:gd name="connsiteX4" fmla="*/ 332409 w 516651"/>
                <a:gd name="connsiteY4" fmla="*/ 0 h 5361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6651" h="536140">
                  <a:moveTo>
                    <a:pt x="332409" y="0"/>
                  </a:moveTo>
                  <a:lnTo>
                    <a:pt x="516651" y="0"/>
                  </a:lnTo>
                  <a:lnTo>
                    <a:pt x="0" y="536140"/>
                  </a:lnTo>
                  <a:lnTo>
                    <a:pt x="0" y="344300"/>
                  </a:lnTo>
                  <a:lnTo>
                    <a:pt x="332409" y="0"/>
                  </a:lnTo>
                  <a:close/>
                </a:path>
              </a:pathLst>
            </a:custGeom>
            <a:solidFill>
              <a:schemeClr val="bg1">
                <a:alpha val="10000"/>
              </a:schemeClr>
            </a:solidFill>
            <a:ln w="9525" cap="flat">
              <a:noFill/>
              <a:prstDash val="solid"/>
              <a:miter/>
            </a:ln>
          </p:spPr>
          <p:txBody>
            <a:bodyPr wrap="square" rtlCol="0" anchor="ctr">
              <a:noAutofit/>
            </a:bodyPr>
            <a:lstStyle/>
            <a:p>
              <a:pPr lvl="0"/>
              <a:endParaRPr lang="en-US" dirty="0" err="1">
                <a:solidFill>
                  <a:schemeClr val="tx1"/>
                </a:solidFill>
              </a:endParaRPr>
            </a:p>
          </p:txBody>
        </p:sp>
        <p:sp>
          <p:nvSpPr>
            <p:cNvPr id="54" name="Freeform: Shape 53">
              <a:extLst>
                <a:ext uri="{FF2B5EF4-FFF2-40B4-BE49-F238E27FC236}">
                  <a16:creationId xmlns:a16="http://schemas.microsoft.com/office/drawing/2014/main" id="{47A04C62-89DA-486D-AA08-D9D25B318A53}"/>
                </a:ext>
              </a:extLst>
            </p:cNvPr>
            <p:cNvSpPr/>
            <p:nvPr userDrawn="1"/>
          </p:nvSpPr>
          <p:spPr>
            <a:xfrm>
              <a:off x="3402110" y="1793022"/>
              <a:ext cx="556042" cy="577015"/>
            </a:xfrm>
            <a:custGeom>
              <a:avLst/>
              <a:gdLst>
                <a:gd name="connsiteX0" fmla="*/ 556042 w 556042"/>
                <a:gd name="connsiteY0" fmla="*/ 0 h 577015"/>
                <a:gd name="connsiteX1" fmla="*/ 556042 w 556042"/>
                <a:gd name="connsiteY1" fmla="*/ 191192 h 577015"/>
                <a:gd name="connsiteX2" fmla="*/ 184244 w 556042"/>
                <a:gd name="connsiteY2" fmla="*/ 577015 h 577015"/>
                <a:gd name="connsiteX3" fmla="*/ 0 w 556042"/>
                <a:gd name="connsiteY3" fmla="*/ 577015 h 577015"/>
                <a:gd name="connsiteX4" fmla="*/ 556042 w 556042"/>
                <a:gd name="connsiteY4" fmla="*/ 0 h 5770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6042" h="577015">
                  <a:moveTo>
                    <a:pt x="556042" y="0"/>
                  </a:moveTo>
                  <a:lnTo>
                    <a:pt x="556042" y="191192"/>
                  </a:lnTo>
                  <a:lnTo>
                    <a:pt x="184244" y="577015"/>
                  </a:lnTo>
                  <a:lnTo>
                    <a:pt x="0" y="577015"/>
                  </a:lnTo>
                  <a:lnTo>
                    <a:pt x="556042" y="0"/>
                  </a:lnTo>
                  <a:close/>
                </a:path>
              </a:pathLst>
            </a:cu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285750" indent="-285750" algn="l">
                <a:lnSpc>
                  <a:spcPct val="90000"/>
                </a:lnSpc>
                <a:spcBef>
                  <a:spcPts val="800"/>
                </a:spcBef>
                <a:buBlip>
                  <a:blip r:embed="rId2"/>
                </a:buBlip>
              </a:pPr>
              <a:endParaRPr lang="en-US" sz="1800" dirty="0" err="1">
                <a:solidFill>
                  <a:schemeClr val="bg1"/>
                </a:solidFill>
              </a:endParaRPr>
            </a:p>
          </p:txBody>
        </p:sp>
      </p:grpSp>
      <p:sp>
        <p:nvSpPr>
          <p:cNvPr id="3" name="Rectangle 2">
            <a:extLst>
              <a:ext uri="{FF2B5EF4-FFF2-40B4-BE49-F238E27FC236}">
                <a16:creationId xmlns:a16="http://schemas.microsoft.com/office/drawing/2014/main" id="{7EBF904B-CA77-4E86-A6A3-73D2F703B031}"/>
              </a:ext>
            </a:extLst>
          </p:cNvPr>
          <p:cNvSpPr/>
          <p:nvPr userDrawn="1"/>
        </p:nvSpPr>
        <p:spPr>
          <a:xfrm>
            <a:off x="0" y="1509331"/>
            <a:ext cx="511478" cy="471112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Bef>
                <a:spcPts val="800"/>
              </a:spcBef>
            </a:pPr>
            <a:endParaRPr lang="es-PE">
              <a:solidFill>
                <a:schemeClr val="bg1"/>
              </a:solidFill>
            </a:endParaRPr>
          </a:p>
        </p:txBody>
      </p:sp>
      <p:pic>
        <p:nvPicPr>
          <p:cNvPr id="56" name="Picture 55">
            <a:extLst>
              <a:ext uri="{FF2B5EF4-FFF2-40B4-BE49-F238E27FC236}">
                <a16:creationId xmlns:a16="http://schemas.microsoft.com/office/drawing/2014/main" id="{398F40EF-3684-48DD-8AD8-A4F0503C5CBA}"/>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t="5332" r="41262"/>
          <a:stretch/>
        </p:blipFill>
        <p:spPr>
          <a:xfrm rot="10800000">
            <a:off x="3479920" y="2982554"/>
            <a:ext cx="499802" cy="3101889"/>
          </a:xfrm>
          <a:prstGeom prst="rect">
            <a:avLst/>
          </a:prstGeom>
        </p:spPr>
      </p:pic>
      <p:pic>
        <p:nvPicPr>
          <p:cNvPr id="82" name="Graphic 81">
            <a:extLst>
              <a:ext uri="{FF2B5EF4-FFF2-40B4-BE49-F238E27FC236}">
                <a16:creationId xmlns:a16="http://schemas.microsoft.com/office/drawing/2014/main" id="{D97F8D3A-F5B1-4A3A-9B14-E82F2CDEABE4}"/>
              </a:ext>
            </a:extLst>
          </p:cNvPr>
          <p:cNvPicPr>
            <a:picLocks noChangeAspect="1"/>
          </p:cNvPicPr>
          <p:nvPr userDrawn="1"/>
        </p:nvPicPr>
        <p:blipFill rotWithShape="1">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rcRect r="52919"/>
          <a:stretch/>
        </p:blipFill>
        <p:spPr>
          <a:xfrm>
            <a:off x="11030374" y="2887980"/>
            <a:ext cx="1161626" cy="2270760"/>
          </a:xfrm>
          <a:prstGeom prst="rect">
            <a:avLst/>
          </a:prstGeom>
        </p:spPr>
      </p:pic>
      <p:sp>
        <p:nvSpPr>
          <p:cNvPr id="6" name="Picture Placeholder 5">
            <a:extLst>
              <a:ext uri="{FF2B5EF4-FFF2-40B4-BE49-F238E27FC236}">
                <a16:creationId xmlns:a16="http://schemas.microsoft.com/office/drawing/2014/main" id="{82D39170-48C3-4960-8251-B18662DAF534}"/>
              </a:ext>
            </a:extLst>
          </p:cNvPr>
          <p:cNvSpPr>
            <a:spLocks noGrp="1"/>
          </p:cNvSpPr>
          <p:nvPr>
            <p:ph type="pic" sz="quarter" idx="10" hasCustomPrompt="1"/>
          </p:nvPr>
        </p:nvSpPr>
        <p:spPr>
          <a:xfrm>
            <a:off x="4573905" y="1648460"/>
            <a:ext cx="7096125" cy="4572000"/>
          </a:xfrm>
          <a:solidFill>
            <a:schemeClr val="bg1">
              <a:lumMod val="95000"/>
            </a:schemeClr>
          </a:solidFill>
          <a:ln w="9525">
            <a:gradFill>
              <a:gsLst>
                <a:gs pos="100000">
                  <a:schemeClr val="bg2"/>
                </a:gs>
                <a:gs pos="0">
                  <a:schemeClr val="tx1"/>
                </a:gs>
              </a:gsLst>
              <a:lin ang="2700000" scaled="0"/>
            </a:gradFill>
          </a:ln>
        </p:spPr>
        <p:style>
          <a:lnRef idx="1">
            <a:schemeClr val="accent1"/>
          </a:lnRef>
          <a:fillRef idx="0">
            <a:schemeClr val="accent1"/>
          </a:fillRef>
          <a:effectRef idx="0">
            <a:schemeClr val="accent1"/>
          </a:effectRef>
          <a:fontRef idx="minor">
            <a:schemeClr val="tx1"/>
          </a:fontRef>
        </p:style>
        <p:txBody>
          <a:bodyPr tIns="1645920"/>
          <a:lstStyle>
            <a:lvl1pPr marL="0" indent="0" algn="ctr">
              <a:buFontTx/>
              <a:buNone/>
              <a:defRPr>
                <a:solidFill>
                  <a:schemeClr val="tx1"/>
                </a:solidFill>
              </a:defRPr>
            </a:lvl1pPr>
          </a:lstStyle>
          <a:p>
            <a:r>
              <a:rPr lang="en-US" dirty="0"/>
              <a:t>Insert picture</a:t>
            </a:r>
          </a:p>
        </p:txBody>
      </p:sp>
      <p:sp>
        <p:nvSpPr>
          <p:cNvPr id="2" name="Title 1">
            <a:extLst>
              <a:ext uri="{FF2B5EF4-FFF2-40B4-BE49-F238E27FC236}">
                <a16:creationId xmlns:a16="http://schemas.microsoft.com/office/drawing/2014/main" id="{F6E69CCC-D78C-4592-9155-75F363BF7096}"/>
              </a:ext>
            </a:extLst>
          </p:cNvPr>
          <p:cNvSpPr>
            <a:spLocks noGrp="1"/>
          </p:cNvSpPr>
          <p:nvPr>
            <p:ph type="title" hasCustomPrompt="1"/>
          </p:nvPr>
        </p:nvSpPr>
        <p:spPr/>
        <p:txBody>
          <a:bodyPr/>
          <a:lstStyle>
            <a:lvl1pPr>
              <a:defRPr/>
            </a:lvl1pPr>
          </a:lstStyle>
          <a:p>
            <a:r>
              <a:rPr lang="en-US" dirty="0"/>
              <a:t>add title – keep it brief</a:t>
            </a:r>
          </a:p>
        </p:txBody>
      </p:sp>
      <p:sp>
        <p:nvSpPr>
          <p:cNvPr id="16" name="Freeform: Shape 15">
            <a:extLst>
              <a:ext uri="{FF2B5EF4-FFF2-40B4-BE49-F238E27FC236}">
                <a16:creationId xmlns:a16="http://schemas.microsoft.com/office/drawing/2014/main" id="{DFBEEA6F-668D-442E-A0D4-9939E1D82CB5}"/>
              </a:ext>
            </a:extLst>
          </p:cNvPr>
          <p:cNvSpPr/>
          <p:nvPr userDrawn="1"/>
        </p:nvSpPr>
        <p:spPr>
          <a:xfrm>
            <a:off x="4573905" y="1465962"/>
            <a:ext cx="5252910" cy="24257"/>
          </a:xfrm>
          <a:custGeom>
            <a:avLst/>
            <a:gdLst>
              <a:gd name="connsiteX0" fmla="*/ 5252910 w 5252910"/>
              <a:gd name="connsiteY0" fmla="*/ 24257 h 24257"/>
              <a:gd name="connsiteX1" fmla="*/ 4848860 w 5252910"/>
              <a:gd name="connsiteY1" fmla="*/ 24257 h 24257"/>
              <a:gd name="connsiteX2" fmla="*/ 4848860 w 5252910"/>
              <a:gd name="connsiteY2" fmla="*/ 0 h 24257"/>
              <a:gd name="connsiteX3" fmla="*/ 5252910 w 5252910"/>
              <a:gd name="connsiteY3" fmla="*/ 0 h 24257"/>
              <a:gd name="connsiteX4" fmla="*/ 5252910 w 5252910"/>
              <a:gd name="connsiteY4" fmla="*/ 24257 h 24257"/>
              <a:gd name="connsiteX5" fmla="*/ 4444746 w 5252910"/>
              <a:gd name="connsiteY5" fmla="*/ 24257 h 24257"/>
              <a:gd name="connsiteX6" fmla="*/ 4040696 w 5252910"/>
              <a:gd name="connsiteY6" fmla="*/ 24257 h 24257"/>
              <a:gd name="connsiteX7" fmla="*/ 4040696 w 5252910"/>
              <a:gd name="connsiteY7" fmla="*/ 0 h 24257"/>
              <a:gd name="connsiteX8" fmla="*/ 4444746 w 5252910"/>
              <a:gd name="connsiteY8" fmla="*/ 0 h 24257"/>
              <a:gd name="connsiteX9" fmla="*/ 4444746 w 5252910"/>
              <a:gd name="connsiteY9" fmla="*/ 24257 h 24257"/>
              <a:gd name="connsiteX10" fmla="*/ 3636645 w 5252910"/>
              <a:gd name="connsiteY10" fmla="*/ 24257 h 24257"/>
              <a:gd name="connsiteX11" fmla="*/ 3232594 w 5252910"/>
              <a:gd name="connsiteY11" fmla="*/ 24257 h 24257"/>
              <a:gd name="connsiteX12" fmla="*/ 3232594 w 5252910"/>
              <a:gd name="connsiteY12" fmla="*/ 0 h 24257"/>
              <a:gd name="connsiteX13" fmla="*/ 3636645 w 5252910"/>
              <a:gd name="connsiteY13" fmla="*/ 0 h 24257"/>
              <a:gd name="connsiteX14" fmla="*/ 3636645 w 5252910"/>
              <a:gd name="connsiteY14" fmla="*/ 24257 h 24257"/>
              <a:gd name="connsiteX15" fmla="*/ 2828481 w 5252910"/>
              <a:gd name="connsiteY15" fmla="*/ 24257 h 24257"/>
              <a:gd name="connsiteX16" fmla="*/ 2424430 w 5252910"/>
              <a:gd name="connsiteY16" fmla="*/ 24257 h 24257"/>
              <a:gd name="connsiteX17" fmla="*/ 2424430 w 5252910"/>
              <a:gd name="connsiteY17" fmla="*/ 0 h 24257"/>
              <a:gd name="connsiteX18" fmla="*/ 2828481 w 5252910"/>
              <a:gd name="connsiteY18" fmla="*/ 0 h 24257"/>
              <a:gd name="connsiteX19" fmla="*/ 2828481 w 5252910"/>
              <a:gd name="connsiteY19" fmla="*/ 24257 h 24257"/>
              <a:gd name="connsiteX20" fmla="*/ 2020316 w 5252910"/>
              <a:gd name="connsiteY20" fmla="*/ 24257 h 24257"/>
              <a:gd name="connsiteX21" fmla="*/ 1616266 w 5252910"/>
              <a:gd name="connsiteY21" fmla="*/ 24257 h 24257"/>
              <a:gd name="connsiteX22" fmla="*/ 1616266 w 5252910"/>
              <a:gd name="connsiteY22" fmla="*/ 0 h 24257"/>
              <a:gd name="connsiteX23" fmla="*/ 2020316 w 5252910"/>
              <a:gd name="connsiteY23" fmla="*/ 0 h 24257"/>
              <a:gd name="connsiteX24" fmla="*/ 2020316 w 5252910"/>
              <a:gd name="connsiteY24" fmla="*/ 24257 h 24257"/>
              <a:gd name="connsiteX25" fmla="*/ 1212215 w 5252910"/>
              <a:gd name="connsiteY25" fmla="*/ 24257 h 24257"/>
              <a:gd name="connsiteX26" fmla="*/ 808164 w 5252910"/>
              <a:gd name="connsiteY26" fmla="*/ 24257 h 24257"/>
              <a:gd name="connsiteX27" fmla="*/ 808164 w 5252910"/>
              <a:gd name="connsiteY27" fmla="*/ 0 h 24257"/>
              <a:gd name="connsiteX28" fmla="*/ 1212215 w 5252910"/>
              <a:gd name="connsiteY28" fmla="*/ 0 h 24257"/>
              <a:gd name="connsiteX29" fmla="*/ 1212215 w 5252910"/>
              <a:gd name="connsiteY29" fmla="*/ 24257 h 24257"/>
              <a:gd name="connsiteX30" fmla="*/ 404051 w 5252910"/>
              <a:gd name="connsiteY30" fmla="*/ 24257 h 24257"/>
              <a:gd name="connsiteX31" fmla="*/ 0 w 5252910"/>
              <a:gd name="connsiteY31" fmla="*/ 24257 h 24257"/>
              <a:gd name="connsiteX32" fmla="*/ 0 w 5252910"/>
              <a:gd name="connsiteY32" fmla="*/ 0 h 24257"/>
              <a:gd name="connsiteX33" fmla="*/ 404051 w 5252910"/>
              <a:gd name="connsiteY33" fmla="*/ 0 h 24257"/>
              <a:gd name="connsiteX34" fmla="*/ 404051 w 5252910"/>
              <a:gd name="connsiteY34" fmla="*/ 24257 h 242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5252910" h="24257">
                <a:moveTo>
                  <a:pt x="5252910" y="24257"/>
                </a:moveTo>
                <a:lnTo>
                  <a:pt x="4848860" y="24257"/>
                </a:lnTo>
                <a:lnTo>
                  <a:pt x="4848860" y="0"/>
                </a:lnTo>
                <a:lnTo>
                  <a:pt x="5252910" y="0"/>
                </a:lnTo>
                <a:lnTo>
                  <a:pt x="5252910" y="24257"/>
                </a:lnTo>
                <a:close/>
                <a:moveTo>
                  <a:pt x="4444746" y="24257"/>
                </a:moveTo>
                <a:lnTo>
                  <a:pt x="4040696" y="24257"/>
                </a:lnTo>
                <a:lnTo>
                  <a:pt x="4040696" y="0"/>
                </a:lnTo>
                <a:lnTo>
                  <a:pt x="4444746" y="0"/>
                </a:lnTo>
                <a:lnTo>
                  <a:pt x="4444746" y="24257"/>
                </a:lnTo>
                <a:close/>
                <a:moveTo>
                  <a:pt x="3636645" y="24257"/>
                </a:moveTo>
                <a:lnTo>
                  <a:pt x="3232594" y="24257"/>
                </a:lnTo>
                <a:lnTo>
                  <a:pt x="3232594" y="0"/>
                </a:lnTo>
                <a:lnTo>
                  <a:pt x="3636645" y="0"/>
                </a:lnTo>
                <a:lnTo>
                  <a:pt x="3636645" y="24257"/>
                </a:lnTo>
                <a:close/>
                <a:moveTo>
                  <a:pt x="2828481" y="24257"/>
                </a:moveTo>
                <a:lnTo>
                  <a:pt x="2424430" y="24257"/>
                </a:lnTo>
                <a:lnTo>
                  <a:pt x="2424430" y="0"/>
                </a:lnTo>
                <a:lnTo>
                  <a:pt x="2828481" y="0"/>
                </a:lnTo>
                <a:lnTo>
                  <a:pt x="2828481" y="24257"/>
                </a:lnTo>
                <a:close/>
                <a:moveTo>
                  <a:pt x="2020316" y="24257"/>
                </a:moveTo>
                <a:lnTo>
                  <a:pt x="1616266" y="24257"/>
                </a:lnTo>
                <a:lnTo>
                  <a:pt x="1616266" y="0"/>
                </a:lnTo>
                <a:lnTo>
                  <a:pt x="2020316" y="0"/>
                </a:lnTo>
                <a:lnTo>
                  <a:pt x="2020316" y="24257"/>
                </a:lnTo>
                <a:close/>
                <a:moveTo>
                  <a:pt x="1212215" y="24257"/>
                </a:moveTo>
                <a:lnTo>
                  <a:pt x="808164" y="24257"/>
                </a:lnTo>
                <a:lnTo>
                  <a:pt x="808164" y="0"/>
                </a:lnTo>
                <a:lnTo>
                  <a:pt x="1212215" y="0"/>
                </a:lnTo>
                <a:lnTo>
                  <a:pt x="1212215" y="24257"/>
                </a:lnTo>
                <a:close/>
                <a:moveTo>
                  <a:pt x="404051" y="24257"/>
                </a:moveTo>
                <a:lnTo>
                  <a:pt x="0" y="24257"/>
                </a:lnTo>
                <a:lnTo>
                  <a:pt x="0" y="0"/>
                </a:lnTo>
                <a:lnTo>
                  <a:pt x="404051" y="0"/>
                </a:lnTo>
                <a:lnTo>
                  <a:pt x="404051" y="24257"/>
                </a:lnTo>
                <a:close/>
              </a:path>
            </a:pathLst>
          </a:custGeom>
          <a:solidFill>
            <a:srgbClr val="6FBE4A"/>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grpSp>
        <p:nvGrpSpPr>
          <p:cNvPr id="17" name="Graphic 42">
            <a:extLst>
              <a:ext uri="{FF2B5EF4-FFF2-40B4-BE49-F238E27FC236}">
                <a16:creationId xmlns:a16="http://schemas.microsoft.com/office/drawing/2014/main" id="{4462BEFA-F6BE-408A-8CBD-DDC5B03EF6CF}"/>
              </a:ext>
            </a:extLst>
          </p:cNvPr>
          <p:cNvGrpSpPr/>
          <p:nvPr userDrawn="1"/>
        </p:nvGrpSpPr>
        <p:grpSpPr>
          <a:xfrm>
            <a:off x="5040122" y="1453579"/>
            <a:ext cx="4312158" cy="55752"/>
            <a:chOff x="1962277" y="6465887"/>
            <a:chExt cx="4312158" cy="55752"/>
          </a:xfrm>
          <a:solidFill>
            <a:srgbClr val="B3B3B3"/>
          </a:solidFill>
        </p:grpSpPr>
        <p:grpSp>
          <p:nvGrpSpPr>
            <p:cNvPr id="18" name="Graphic 42">
              <a:extLst>
                <a:ext uri="{FF2B5EF4-FFF2-40B4-BE49-F238E27FC236}">
                  <a16:creationId xmlns:a16="http://schemas.microsoft.com/office/drawing/2014/main" id="{6C414D36-83CA-494E-90F0-B5BB4912F8F4}"/>
                </a:ext>
              </a:extLst>
            </p:cNvPr>
            <p:cNvGrpSpPr/>
            <p:nvPr/>
          </p:nvGrpSpPr>
          <p:grpSpPr>
            <a:xfrm>
              <a:off x="1962277" y="6465887"/>
              <a:ext cx="275081" cy="55752"/>
              <a:chOff x="1962277" y="6465887"/>
              <a:chExt cx="275081" cy="55752"/>
            </a:xfrm>
            <a:solidFill>
              <a:srgbClr val="B3B3B3"/>
            </a:solidFill>
          </p:grpSpPr>
          <p:sp>
            <p:nvSpPr>
              <p:cNvPr id="44" name="Freeform: Shape 43">
                <a:extLst>
                  <a:ext uri="{FF2B5EF4-FFF2-40B4-BE49-F238E27FC236}">
                    <a16:creationId xmlns:a16="http://schemas.microsoft.com/office/drawing/2014/main" id="{F12D98FB-8347-49AC-981B-0836C07DF466}"/>
                  </a:ext>
                </a:extLst>
              </p:cNvPr>
              <p:cNvSpPr/>
              <p:nvPr/>
            </p:nvSpPr>
            <p:spPr>
              <a:xfrm>
                <a:off x="2229294" y="6465887"/>
                <a:ext cx="8064" cy="55752"/>
              </a:xfrm>
              <a:custGeom>
                <a:avLst/>
                <a:gdLst>
                  <a:gd name="connsiteX0" fmla="*/ 0 w 8064"/>
                  <a:gd name="connsiteY0" fmla="*/ 0 h 55752"/>
                  <a:gd name="connsiteX1" fmla="*/ 8064 w 8064"/>
                  <a:gd name="connsiteY1" fmla="*/ 0 h 55752"/>
                  <a:gd name="connsiteX2" fmla="*/ 8064 w 8064"/>
                  <a:gd name="connsiteY2" fmla="*/ 55753 h 55752"/>
                  <a:gd name="connsiteX3" fmla="*/ 0 w 8064"/>
                  <a:gd name="connsiteY3" fmla="*/ 55753 h 55752"/>
                </a:gdLst>
                <a:ahLst/>
                <a:cxnLst>
                  <a:cxn ang="0">
                    <a:pos x="connsiteX0" y="connsiteY0"/>
                  </a:cxn>
                  <a:cxn ang="0">
                    <a:pos x="connsiteX1" y="connsiteY1"/>
                  </a:cxn>
                  <a:cxn ang="0">
                    <a:pos x="connsiteX2" y="connsiteY2"/>
                  </a:cxn>
                  <a:cxn ang="0">
                    <a:pos x="connsiteX3" y="connsiteY3"/>
                  </a:cxn>
                </a:cxnLst>
                <a:rect l="l" t="t" r="r" b="b"/>
                <a:pathLst>
                  <a:path w="8064" h="55752">
                    <a:moveTo>
                      <a:pt x="0" y="0"/>
                    </a:moveTo>
                    <a:lnTo>
                      <a:pt x="8064" y="0"/>
                    </a:lnTo>
                    <a:lnTo>
                      <a:pt x="8064" y="55753"/>
                    </a:lnTo>
                    <a:lnTo>
                      <a:pt x="0" y="55753"/>
                    </a:lnTo>
                    <a:close/>
                  </a:path>
                </a:pathLst>
              </a:custGeom>
              <a:solidFill>
                <a:srgbClr val="B3B3B3"/>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45" name="Freeform: Shape 44">
                <a:extLst>
                  <a:ext uri="{FF2B5EF4-FFF2-40B4-BE49-F238E27FC236}">
                    <a16:creationId xmlns:a16="http://schemas.microsoft.com/office/drawing/2014/main" id="{25515A06-384F-4412-B81B-CC4CC0CA36F9}"/>
                  </a:ext>
                </a:extLst>
              </p:cNvPr>
              <p:cNvSpPr/>
              <p:nvPr/>
            </p:nvSpPr>
            <p:spPr>
              <a:xfrm>
                <a:off x="2133092" y="6465887"/>
                <a:ext cx="8064" cy="55752"/>
              </a:xfrm>
              <a:custGeom>
                <a:avLst/>
                <a:gdLst>
                  <a:gd name="connsiteX0" fmla="*/ 0 w 8064"/>
                  <a:gd name="connsiteY0" fmla="*/ 0 h 55752"/>
                  <a:gd name="connsiteX1" fmla="*/ 8065 w 8064"/>
                  <a:gd name="connsiteY1" fmla="*/ 0 h 55752"/>
                  <a:gd name="connsiteX2" fmla="*/ 8065 w 8064"/>
                  <a:gd name="connsiteY2" fmla="*/ 55753 h 55752"/>
                  <a:gd name="connsiteX3" fmla="*/ 0 w 8064"/>
                  <a:gd name="connsiteY3" fmla="*/ 55753 h 55752"/>
                </a:gdLst>
                <a:ahLst/>
                <a:cxnLst>
                  <a:cxn ang="0">
                    <a:pos x="connsiteX0" y="connsiteY0"/>
                  </a:cxn>
                  <a:cxn ang="0">
                    <a:pos x="connsiteX1" y="connsiteY1"/>
                  </a:cxn>
                  <a:cxn ang="0">
                    <a:pos x="connsiteX2" y="connsiteY2"/>
                  </a:cxn>
                  <a:cxn ang="0">
                    <a:pos x="connsiteX3" y="connsiteY3"/>
                  </a:cxn>
                </a:cxnLst>
                <a:rect l="l" t="t" r="r" b="b"/>
                <a:pathLst>
                  <a:path w="8064" h="55752">
                    <a:moveTo>
                      <a:pt x="0" y="0"/>
                    </a:moveTo>
                    <a:lnTo>
                      <a:pt x="8065" y="0"/>
                    </a:lnTo>
                    <a:lnTo>
                      <a:pt x="8065" y="55753"/>
                    </a:lnTo>
                    <a:lnTo>
                      <a:pt x="0" y="55753"/>
                    </a:lnTo>
                    <a:close/>
                  </a:path>
                </a:pathLst>
              </a:custGeom>
              <a:solidFill>
                <a:srgbClr val="B3B3B3"/>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46" name="Freeform: Shape 45">
                <a:extLst>
                  <a:ext uri="{FF2B5EF4-FFF2-40B4-BE49-F238E27FC236}">
                    <a16:creationId xmlns:a16="http://schemas.microsoft.com/office/drawing/2014/main" id="{FD3D9B1C-CA80-4F23-B321-AF615A9E00C6}"/>
                  </a:ext>
                </a:extLst>
              </p:cNvPr>
              <p:cNvSpPr/>
              <p:nvPr/>
            </p:nvSpPr>
            <p:spPr>
              <a:xfrm>
                <a:off x="2049526" y="6465887"/>
                <a:ext cx="8064" cy="55752"/>
              </a:xfrm>
              <a:custGeom>
                <a:avLst/>
                <a:gdLst>
                  <a:gd name="connsiteX0" fmla="*/ 0 w 8064"/>
                  <a:gd name="connsiteY0" fmla="*/ 0 h 55752"/>
                  <a:gd name="connsiteX1" fmla="*/ 8064 w 8064"/>
                  <a:gd name="connsiteY1" fmla="*/ 0 h 55752"/>
                  <a:gd name="connsiteX2" fmla="*/ 8064 w 8064"/>
                  <a:gd name="connsiteY2" fmla="*/ 55753 h 55752"/>
                  <a:gd name="connsiteX3" fmla="*/ 0 w 8064"/>
                  <a:gd name="connsiteY3" fmla="*/ 55753 h 55752"/>
                </a:gdLst>
                <a:ahLst/>
                <a:cxnLst>
                  <a:cxn ang="0">
                    <a:pos x="connsiteX0" y="connsiteY0"/>
                  </a:cxn>
                  <a:cxn ang="0">
                    <a:pos x="connsiteX1" y="connsiteY1"/>
                  </a:cxn>
                  <a:cxn ang="0">
                    <a:pos x="connsiteX2" y="connsiteY2"/>
                  </a:cxn>
                  <a:cxn ang="0">
                    <a:pos x="connsiteX3" y="connsiteY3"/>
                  </a:cxn>
                </a:cxnLst>
                <a:rect l="l" t="t" r="r" b="b"/>
                <a:pathLst>
                  <a:path w="8064" h="55752">
                    <a:moveTo>
                      <a:pt x="0" y="0"/>
                    </a:moveTo>
                    <a:lnTo>
                      <a:pt x="8064" y="0"/>
                    </a:lnTo>
                    <a:lnTo>
                      <a:pt x="8064" y="55753"/>
                    </a:lnTo>
                    <a:lnTo>
                      <a:pt x="0" y="55753"/>
                    </a:lnTo>
                    <a:close/>
                  </a:path>
                </a:pathLst>
              </a:custGeom>
              <a:solidFill>
                <a:srgbClr val="B3B3B3"/>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47" name="Freeform: Shape 46">
                <a:extLst>
                  <a:ext uri="{FF2B5EF4-FFF2-40B4-BE49-F238E27FC236}">
                    <a16:creationId xmlns:a16="http://schemas.microsoft.com/office/drawing/2014/main" id="{A61D8D8A-1848-4FF2-A8B9-EAA9E4FA6C9A}"/>
                  </a:ext>
                </a:extLst>
              </p:cNvPr>
              <p:cNvSpPr/>
              <p:nvPr/>
            </p:nvSpPr>
            <p:spPr>
              <a:xfrm>
                <a:off x="1962277" y="6465887"/>
                <a:ext cx="8064" cy="55752"/>
              </a:xfrm>
              <a:custGeom>
                <a:avLst/>
                <a:gdLst>
                  <a:gd name="connsiteX0" fmla="*/ 0 w 8064"/>
                  <a:gd name="connsiteY0" fmla="*/ 0 h 55752"/>
                  <a:gd name="connsiteX1" fmla="*/ 8064 w 8064"/>
                  <a:gd name="connsiteY1" fmla="*/ 0 h 55752"/>
                  <a:gd name="connsiteX2" fmla="*/ 8064 w 8064"/>
                  <a:gd name="connsiteY2" fmla="*/ 55753 h 55752"/>
                  <a:gd name="connsiteX3" fmla="*/ 0 w 8064"/>
                  <a:gd name="connsiteY3" fmla="*/ 55753 h 55752"/>
                </a:gdLst>
                <a:ahLst/>
                <a:cxnLst>
                  <a:cxn ang="0">
                    <a:pos x="connsiteX0" y="connsiteY0"/>
                  </a:cxn>
                  <a:cxn ang="0">
                    <a:pos x="connsiteX1" y="connsiteY1"/>
                  </a:cxn>
                  <a:cxn ang="0">
                    <a:pos x="connsiteX2" y="connsiteY2"/>
                  </a:cxn>
                  <a:cxn ang="0">
                    <a:pos x="connsiteX3" y="connsiteY3"/>
                  </a:cxn>
                </a:cxnLst>
                <a:rect l="l" t="t" r="r" b="b"/>
                <a:pathLst>
                  <a:path w="8064" h="55752">
                    <a:moveTo>
                      <a:pt x="0" y="0"/>
                    </a:moveTo>
                    <a:lnTo>
                      <a:pt x="8064" y="0"/>
                    </a:lnTo>
                    <a:lnTo>
                      <a:pt x="8064" y="55753"/>
                    </a:lnTo>
                    <a:lnTo>
                      <a:pt x="0" y="55753"/>
                    </a:lnTo>
                    <a:close/>
                  </a:path>
                </a:pathLst>
              </a:custGeom>
              <a:solidFill>
                <a:srgbClr val="B3B3B3"/>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grpSp>
        <p:grpSp>
          <p:nvGrpSpPr>
            <p:cNvPr id="19" name="Graphic 42">
              <a:extLst>
                <a:ext uri="{FF2B5EF4-FFF2-40B4-BE49-F238E27FC236}">
                  <a16:creationId xmlns:a16="http://schemas.microsoft.com/office/drawing/2014/main" id="{C8188640-B60E-4D12-8195-2CC09242B9F0}"/>
                </a:ext>
              </a:extLst>
            </p:cNvPr>
            <p:cNvGrpSpPr/>
            <p:nvPr/>
          </p:nvGrpSpPr>
          <p:grpSpPr>
            <a:xfrm>
              <a:off x="2767584" y="6465887"/>
              <a:ext cx="275081" cy="55752"/>
              <a:chOff x="2767584" y="6465887"/>
              <a:chExt cx="275081" cy="55752"/>
            </a:xfrm>
            <a:solidFill>
              <a:srgbClr val="B3B3B3"/>
            </a:solidFill>
          </p:grpSpPr>
          <p:sp>
            <p:nvSpPr>
              <p:cNvPr id="40" name="Freeform: Shape 39">
                <a:extLst>
                  <a:ext uri="{FF2B5EF4-FFF2-40B4-BE49-F238E27FC236}">
                    <a16:creationId xmlns:a16="http://schemas.microsoft.com/office/drawing/2014/main" id="{3AED701D-F446-4BF2-B9AB-AD1DE14D2221}"/>
                  </a:ext>
                </a:extLst>
              </p:cNvPr>
              <p:cNvSpPr/>
              <p:nvPr/>
            </p:nvSpPr>
            <p:spPr>
              <a:xfrm>
                <a:off x="3034601" y="6465887"/>
                <a:ext cx="8064" cy="55752"/>
              </a:xfrm>
              <a:custGeom>
                <a:avLst/>
                <a:gdLst>
                  <a:gd name="connsiteX0" fmla="*/ 0 w 8064"/>
                  <a:gd name="connsiteY0" fmla="*/ 0 h 55752"/>
                  <a:gd name="connsiteX1" fmla="*/ 8065 w 8064"/>
                  <a:gd name="connsiteY1" fmla="*/ 0 h 55752"/>
                  <a:gd name="connsiteX2" fmla="*/ 8065 w 8064"/>
                  <a:gd name="connsiteY2" fmla="*/ 55753 h 55752"/>
                  <a:gd name="connsiteX3" fmla="*/ 0 w 8064"/>
                  <a:gd name="connsiteY3" fmla="*/ 55753 h 55752"/>
                </a:gdLst>
                <a:ahLst/>
                <a:cxnLst>
                  <a:cxn ang="0">
                    <a:pos x="connsiteX0" y="connsiteY0"/>
                  </a:cxn>
                  <a:cxn ang="0">
                    <a:pos x="connsiteX1" y="connsiteY1"/>
                  </a:cxn>
                  <a:cxn ang="0">
                    <a:pos x="connsiteX2" y="connsiteY2"/>
                  </a:cxn>
                  <a:cxn ang="0">
                    <a:pos x="connsiteX3" y="connsiteY3"/>
                  </a:cxn>
                </a:cxnLst>
                <a:rect l="l" t="t" r="r" b="b"/>
                <a:pathLst>
                  <a:path w="8064" h="55752">
                    <a:moveTo>
                      <a:pt x="0" y="0"/>
                    </a:moveTo>
                    <a:lnTo>
                      <a:pt x="8065" y="0"/>
                    </a:lnTo>
                    <a:lnTo>
                      <a:pt x="8065" y="55753"/>
                    </a:lnTo>
                    <a:lnTo>
                      <a:pt x="0" y="55753"/>
                    </a:lnTo>
                    <a:close/>
                  </a:path>
                </a:pathLst>
              </a:custGeom>
              <a:solidFill>
                <a:srgbClr val="B3B3B3"/>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41" name="Freeform: Shape 40">
                <a:extLst>
                  <a:ext uri="{FF2B5EF4-FFF2-40B4-BE49-F238E27FC236}">
                    <a16:creationId xmlns:a16="http://schemas.microsoft.com/office/drawing/2014/main" id="{B786866A-0184-4A50-A38D-04AD7C97E460}"/>
                  </a:ext>
                </a:extLst>
              </p:cNvPr>
              <p:cNvSpPr/>
              <p:nvPr/>
            </p:nvSpPr>
            <p:spPr>
              <a:xfrm>
                <a:off x="2938399" y="6465887"/>
                <a:ext cx="8064" cy="55752"/>
              </a:xfrm>
              <a:custGeom>
                <a:avLst/>
                <a:gdLst>
                  <a:gd name="connsiteX0" fmla="*/ 0 w 8064"/>
                  <a:gd name="connsiteY0" fmla="*/ 0 h 55752"/>
                  <a:gd name="connsiteX1" fmla="*/ 8064 w 8064"/>
                  <a:gd name="connsiteY1" fmla="*/ 0 h 55752"/>
                  <a:gd name="connsiteX2" fmla="*/ 8064 w 8064"/>
                  <a:gd name="connsiteY2" fmla="*/ 55753 h 55752"/>
                  <a:gd name="connsiteX3" fmla="*/ 0 w 8064"/>
                  <a:gd name="connsiteY3" fmla="*/ 55753 h 55752"/>
                </a:gdLst>
                <a:ahLst/>
                <a:cxnLst>
                  <a:cxn ang="0">
                    <a:pos x="connsiteX0" y="connsiteY0"/>
                  </a:cxn>
                  <a:cxn ang="0">
                    <a:pos x="connsiteX1" y="connsiteY1"/>
                  </a:cxn>
                  <a:cxn ang="0">
                    <a:pos x="connsiteX2" y="connsiteY2"/>
                  </a:cxn>
                  <a:cxn ang="0">
                    <a:pos x="connsiteX3" y="connsiteY3"/>
                  </a:cxn>
                </a:cxnLst>
                <a:rect l="l" t="t" r="r" b="b"/>
                <a:pathLst>
                  <a:path w="8064" h="55752">
                    <a:moveTo>
                      <a:pt x="0" y="0"/>
                    </a:moveTo>
                    <a:lnTo>
                      <a:pt x="8064" y="0"/>
                    </a:lnTo>
                    <a:lnTo>
                      <a:pt x="8064" y="55753"/>
                    </a:lnTo>
                    <a:lnTo>
                      <a:pt x="0" y="55753"/>
                    </a:lnTo>
                    <a:close/>
                  </a:path>
                </a:pathLst>
              </a:custGeom>
              <a:solidFill>
                <a:srgbClr val="B3B3B3"/>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42" name="Freeform: Shape 41">
                <a:extLst>
                  <a:ext uri="{FF2B5EF4-FFF2-40B4-BE49-F238E27FC236}">
                    <a16:creationId xmlns:a16="http://schemas.microsoft.com/office/drawing/2014/main" id="{22873B01-F29B-447F-8CA9-90773F021047}"/>
                  </a:ext>
                </a:extLst>
              </p:cNvPr>
              <p:cNvSpPr/>
              <p:nvPr/>
            </p:nvSpPr>
            <p:spPr>
              <a:xfrm>
                <a:off x="2854833" y="6465887"/>
                <a:ext cx="8064" cy="55752"/>
              </a:xfrm>
              <a:custGeom>
                <a:avLst/>
                <a:gdLst>
                  <a:gd name="connsiteX0" fmla="*/ 0 w 8064"/>
                  <a:gd name="connsiteY0" fmla="*/ 0 h 55752"/>
                  <a:gd name="connsiteX1" fmla="*/ 8064 w 8064"/>
                  <a:gd name="connsiteY1" fmla="*/ 0 h 55752"/>
                  <a:gd name="connsiteX2" fmla="*/ 8064 w 8064"/>
                  <a:gd name="connsiteY2" fmla="*/ 55753 h 55752"/>
                  <a:gd name="connsiteX3" fmla="*/ 0 w 8064"/>
                  <a:gd name="connsiteY3" fmla="*/ 55753 h 55752"/>
                </a:gdLst>
                <a:ahLst/>
                <a:cxnLst>
                  <a:cxn ang="0">
                    <a:pos x="connsiteX0" y="connsiteY0"/>
                  </a:cxn>
                  <a:cxn ang="0">
                    <a:pos x="connsiteX1" y="connsiteY1"/>
                  </a:cxn>
                  <a:cxn ang="0">
                    <a:pos x="connsiteX2" y="connsiteY2"/>
                  </a:cxn>
                  <a:cxn ang="0">
                    <a:pos x="connsiteX3" y="connsiteY3"/>
                  </a:cxn>
                </a:cxnLst>
                <a:rect l="l" t="t" r="r" b="b"/>
                <a:pathLst>
                  <a:path w="8064" h="55752">
                    <a:moveTo>
                      <a:pt x="0" y="0"/>
                    </a:moveTo>
                    <a:lnTo>
                      <a:pt x="8064" y="0"/>
                    </a:lnTo>
                    <a:lnTo>
                      <a:pt x="8064" y="55753"/>
                    </a:lnTo>
                    <a:lnTo>
                      <a:pt x="0" y="55753"/>
                    </a:lnTo>
                    <a:close/>
                  </a:path>
                </a:pathLst>
              </a:custGeom>
              <a:solidFill>
                <a:srgbClr val="B3B3B3"/>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43" name="Freeform: Shape 42">
                <a:extLst>
                  <a:ext uri="{FF2B5EF4-FFF2-40B4-BE49-F238E27FC236}">
                    <a16:creationId xmlns:a16="http://schemas.microsoft.com/office/drawing/2014/main" id="{39C3C78D-917D-49A6-9DA1-0AAD733B0081}"/>
                  </a:ext>
                </a:extLst>
              </p:cNvPr>
              <p:cNvSpPr/>
              <p:nvPr/>
            </p:nvSpPr>
            <p:spPr>
              <a:xfrm>
                <a:off x="2767584" y="6465887"/>
                <a:ext cx="8064" cy="55752"/>
              </a:xfrm>
              <a:custGeom>
                <a:avLst/>
                <a:gdLst>
                  <a:gd name="connsiteX0" fmla="*/ 0 w 8064"/>
                  <a:gd name="connsiteY0" fmla="*/ 0 h 55752"/>
                  <a:gd name="connsiteX1" fmla="*/ 8064 w 8064"/>
                  <a:gd name="connsiteY1" fmla="*/ 0 h 55752"/>
                  <a:gd name="connsiteX2" fmla="*/ 8064 w 8064"/>
                  <a:gd name="connsiteY2" fmla="*/ 55753 h 55752"/>
                  <a:gd name="connsiteX3" fmla="*/ 0 w 8064"/>
                  <a:gd name="connsiteY3" fmla="*/ 55753 h 55752"/>
                </a:gdLst>
                <a:ahLst/>
                <a:cxnLst>
                  <a:cxn ang="0">
                    <a:pos x="connsiteX0" y="connsiteY0"/>
                  </a:cxn>
                  <a:cxn ang="0">
                    <a:pos x="connsiteX1" y="connsiteY1"/>
                  </a:cxn>
                  <a:cxn ang="0">
                    <a:pos x="connsiteX2" y="connsiteY2"/>
                  </a:cxn>
                  <a:cxn ang="0">
                    <a:pos x="connsiteX3" y="connsiteY3"/>
                  </a:cxn>
                </a:cxnLst>
                <a:rect l="l" t="t" r="r" b="b"/>
                <a:pathLst>
                  <a:path w="8064" h="55752">
                    <a:moveTo>
                      <a:pt x="0" y="0"/>
                    </a:moveTo>
                    <a:lnTo>
                      <a:pt x="8064" y="0"/>
                    </a:lnTo>
                    <a:lnTo>
                      <a:pt x="8064" y="55753"/>
                    </a:lnTo>
                    <a:lnTo>
                      <a:pt x="0" y="55753"/>
                    </a:lnTo>
                    <a:close/>
                  </a:path>
                </a:pathLst>
              </a:custGeom>
              <a:solidFill>
                <a:srgbClr val="B3B3B3"/>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grpSp>
        <p:grpSp>
          <p:nvGrpSpPr>
            <p:cNvPr id="20" name="Graphic 42">
              <a:extLst>
                <a:ext uri="{FF2B5EF4-FFF2-40B4-BE49-F238E27FC236}">
                  <a16:creationId xmlns:a16="http://schemas.microsoft.com/office/drawing/2014/main" id="{0B318879-5799-428C-8F50-C87E1AAE34F9}"/>
                </a:ext>
              </a:extLst>
            </p:cNvPr>
            <p:cNvGrpSpPr/>
            <p:nvPr/>
          </p:nvGrpSpPr>
          <p:grpSpPr>
            <a:xfrm>
              <a:off x="3592067" y="6465887"/>
              <a:ext cx="275082" cy="55752"/>
              <a:chOff x="3592067" y="6465887"/>
              <a:chExt cx="275082" cy="55752"/>
            </a:xfrm>
            <a:solidFill>
              <a:srgbClr val="B3B3B3"/>
            </a:solidFill>
          </p:grpSpPr>
          <p:sp>
            <p:nvSpPr>
              <p:cNvPr id="36" name="Freeform: Shape 35">
                <a:extLst>
                  <a:ext uri="{FF2B5EF4-FFF2-40B4-BE49-F238E27FC236}">
                    <a16:creationId xmlns:a16="http://schemas.microsoft.com/office/drawing/2014/main" id="{12315CF7-1D26-45D3-8980-950C19FCA779}"/>
                  </a:ext>
                </a:extLst>
              </p:cNvPr>
              <p:cNvSpPr/>
              <p:nvPr/>
            </p:nvSpPr>
            <p:spPr>
              <a:xfrm>
                <a:off x="3859085" y="6465887"/>
                <a:ext cx="8064" cy="55752"/>
              </a:xfrm>
              <a:custGeom>
                <a:avLst/>
                <a:gdLst>
                  <a:gd name="connsiteX0" fmla="*/ 0 w 8064"/>
                  <a:gd name="connsiteY0" fmla="*/ 0 h 55752"/>
                  <a:gd name="connsiteX1" fmla="*/ 8065 w 8064"/>
                  <a:gd name="connsiteY1" fmla="*/ 0 h 55752"/>
                  <a:gd name="connsiteX2" fmla="*/ 8065 w 8064"/>
                  <a:gd name="connsiteY2" fmla="*/ 55753 h 55752"/>
                  <a:gd name="connsiteX3" fmla="*/ 0 w 8064"/>
                  <a:gd name="connsiteY3" fmla="*/ 55753 h 55752"/>
                </a:gdLst>
                <a:ahLst/>
                <a:cxnLst>
                  <a:cxn ang="0">
                    <a:pos x="connsiteX0" y="connsiteY0"/>
                  </a:cxn>
                  <a:cxn ang="0">
                    <a:pos x="connsiteX1" y="connsiteY1"/>
                  </a:cxn>
                  <a:cxn ang="0">
                    <a:pos x="connsiteX2" y="connsiteY2"/>
                  </a:cxn>
                  <a:cxn ang="0">
                    <a:pos x="connsiteX3" y="connsiteY3"/>
                  </a:cxn>
                </a:cxnLst>
                <a:rect l="l" t="t" r="r" b="b"/>
                <a:pathLst>
                  <a:path w="8064" h="55752">
                    <a:moveTo>
                      <a:pt x="0" y="0"/>
                    </a:moveTo>
                    <a:lnTo>
                      <a:pt x="8065" y="0"/>
                    </a:lnTo>
                    <a:lnTo>
                      <a:pt x="8065" y="55753"/>
                    </a:lnTo>
                    <a:lnTo>
                      <a:pt x="0" y="55753"/>
                    </a:lnTo>
                    <a:close/>
                  </a:path>
                </a:pathLst>
              </a:custGeom>
              <a:solidFill>
                <a:srgbClr val="B3B3B3"/>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37" name="Freeform: Shape 36">
                <a:extLst>
                  <a:ext uri="{FF2B5EF4-FFF2-40B4-BE49-F238E27FC236}">
                    <a16:creationId xmlns:a16="http://schemas.microsoft.com/office/drawing/2014/main" id="{75582EA7-D6B9-4B06-81FC-45EFF0D7FA1D}"/>
                  </a:ext>
                </a:extLst>
              </p:cNvPr>
              <p:cNvSpPr/>
              <p:nvPr/>
            </p:nvSpPr>
            <p:spPr>
              <a:xfrm>
                <a:off x="3762883" y="6465887"/>
                <a:ext cx="8064" cy="55752"/>
              </a:xfrm>
              <a:custGeom>
                <a:avLst/>
                <a:gdLst>
                  <a:gd name="connsiteX0" fmla="*/ 0 w 8064"/>
                  <a:gd name="connsiteY0" fmla="*/ 0 h 55752"/>
                  <a:gd name="connsiteX1" fmla="*/ 8065 w 8064"/>
                  <a:gd name="connsiteY1" fmla="*/ 0 h 55752"/>
                  <a:gd name="connsiteX2" fmla="*/ 8065 w 8064"/>
                  <a:gd name="connsiteY2" fmla="*/ 55753 h 55752"/>
                  <a:gd name="connsiteX3" fmla="*/ 0 w 8064"/>
                  <a:gd name="connsiteY3" fmla="*/ 55753 h 55752"/>
                </a:gdLst>
                <a:ahLst/>
                <a:cxnLst>
                  <a:cxn ang="0">
                    <a:pos x="connsiteX0" y="connsiteY0"/>
                  </a:cxn>
                  <a:cxn ang="0">
                    <a:pos x="connsiteX1" y="connsiteY1"/>
                  </a:cxn>
                  <a:cxn ang="0">
                    <a:pos x="connsiteX2" y="connsiteY2"/>
                  </a:cxn>
                  <a:cxn ang="0">
                    <a:pos x="connsiteX3" y="connsiteY3"/>
                  </a:cxn>
                </a:cxnLst>
                <a:rect l="l" t="t" r="r" b="b"/>
                <a:pathLst>
                  <a:path w="8064" h="55752">
                    <a:moveTo>
                      <a:pt x="0" y="0"/>
                    </a:moveTo>
                    <a:lnTo>
                      <a:pt x="8065" y="0"/>
                    </a:lnTo>
                    <a:lnTo>
                      <a:pt x="8065" y="55753"/>
                    </a:lnTo>
                    <a:lnTo>
                      <a:pt x="0" y="55753"/>
                    </a:lnTo>
                    <a:close/>
                  </a:path>
                </a:pathLst>
              </a:custGeom>
              <a:solidFill>
                <a:srgbClr val="B3B3B3"/>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38" name="Freeform: Shape 37">
                <a:extLst>
                  <a:ext uri="{FF2B5EF4-FFF2-40B4-BE49-F238E27FC236}">
                    <a16:creationId xmlns:a16="http://schemas.microsoft.com/office/drawing/2014/main" id="{4B32FF40-DA0D-43AF-9E1F-7F90B039619E}"/>
                  </a:ext>
                </a:extLst>
              </p:cNvPr>
              <p:cNvSpPr/>
              <p:nvPr/>
            </p:nvSpPr>
            <p:spPr>
              <a:xfrm>
                <a:off x="3679316" y="6465887"/>
                <a:ext cx="8064" cy="55752"/>
              </a:xfrm>
              <a:custGeom>
                <a:avLst/>
                <a:gdLst>
                  <a:gd name="connsiteX0" fmla="*/ 0 w 8064"/>
                  <a:gd name="connsiteY0" fmla="*/ 0 h 55752"/>
                  <a:gd name="connsiteX1" fmla="*/ 8065 w 8064"/>
                  <a:gd name="connsiteY1" fmla="*/ 0 h 55752"/>
                  <a:gd name="connsiteX2" fmla="*/ 8065 w 8064"/>
                  <a:gd name="connsiteY2" fmla="*/ 55753 h 55752"/>
                  <a:gd name="connsiteX3" fmla="*/ 0 w 8064"/>
                  <a:gd name="connsiteY3" fmla="*/ 55753 h 55752"/>
                </a:gdLst>
                <a:ahLst/>
                <a:cxnLst>
                  <a:cxn ang="0">
                    <a:pos x="connsiteX0" y="connsiteY0"/>
                  </a:cxn>
                  <a:cxn ang="0">
                    <a:pos x="connsiteX1" y="connsiteY1"/>
                  </a:cxn>
                  <a:cxn ang="0">
                    <a:pos x="connsiteX2" y="connsiteY2"/>
                  </a:cxn>
                  <a:cxn ang="0">
                    <a:pos x="connsiteX3" y="connsiteY3"/>
                  </a:cxn>
                </a:cxnLst>
                <a:rect l="l" t="t" r="r" b="b"/>
                <a:pathLst>
                  <a:path w="8064" h="55752">
                    <a:moveTo>
                      <a:pt x="0" y="0"/>
                    </a:moveTo>
                    <a:lnTo>
                      <a:pt x="8065" y="0"/>
                    </a:lnTo>
                    <a:lnTo>
                      <a:pt x="8065" y="55753"/>
                    </a:lnTo>
                    <a:lnTo>
                      <a:pt x="0" y="55753"/>
                    </a:lnTo>
                    <a:close/>
                  </a:path>
                </a:pathLst>
              </a:custGeom>
              <a:solidFill>
                <a:srgbClr val="B3B3B3"/>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39" name="Freeform: Shape 38">
                <a:extLst>
                  <a:ext uri="{FF2B5EF4-FFF2-40B4-BE49-F238E27FC236}">
                    <a16:creationId xmlns:a16="http://schemas.microsoft.com/office/drawing/2014/main" id="{65F385E7-62A0-4424-AA68-EC3AC5D492B0}"/>
                  </a:ext>
                </a:extLst>
              </p:cNvPr>
              <p:cNvSpPr/>
              <p:nvPr/>
            </p:nvSpPr>
            <p:spPr>
              <a:xfrm>
                <a:off x="3592067" y="6465887"/>
                <a:ext cx="8064" cy="55752"/>
              </a:xfrm>
              <a:custGeom>
                <a:avLst/>
                <a:gdLst>
                  <a:gd name="connsiteX0" fmla="*/ 0 w 8064"/>
                  <a:gd name="connsiteY0" fmla="*/ 0 h 55752"/>
                  <a:gd name="connsiteX1" fmla="*/ 8065 w 8064"/>
                  <a:gd name="connsiteY1" fmla="*/ 0 h 55752"/>
                  <a:gd name="connsiteX2" fmla="*/ 8065 w 8064"/>
                  <a:gd name="connsiteY2" fmla="*/ 55753 h 55752"/>
                  <a:gd name="connsiteX3" fmla="*/ 0 w 8064"/>
                  <a:gd name="connsiteY3" fmla="*/ 55753 h 55752"/>
                </a:gdLst>
                <a:ahLst/>
                <a:cxnLst>
                  <a:cxn ang="0">
                    <a:pos x="connsiteX0" y="connsiteY0"/>
                  </a:cxn>
                  <a:cxn ang="0">
                    <a:pos x="connsiteX1" y="connsiteY1"/>
                  </a:cxn>
                  <a:cxn ang="0">
                    <a:pos x="connsiteX2" y="connsiteY2"/>
                  </a:cxn>
                  <a:cxn ang="0">
                    <a:pos x="connsiteX3" y="connsiteY3"/>
                  </a:cxn>
                </a:cxnLst>
                <a:rect l="l" t="t" r="r" b="b"/>
                <a:pathLst>
                  <a:path w="8064" h="55752">
                    <a:moveTo>
                      <a:pt x="0" y="0"/>
                    </a:moveTo>
                    <a:lnTo>
                      <a:pt x="8065" y="0"/>
                    </a:lnTo>
                    <a:lnTo>
                      <a:pt x="8065" y="55753"/>
                    </a:lnTo>
                    <a:lnTo>
                      <a:pt x="0" y="55753"/>
                    </a:lnTo>
                    <a:close/>
                  </a:path>
                </a:pathLst>
              </a:custGeom>
              <a:solidFill>
                <a:srgbClr val="B3B3B3"/>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grpSp>
        <p:grpSp>
          <p:nvGrpSpPr>
            <p:cNvPr id="21" name="Graphic 42">
              <a:extLst>
                <a:ext uri="{FF2B5EF4-FFF2-40B4-BE49-F238E27FC236}">
                  <a16:creationId xmlns:a16="http://schemas.microsoft.com/office/drawing/2014/main" id="{3423C752-5534-4E66-A865-C988809C1E01}"/>
                </a:ext>
              </a:extLst>
            </p:cNvPr>
            <p:cNvGrpSpPr/>
            <p:nvPr/>
          </p:nvGrpSpPr>
          <p:grpSpPr>
            <a:xfrm>
              <a:off x="4397375" y="6465887"/>
              <a:ext cx="275081" cy="55752"/>
              <a:chOff x="4397375" y="6465887"/>
              <a:chExt cx="275081" cy="55752"/>
            </a:xfrm>
            <a:solidFill>
              <a:srgbClr val="B3B3B3"/>
            </a:solidFill>
          </p:grpSpPr>
          <p:sp>
            <p:nvSpPr>
              <p:cNvPr id="32" name="Freeform: Shape 31">
                <a:extLst>
                  <a:ext uri="{FF2B5EF4-FFF2-40B4-BE49-F238E27FC236}">
                    <a16:creationId xmlns:a16="http://schemas.microsoft.com/office/drawing/2014/main" id="{F6ADF341-7B9D-4DD8-9CA6-565A61A1D9F0}"/>
                  </a:ext>
                </a:extLst>
              </p:cNvPr>
              <p:cNvSpPr/>
              <p:nvPr/>
            </p:nvSpPr>
            <p:spPr>
              <a:xfrm>
                <a:off x="4664392" y="6465887"/>
                <a:ext cx="8064" cy="55752"/>
              </a:xfrm>
              <a:custGeom>
                <a:avLst/>
                <a:gdLst>
                  <a:gd name="connsiteX0" fmla="*/ 0 w 8064"/>
                  <a:gd name="connsiteY0" fmla="*/ 0 h 55752"/>
                  <a:gd name="connsiteX1" fmla="*/ 8065 w 8064"/>
                  <a:gd name="connsiteY1" fmla="*/ 0 h 55752"/>
                  <a:gd name="connsiteX2" fmla="*/ 8065 w 8064"/>
                  <a:gd name="connsiteY2" fmla="*/ 55753 h 55752"/>
                  <a:gd name="connsiteX3" fmla="*/ 0 w 8064"/>
                  <a:gd name="connsiteY3" fmla="*/ 55753 h 55752"/>
                </a:gdLst>
                <a:ahLst/>
                <a:cxnLst>
                  <a:cxn ang="0">
                    <a:pos x="connsiteX0" y="connsiteY0"/>
                  </a:cxn>
                  <a:cxn ang="0">
                    <a:pos x="connsiteX1" y="connsiteY1"/>
                  </a:cxn>
                  <a:cxn ang="0">
                    <a:pos x="connsiteX2" y="connsiteY2"/>
                  </a:cxn>
                  <a:cxn ang="0">
                    <a:pos x="connsiteX3" y="connsiteY3"/>
                  </a:cxn>
                </a:cxnLst>
                <a:rect l="l" t="t" r="r" b="b"/>
                <a:pathLst>
                  <a:path w="8064" h="55752">
                    <a:moveTo>
                      <a:pt x="0" y="0"/>
                    </a:moveTo>
                    <a:lnTo>
                      <a:pt x="8065" y="0"/>
                    </a:lnTo>
                    <a:lnTo>
                      <a:pt x="8065" y="55753"/>
                    </a:lnTo>
                    <a:lnTo>
                      <a:pt x="0" y="55753"/>
                    </a:lnTo>
                    <a:close/>
                  </a:path>
                </a:pathLst>
              </a:custGeom>
              <a:solidFill>
                <a:srgbClr val="B3B3B3"/>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33" name="Freeform: Shape 32">
                <a:extLst>
                  <a:ext uri="{FF2B5EF4-FFF2-40B4-BE49-F238E27FC236}">
                    <a16:creationId xmlns:a16="http://schemas.microsoft.com/office/drawing/2014/main" id="{3583D26D-856C-4A77-AE0D-3BA42CE1E584}"/>
                  </a:ext>
                </a:extLst>
              </p:cNvPr>
              <p:cNvSpPr/>
              <p:nvPr/>
            </p:nvSpPr>
            <p:spPr>
              <a:xfrm>
                <a:off x="4568190" y="6465887"/>
                <a:ext cx="8064" cy="55752"/>
              </a:xfrm>
              <a:custGeom>
                <a:avLst/>
                <a:gdLst>
                  <a:gd name="connsiteX0" fmla="*/ 0 w 8064"/>
                  <a:gd name="connsiteY0" fmla="*/ 0 h 55752"/>
                  <a:gd name="connsiteX1" fmla="*/ 8065 w 8064"/>
                  <a:gd name="connsiteY1" fmla="*/ 0 h 55752"/>
                  <a:gd name="connsiteX2" fmla="*/ 8065 w 8064"/>
                  <a:gd name="connsiteY2" fmla="*/ 55753 h 55752"/>
                  <a:gd name="connsiteX3" fmla="*/ 0 w 8064"/>
                  <a:gd name="connsiteY3" fmla="*/ 55753 h 55752"/>
                </a:gdLst>
                <a:ahLst/>
                <a:cxnLst>
                  <a:cxn ang="0">
                    <a:pos x="connsiteX0" y="connsiteY0"/>
                  </a:cxn>
                  <a:cxn ang="0">
                    <a:pos x="connsiteX1" y="connsiteY1"/>
                  </a:cxn>
                  <a:cxn ang="0">
                    <a:pos x="connsiteX2" y="connsiteY2"/>
                  </a:cxn>
                  <a:cxn ang="0">
                    <a:pos x="connsiteX3" y="connsiteY3"/>
                  </a:cxn>
                </a:cxnLst>
                <a:rect l="l" t="t" r="r" b="b"/>
                <a:pathLst>
                  <a:path w="8064" h="55752">
                    <a:moveTo>
                      <a:pt x="0" y="0"/>
                    </a:moveTo>
                    <a:lnTo>
                      <a:pt x="8065" y="0"/>
                    </a:lnTo>
                    <a:lnTo>
                      <a:pt x="8065" y="55753"/>
                    </a:lnTo>
                    <a:lnTo>
                      <a:pt x="0" y="55753"/>
                    </a:lnTo>
                    <a:close/>
                  </a:path>
                </a:pathLst>
              </a:custGeom>
              <a:solidFill>
                <a:srgbClr val="B3B3B3"/>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34" name="Freeform: Shape 33">
                <a:extLst>
                  <a:ext uri="{FF2B5EF4-FFF2-40B4-BE49-F238E27FC236}">
                    <a16:creationId xmlns:a16="http://schemas.microsoft.com/office/drawing/2014/main" id="{3AEFB025-6C70-433A-A300-828C72698CA9}"/>
                  </a:ext>
                </a:extLst>
              </p:cNvPr>
              <p:cNvSpPr/>
              <p:nvPr/>
            </p:nvSpPr>
            <p:spPr>
              <a:xfrm>
                <a:off x="4484624" y="6465887"/>
                <a:ext cx="8064" cy="55752"/>
              </a:xfrm>
              <a:custGeom>
                <a:avLst/>
                <a:gdLst>
                  <a:gd name="connsiteX0" fmla="*/ 0 w 8064"/>
                  <a:gd name="connsiteY0" fmla="*/ 0 h 55752"/>
                  <a:gd name="connsiteX1" fmla="*/ 8065 w 8064"/>
                  <a:gd name="connsiteY1" fmla="*/ 0 h 55752"/>
                  <a:gd name="connsiteX2" fmla="*/ 8065 w 8064"/>
                  <a:gd name="connsiteY2" fmla="*/ 55753 h 55752"/>
                  <a:gd name="connsiteX3" fmla="*/ 0 w 8064"/>
                  <a:gd name="connsiteY3" fmla="*/ 55753 h 55752"/>
                </a:gdLst>
                <a:ahLst/>
                <a:cxnLst>
                  <a:cxn ang="0">
                    <a:pos x="connsiteX0" y="connsiteY0"/>
                  </a:cxn>
                  <a:cxn ang="0">
                    <a:pos x="connsiteX1" y="connsiteY1"/>
                  </a:cxn>
                  <a:cxn ang="0">
                    <a:pos x="connsiteX2" y="connsiteY2"/>
                  </a:cxn>
                  <a:cxn ang="0">
                    <a:pos x="connsiteX3" y="connsiteY3"/>
                  </a:cxn>
                </a:cxnLst>
                <a:rect l="l" t="t" r="r" b="b"/>
                <a:pathLst>
                  <a:path w="8064" h="55752">
                    <a:moveTo>
                      <a:pt x="0" y="0"/>
                    </a:moveTo>
                    <a:lnTo>
                      <a:pt x="8065" y="0"/>
                    </a:lnTo>
                    <a:lnTo>
                      <a:pt x="8065" y="55753"/>
                    </a:lnTo>
                    <a:lnTo>
                      <a:pt x="0" y="55753"/>
                    </a:lnTo>
                    <a:close/>
                  </a:path>
                </a:pathLst>
              </a:custGeom>
              <a:solidFill>
                <a:srgbClr val="B3B3B3"/>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35" name="Freeform: Shape 34">
                <a:extLst>
                  <a:ext uri="{FF2B5EF4-FFF2-40B4-BE49-F238E27FC236}">
                    <a16:creationId xmlns:a16="http://schemas.microsoft.com/office/drawing/2014/main" id="{B1D62E97-9E08-4764-8431-00935A47F3A0}"/>
                  </a:ext>
                </a:extLst>
              </p:cNvPr>
              <p:cNvSpPr/>
              <p:nvPr/>
            </p:nvSpPr>
            <p:spPr>
              <a:xfrm>
                <a:off x="4397375" y="6465887"/>
                <a:ext cx="8064" cy="55752"/>
              </a:xfrm>
              <a:custGeom>
                <a:avLst/>
                <a:gdLst>
                  <a:gd name="connsiteX0" fmla="*/ 0 w 8064"/>
                  <a:gd name="connsiteY0" fmla="*/ 0 h 55752"/>
                  <a:gd name="connsiteX1" fmla="*/ 8065 w 8064"/>
                  <a:gd name="connsiteY1" fmla="*/ 0 h 55752"/>
                  <a:gd name="connsiteX2" fmla="*/ 8065 w 8064"/>
                  <a:gd name="connsiteY2" fmla="*/ 55753 h 55752"/>
                  <a:gd name="connsiteX3" fmla="*/ 0 w 8064"/>
                  <a:gd name="connsiteY3" fmla="*/ 55753 h 55752"/>
                </a:gdLst>
                <a:ahLst/>
                <a:cxnLst>
                  <a:cxn ang="0">
                    <a:pos x="connsiteX0" y="connsiteY0"/>
                  </a:cxn>
                  <a:cxn ang="0">
                    <a:pos x="connsiteX1" y="connsiteY1"/>
                  </a:cxn>
                  <a:cxn ang="0">
                    <a:pos x="connsiteX2" y="connsiteY2"/>
                  </a:cxn>
                  <a:cxn ang="0">
                    <a:pos x="connsiteX3" y="connsiteY3"/>
                  </a:cxn>
                </a:cxnLst>
                <a:rect l="l" t="t" r="r" b="b"/>
                <a:pathLst>
                  <a:path w="8064" h="55752">
                    <a:moveTo>
                      <a:pt x="0" y="0"/>
                    </a:moveTo>
                    <a:lnTo>
                      <a:pt x="8065" y="0"/>
                    </a:lnTo>
                    <a:lnTo>
                      <a:pt x="8065" y="55753"/>
                    </a:lnTo>
                    <a:lnTo>
                      <a:pt x="0" y="55753"/>
                    </a:lnTo>
                    <a:close/>
                  </a:path>
                </a:pathLst>
              </a:custGeom>
              <a:solidFill>
                <a:srgbClr val="B3B3B3"/>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grpSp>
        <p:grpSp>
          <p:nvGrpSpPr>
            <p:cNvPr id="22" name="Graphic 42">
              <a:extLst>
                <a:ext uri="{FF2B5EF4-FFF2-40B4-BE49-F238E27FC236}">
                  <a16:creationId xmlns:a16="http://schemas.microsoft.com/office/drawing/2014/main" id="{B5A71B70-4F7E-4F2D-B1E9-AA29844C693D}"/>
                </a:ext>
              </a:extLst>
            </p:cNvPr>
            <p:cNvGrpSpPr/>
            <p:nvPr/>
          </p:nvGrpSpPr>
          <p:grpSpPr>
            <a:xfrm>
              <a:off x="5193982" y="6465887"/>
              <a:ext cx="275081" cy="55752"/>
              <a:chOff x="5193982" y="6465887"/>
              <a:chExt cx="275081" cy="55752"/>
            </a:xfrm>
            <a:solidFill>
              <a:srgbClr val="B3B3B3"/>
            </a:solidFill>
          </p:grpSpPr>
          <p:sp>
            <p:nvSpPr>
              <p:cNvPr id="28" name="Freeform: Shape 27">
                <a:extLst>
                  <a:ext uri="{FF2B5EF4-FFF2-40B4-BE49-F238E27FC236}">
                    <a16:creationId xmlns:a16="http://schemas.microsoft.com/office/drawing/2014/main" id="{5C4D2D9B-3546-4854-9EF0-91DA8B5D343A}"/>
                  </a:ext>
                </a:extLst>
              </p:cNvPr>
              <p:cNvSpPr/>
              <p:nvPr/>
            </p:nvSpPr>
            <p:spPr>
              <a:xfrm>
                <a:off x="5461000" y="6465887"/>
                <a:ext cx="8064" cy="55752"/>
              </a:xfrm>
              <a:custGeom>
                <a:avLst/>
                <a:gdLst>
                  <a:gd name="connsiteX0" fmla="*/ 0 w 8064"/>
                  <a:gd name="connsiteY0" fmla="*/ 0 h 55752"/>
                  <a:gd name="connsiteX1" fmla="*/ 8065 w 8064"/>
                  <a:gd name="connsiteY1" fmla="*/ 0 h 55752"/>
                  <a:gd name="connsiteX2" fmla="*/ 8065 w 8064"/>
                  <a:gd name="connsiteY2" fmla="*/ 55753 h 55752"/>
                  <a:gd name="connsiteX3" fmla="*/ 0 w 8064"/>
                  <a:gd name="connsiteY3" fmla="*/ 55753 h 55752"/>
                </a:gdLst>
                <a:ahLst/>
                <a:cxnLst>
                  <a:cxn ang="0">
                    <a:pos x="connsiteX0" y="connsiteY0"/>
                  </a:cxn>
                  <a:cxn ang="0">
                    <a:pos x="connsiteX1" y="connsiteY1"/>
                  </a:cxn>
                  <a:cxn ang="0">
                    <a:pos x="connsiteX2" y="connsiteY2"/>
                  </a:cxn>
                  <a:cxn ang="0">
                    <a:pos x="connsiteX3" y="connsiteY3"/>
                  </a:cxn>
                </a:cxnLst>
                <a:rect l="l" t="t" r="r" b="b"/>
                <a:pathLst>
                  <a:path w="8064" h="55752">
                    <a:moveTo>
                      <a:pt x="0" y="0"/>
                    </a:moveTo>
                    <a:lnTo>
                      <a:pt x="8065" y="0"/>
                    </a:lnTo>
                    <a:lnTo>
                      <a:pt x="8065" y="55753"/>
                    </a:lnTo>
                    <a:lnTo>
                      <a:pt x="0" y="55753"/>
                    </a:lnTo>
                    <a:close/>
                  </a:path>
                </a:pathLst>
              </a:custGeom>
              <a:solidFill>
                <a:srgbClr val="B3B3B3"/>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29" name="Freeform: Shape 28">
                <a:extLst>
                  <a:ext uri="{FF2B5EF4-FFF2-40B4-BE49-F238E27FC236}">
                    <a16:creationId xmlns:a16="http://schemas.microsoft.com/office/drawing/2014/main" id="{CACC2168-473F-4DD8-9CCA-AC07604162E4}"/>
                  </a:ext>
                </a:extLst>
              </p:cNvPr>
              <p:cNvSpPr/>
              <p:nvPr/>
            </p:nvSpPr>
            <p:spPr>
              <a:xfrm>
                <a:off x="5364861" y="6465887"/>
                <a:ext cx="8064" cy="55752"/>
              </a:xfrm>
              <a:custGeom>
                <a:avLst/>
                <a:gdLst>
                  <a:gd name="connsiteX0" fmla="*/ 0 w 8064"/>
                  <a:gd name="connsiteY0" fmla="*/ 0 h 55752"/>
                  <a:gd name="connsiteX1" fmla="*/ 8065 w 8064"/>
                  <a:gd name="connsiteY1" fmla="*/ 0 h 55752"/>
                  <a:gd name="connsiteX2" fmla="*/ 8065 w 8064"/>
                  <a:gd name="connsiteY2" fmla="*/ 55753 h 55752"/>
                  <a:gd name="connsiteX3" fmla="*/ 0 w 8064"/>
                  <a:gd name="connsiteY3" fmla="*/ 55753 h 55752"/>
                </a:gdLst>
                <a:ahLst/>
                <a:cxnLst>
                  <a:cxn ang="0">
                    <a:pos x="connsiteX0" y="connsiteY0"/>
                  </a:cxn>
                  <a:cxn ang="0">
                    <a:pos x="connsiteX1" y="connsiteY1"/>
                  </a:cxn>
                  <a:cxn ang="0">
                    <a:pos x="connsiteX2" y="connsiteY2"/>
                  </a:cxn>
                  <a:cxn ang="0">
                    <a:pos x="connsiteX3" y="connsiteY3"/>
                  </a:cxn>
                </a:cxnLst>
                <a:rect l="l" t="t" r="r" b="b"/>
                <a:pathLst>
                  <a:path w="8064" h="55752">
                    <a:moveTo>
                      <a:pt x="0" y="0"/>
                    </a:moveTo>
                    <a:lnTo>
                      <a:pt x="8065" y="0"/>
                    </a:lnTo>
                    <a:lnTo>
                      <a:pt x="8065" y="55753"/>
                    </a:lnTo>
                    <a:lnTo>
                      <a:pt x="0" y="55753"/>
                    </a:lnTo>
                    <a:close/>
                  </a:path>
                </a:pathLst>
              </a:custGeom>
              <a:solidFill>
                <a:srgbClr val="B3B3B3"/>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30" name="Freeform: Shape 29">
                <a:extLst>
                  <a:ext uri="{FF2B5EF4-FFF2-40B4-BE49-F238E27FC236}">
                    <a16:creationId xmlns:a16="http://schemas.microsoft.com/office/drawing/2014/main" id="{C0676C98-9672-4F1C-B76D-533DC9DC61E9}"/>
                  </a:ext>
                </a:extLst>
              </p:cNvPr>
              <p:cNvSpPr/>
              <p:nvPr/>
            </p:nvSpPr>
            <p:spPr>
              <a:xfrm>
                <a:off x="5281231" y="6465887"/>
                <a:ext cx="8064" cy="55752"/>
              </a:xfrm>
              <a:custGeom>
                <a:avLst/>
                <a:gdLst>
                  <a:gd name="connsiteX0" fmla="*/ 0 w 8064"/>
                  <a:gd name="connsiteY0" fmla="*/ 0 h 55752"/>
                  <a:gd name="connsiteX1" fmla="*/ 8065 w 8064"/>
                  <a:gd name="connsiteY1" fmla="*/ 0 h 55752"/>
                  <a:gd name="connsiteX2" fmla="*/ 8065 w 8064"/>
                  <a:gd name="connsiteY2" fmla="*/ 55753 h 55752"/>
                  <a:gd name="connsiteX3" fmla="*/ 0 w 8064"/>
                  <a:gd name="connsiteY3" fmla="*/ 55753 h 55752"/>
                </a:gdLst>
                <a:ahLst/>
                <a:cxnLst>
                  <a:cxn ang="0">
                    <a:pos x="connsiteX0" y="connsiteY0"/>
                  </a:cxn>
                  <a:cxn ang="0">
                    <a:pos x="connsiteX1" y="connsiteY1"/>
                  </a:cxn>
                  <a:cxn ang="0">
                    <a:pos x="connsiteX2" y="connsiteY2"/>
                  </a:cxn>
                  <a:cxn ang="0">
                    <a:pos x="connsiteX3" y="connsiteY3"/>
                  </a:cxn>
                </a:cxnLst>
                <a:rect l="l" t="t" r="r" b="b"/>
                <a:pathLst>
                  <a:path w="8064" h="55752">
                    <a:moveTo>
                      <a:pt x="0" y="0"/>
                    </a:moveTo>
                    <a:lnTo>
                      <a:pt x="8065" y="0"/>
                    </a:lnTo>
                    <a:lnTo>
                      <a:pt x="8065" y="55753"/>
                    </a:lnTo>
                    <a:lnTo>
                      <a:pt x="0" y="55753"/>
                    </a:lnTo>
                    <a:close/>
                  </a:path>
                </a:pathLst>
              </a:custGeom>
              <a:solidFill>
                <a:srgbClr val="B3B3B3"/>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31" name="Freeform: Shape 30">
                <a:extLst>
                  <a:ext uri="{FF2B5EF4-FFF2-40B4-BE49-F238E27FC236}">
                    <a16:creationId xmlns:a16="http://schemas.microsoft.com/office/drawing/2014/main" id="{967CC653-46C7-4F44-8FF4-0AABDEBC12E7}"/>
                  </a:ext>
                </a:extLst>
              </p:cNvPr>
              <p:cNvSpPr/>
              <p:nvPr/>
            </p:nvSpPr>
            <p:spPr>
              <a:xfrm>
                <a:off x="5193982" y="6465887"/>
                <a:ext cx="8064" cy="55752"/>
              </a:xfrm>
              <a:custGeom>
                <a:avLst/>
                <a:gdLst>
                  <a:gd name="connsiteX0" fmla="*/ 0 w 8064"/>
                  <a:gd name="connsiteY0" fmla="*/ 0 h 55752"/>
                  <a:gd name="connsiteX1" fmla="*/ 8065 w 8064"/>
                  <a:gd name="connsiteY1" fmla="*/ 0 h 55752"/>
                  <a:gd name="connsiteX2" fmla="*/ 8065 w 8064"/>
                  <a:gd name="connsiteY2" fmla="*/ 55753 h 55752"/>
                  <a:gd name="connsiteX3" fmla="*/ 0 w 8064"/>
                  <a:gd name="connsiteY3" fmla="*/ 55753 h 55752"/>
                </a:gdLst>
                <a:ahLst/>
                <a:cxnLst>
                  <a:cxn ang="0">
                    <a:pos x="connsiteX0" y="connsiteY0"/>
                  </a:cxn>
                  <a:cxn ang="0">
                    <a:pos x="connsiteX1" y="connsiteY1"/>
                  </a:cxn>
                  <a:cxn ang="0">
                    <a:pos x="connsiteX2" y="connsiteY2"/>
                  </a:cxn>
                  <a:cxn ang="0">
                    <a:pos x="connsiteX3" y="connsiteY3"/>
                  </a:cxn>
                </a:cxnLst>
                <a:rect l="l" t="t" r="r" b="b"/>
                <a:pathLst>
                  <a:path w="8064" h="55752">
                    <a:moveTo>
                      <a:pt x="0" y="0"/>
                    </a:moveTo>
                    <a:lnTo>
                      <a:pt x="8065" y="0"/>
                    </a:lnTo>
                    <a:lnTo>
                      <a:pt x="8065" y="55753"/>
                    </a:lnTo>
                    <a:lnTo>
                      <a:pt x="0" y="55753"/>
                    </a:lnTo>
                    <a:close/>
                  </a:path>
                </a:pathLst>
              </a:custGeom>
              <a:solidFill>
                <a:srgbClr val="B3B3B3"/>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grpSp>
        <p:grpSp>
          <p:nvGrpSpPr>
            <p:cNvPr id="23" name="Graphic 42">
              <a:extLst>
                <a:ext uri="{FF2B5EF4-FFF2-40B4-BE49-F238E27FC236}">
                  <a16:creationId xmlns:a16="http://schemas.microsoft.com/office/drawing/2014/main" id="{2A1F82DF-03D9-444E-8317-8BEACA4F8E1E}"/>
                </a:ext>
              </a:extLst>
            </p:cNvPr>
            <p:cNvGrpSpPr/>
            <p:nvPr/>
          </p:nvGrpSpPr>
          <p:grpSpPr>
            <a:xfrm>
              <a:off x="5999289" y="6465887"/>
              <a:ext cx="275145" cy="55752"/>
              <a:chOff x="5999289" y="6465887"/>
              <a:chExt cx="275145" cy="55752"/>
            </a:xfrm>
            <a:solidFill>
              <a:srgbClr val="B3B3B3"/>
            </a:solidFill>
          </p:grpSpPr>
          <p:sp>
            <p:nvSpPr>
              <p:cNvPr id="24" name="Freeform: Shape 23">
                <a:extLst>
                  <a:ext uri="{FF2B5EF4-FFF2-40B4-BE49-F238E27FC236}">
                    <a16:creationId xmlns:a16="http://schemas.microsoft.com/office/drawing/2014/main" id="{491F24D6-8119-44C1-93F2-E5109D171FA2}"/>
                  </a:ext>
                </a:extLst>
              </p:cNvPr>
              <p:cNvSpPr/>
              <p:nvPr/>
            </p:nvSpPr>
            <p:spPr>
              <a:xfrm>
                <a:off x="6266370" y="6465887"/>
                <a:ext cx="8064" cy="55752"/>
              </a:xfrm>
              <a:custGeom>
                <a:avLst/>
                <a:gdLst>
                  <a:gd name="connsiteX0" fmla="*/ 0 w 8064"/>
                  <a:gd name="connsiteY0" fmla="*/ 0 h 55752"/>
                  <a:gd name="connsiteX1" fmla="*/ 8065 w 8064"/>
                  <a:gd name="connsiteY1" fmla="*/ 0 h 55752"/>
                  <a:gd name="connsiteX2" fmla="*/ 8065 w 8064"/>
                  <a:gd name="connsiteY2" fmla="*/ 55753 h 55752"/>
                  <a:gd name="connsiteX3" fmla="*/ 0 w 8064"/>
                  <a:gd name="connsiteY3" fmla="*/ 55753 h 55752"/>
                </a:gdLst>
                <a:ahLst/>
                <a:cxnLst>
                  <a:cxn ang="0">
                    <a:pos x="connsiteX0" y="connsiteY0"/>
                  </a:cxn>
                  <a:cxn ang="0">
                    <a:pos x="connsiteX1" y="connsiteY1"/>
                  </a:cxn>
                  <a:cxn ang="0">
                    <a:pos x="connsiteX2" y="connsiteY2"/>
                  </a:cxn>
                  <a:cxn ang="0">
                    <a:pos x="connsiteX3" y="connsiteY3"/>
                  </a:cxn>
                </a:cxnLst>
                <a:rect l="l" t="t" r="r" b="b"/>
                <a:pathLst>
                  <a:path w="8064" h="55752">
                    <a:moveTo>
                      <a:pt x="0" y="0"/>
                    </a:moveTo>
                    <a:lnTo>
                      <a:pt x="8065" y="0"/>
                    </a:lnTo>
                    <a:lnTo>
                      <a:pt x="8065" y="55753"/>
                    </a:lnTo>
                    <a:lnTo>
                      <a:pt x="0" y="55753"/>
                    </a:lnTo>
                    <a:close/>
                  </a:path>
                </a:pathLst>
              </a:custGeom>
              <a:solidFill>
                <a:srgbClr val="B3B3B3"/>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25" name="Freeform: Shape 24">
                <a:extLst>
                  <a:ext uri="{FF2B5EF4-FFF2-40B4-BE49-F238E27FC236}">
                    <a16:creationId xmlns:a16="http://schemas.microsoft.com/office/drawing/2014/main" id="{C81EC1E3-3540-4BE0-AD5A-51BA24740C03}"/>
                  </a:ext>
                </a:extLst>
              </p:cNvPr>
              <p:cNvSpPr/>
              <p:nvPr/>
            </p:nvSpPr>
            <p:spPr>
              <a:xfrm>
                <a:off x="6170168" y="6465887"/>
                <a:ext cx="8064" cy="55752"/>
              </a:xfrm>
              <a:custGeom>
                <a:avLst/>
                <a:gdLst>
                  <a:gd name="connsiteX0" fmla="*/ 0 w 8064"/>
                  <a:gd name="connsiteY0" fmla="*/ 0 h 55752"/>
                  <a:gd name="connsiteX1" fmla="*/ 8065 w 8064"/>
                  <a:gd name="connsiteY1" fmla="*/ 0 h 55752"/>
                  <a:gd name="connsiteX2" fmla="*/ 8065 w 8064"/>
                  <a:gd name="connsiteY2" fmla="*/ 55753 h 55752"/>
                  <a:gd name="connsiteX3" fmla="*/ 0 w 8064"/>
                  <a:gd name="connsiteY3" fmla="*/ 55753 h 55752"/>
                </a:gdLst>
                <a:ahLst/>
                <a:cxnLst>
                  <a:cxn ang="0">
                    <a:pos x="connsiteX0" y="connsiteY0"/>
                  </a:cxn>
                  <a:cxn ang="0">
                    <a:pos x="connsiteX1" y="connsiteY1"/>
                  </a:cxn>
                  <a:cxn ang="0">
                    <a:pos x="connsiteX2" y="connsiteY2"/>
                  </a:cxn>
                  <a:cxn ang="0">
                    <a:pos x="connsiteX3" y="connsiteY3"/>
                  </a:cxn>
                </a:cxnLst>
                <a:rect l="l" t="t" r="r" b="b"/>
                <a:pathLst>
                  <a:path w="8064" h="55752">
                    <a:moveTo>
                      <a:pt x="0" y="0"/>
                    </a:moveTo>
                    <a:lnTo>
                      <a:pt x="8065" y="0"/>
                    </a:lnTo>
                    <a:lnTo>
                      <a:pt x="8065" y="55753"/>
                    </a:lnTo>
                    <a:lnTo>
                      <a:pt x="0" y="55753"/>
                    </a:lnTo>
                    <a:close/>
                  </a:path>
                </a:pathLst>
              </a:custGeom>
              <a:solidFill>
                <a:srgbClr val="B3B3B3"/>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26" name="Freeform: Shape 25">
                <a:extLst>
                  <a:ext uri="{FF2B5EF4-FFF2-40B4-BE49-F238E27FC236}">
                    <a16:creationId xmlns:a16="http://schemas.microsoft.com/office/drawing/2014/main" id="{E8EFC42F-F751-4EA6-8C7C-816A8DE27840}"/>
                  </a:ext>
                </a:extLst>
              </p:cNvPr>
              <p:cNvSpPr/>
              <p:nvPr/>
            </p:nvSpPr>
            <p:spPr>
              <a:xfrm>
                <a:off x="6086538" y="6465887"/>
                <a:ext cx="8064" cy="55752"/>
              </a:xfrm>
              <a:custGeom>
                <a:avLst/>
                <a:gdLst>
                  <a:gd name="connsiteX0" fmla="*/ 0 w 8064"/>
                  <a:gd name="connsiteY0" fmla="*/ 0 h 55752"/>
                  <a:gd name="connsiteX1" fmla="*/ 8065 w 8064"/>
                  <a:gd name="connsiteY1" fmla="*/ 0 h 55752"/>
                  <a:gd name="connsiteX2" fmla="*/ 8065 w 8064"/>
                  <a:gd name="connsiteY2" fmla="*/ 55753 h 55752"/>
                  <a:gd name="connsiteX3" fmla="*/ 0 w 8064"/>
                  <a:gd name="connsiteY3" fmla="*/ 55753 h 55752"/>
                </a:gdLst>
                <a:ahLst/>
                <a:cxnLst>
                  <a:cxn ang="0">
                    <a:pos x="connsiteX0" y="connsiteY0"/>
                  </a:cxn>
                  <a:cxn ang="0">
                    <a:pos x="connsiteX1" y="connsiteY1"/>
                  </a:cxn>
                  <a:cxn ang="0">
                    <a:pos x="connsiteX2" y="connsiteY2"/>
                  </a:cxn>
                  <a:cxn ang="0">
                    <a:pos x="connsiteX3" y="connsiteY3"/>
                  </a:cxn>
                </a:cxnLst>
                <a:rect l="l" t="t" r="r" b="b"/>
                <a:pathLst>
                  <a:path w="8064" h="55752">
                    <a:moveTo>
                      <a:pt x="0" y="0"/>
                    </a:moveTo>
                    <a:lnTo>
                      <a:pt x="8065" y="0"/>
                    </a:lnTo>
                    <a:lnTo>
                      <a:pt x="8065" y="55753"/>
                    </a:lnTo>
                    <a:lnTo>
                      <a:pt x="0" y="55753"/>
                    </a:lnTo>
                    <a:close/>
                  </a:path>
                </a:pathLst>
              </a:custGeom>
              <a:solidFill>
                <a:srgbClr val="B3B3B3"/>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27" name="Freeform: Shape 26">
                <a:extLst>
                  <a:ext uri="{FF2B5EF4-FFF2-40B4-BE49-F238E27FC236}">
                    <a16:creationId xmlns:a16="http://schemas.microsoft.com/office/drawing/2014/main" id="{27C191A6-C627-4504-AFFA-3E1CD488F910}"/>
                  </a:ext>
                </a:extLst>
              </p:cNvPr>
              <p:cNvSpPr/>
              <p:nvPr/>
            </p:nvSpPr>
            <p:spPr>
              <a:xfrm>
                <a:off x="5999289" y="6465887"/>
                <a:ext cx="8064" cy="55752"/>
              </a:xfrm>
              <a:custGeom>
                <a:avLst/>
                <a:gdLst>
                  <a:gd name="connsiteX0" fmla="*/ 0 w 8064"/>
                  <a:gd name="connsiteY0" fmla="*/ 0 h 55752"/>
                  <a:gd name="connsiteX1" fmla="*/ 8065 w 8064"/>
                  <a:gd name="connsiteY1" fmla="*/ 0 h 55752"/>
                  <a:gd name="connsiteX2" fmla="*/ 8065 w 8064"/>
                  <a:gd name="connsiteY2" fmla="*/ 55753 h 55752"/>
                  <a:gd name="connsiteX3" fmla="*/ 0 w 8064"/>
                  <a:gd name="connsiteY3" fmla="*/ 55753 h 55752"/>
                </a:gdLst>
                <a:ahLst/>
                <a:cxnLst>
                  <a:cxn ang="0">
                    <a:pos x="connsiteX0" y="connsiteY0"/>
                  </a:cxn>
                  <a:cxn ang="0">
                    <a:pos x="connsiteX1" y="connsiteY1"/>
                  </a:cxn>
                  <a:cxn ang="0">
                    <a:pos x="connsiteX2" y="connsiteY2"/>
                  </a:cxn>
                  <a:cxn ang="0">
                    <a:pos x="connsiteX3" y="connsiteY3"/>
                  </a:cxn>
                </a:cxnLst>
                <a:rect l="l" t="t" r="r" b="b"/>
                <a:pathLst>
                  <a:path w="8064" h="55752">
                    <a:moveTo>
                      <a:pt x="0" y="0"/>
                    </a:moveTo>
                    <a:lnTo>
                      <a:pt x="8065" y="0"/>
                    </a:lnTo>
                    <a:lnTo>
                      <a:pt x="8065" y="55753"/>
                    </a:lnTo>
                    <a:lnTo>
                      <a:pt x="0" y="55753"/>
                    </a:lnTo>
                    <a:close/>
                  </a:path>
                </a:pathLst>
              </a:custGeom>
              <a:solidFill>
                <a:srgbClr val="B3B3B3"/>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grpSp>
      </p:grpSp>
      <p:sp>
        <p:nvSpPr>
          <p:cNvPr id="92" name="Freeform: Shape 91">
            <a:extLst>
              <a:ext uri="{FF2B5EF4-FFF2-40B4-BE49-F238E27FC236}">
                <a16:creationId xmlns:a16="http://schemas.microsoft.com/office/drawing/2014/main" id="{95075E11-C95B-43F7-AE58-F819F4432F94}"/>
              </a:ext>
            </a:extLst>
          </p:cNvPr>
          <p:cNvSpPr/>
          <p:nvPr userDrawn="1"/>
        </p:nvSpPr>
        <p:spPr>
          <a:xfrm>
            <a:off x="4558698" y="6297424"/>
            <a:ext cx="99631" cy="161861"/>
          </a:xfrm>
          <a:custGeom>
            <a:avLst/>
            <a:gdLst>
              <a:gd name="connsiteX0" fmla="*/ 0 w 99631"/>
              <a:gd name="connsiteY0" fmla="*/ 0 h 161861"/>
              <a:gd name="connsiteX1" fmla="*/ 47942 w 99631"/>
              <a:gd name="connsiteY1" fmla="*/ 0 h 161861"/>
              <a:gd name="connsiteX2" fmla="*/ 99631 w 99631"/>
              <a:gd name="connsiteY2" fmla="*/ 80962 h 161861"/>
              <a:gd name="connsiteX3" fmla="*/ 47942 w 99631"/>
              <a:gd name="connsiteY3" fmla="*/ 161862 h 161861"/>
              <a:gd name="connsiteX4" fmla="*/ 0 w 99631"/>
              <a:gd name="connsiteY4" fmla="*/ 161862 h 161861"/>
              <a:gd name="connsiteX5" fmla="*/ 51626 w 99631"/>
              <a:gd name="connsiteY5" fmla="*/ 80962 h 1618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9631" h="161861">
                <a:moveTo>
                  <a:pt x="0" y="0"/>
                </a:moveTo>
                <a:lnTo>
                  <a:pt x="47942" y="0"/>
                </a:lnTo>
                <a:lnTo>
                  <a:pt x="99631" y="80962"/>
                </a:lnTo>
                <a:lnTo>
                  <a:pt x="47942" y="161862"/>
                </a:lnTo>
                <a:lnTo>
                  <a:pt x="0" y="161862"/>
                </a:lnTo>
                <a:lnTo>
                  <a:pt x="51626" y="80962"/>
                </a:lnTo>
                <a:close/>
              </a:path>
            </a:pathLst>
          </a:custGeom>
          <a:solidFill>
            <a:schemeClr val="bg2">
              <a:alpha val="23000"/>
            </a:schemeClr>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93" name="Freeform: Shape 92">
            <a:extLst>
              <a:ext uri="{FF2B5EF4-FFF2-40B4-BE49-F238E27FC236}">
                <a16:creationId xmlns:a16="http://schemas.microsoft.com/office/drawing/2014/main" id="{E7C06D70-7E3E-4D15-B6B1-EAF35FBF771C}"/>
              </a:ext>
            </a:extLst>
          </p:cNvPr>
          <p:cNvSpPr/>
          <p:nvPr userDrawn="1"/>
        </p:nvSpPr>
        <p:spPr>
          <a:xfrm>
            <a:off x="4628548" y="6297424"/>
            <a:ext cx="99567" cy="161861"/>
          </a:xfrm>
          <a:custGeom>
            <a:avLst/>
            <a:gdLst>
              <a:gd name="connsiteX0" fmla="*/ 0 w 99567"/>
              <a:gd name="connsiteY0" fmla="*/ 0 h 161861"/>
              <a:gd name="connsiteX1" fmla="*/ 47942 w 99567"/>
              <a:gd name="connsiteY1" fmla="*/ 0 h 161861"/>
              <a:gd name="connsiteX2" fmla="*/ 99568 w 99567"/>
              <a:gd name="connsiteY2" fmla="*/ 80962 h 161861"/>
              <a:gd name="connsiteX3" fmla="*/ 47942 w 99567"/>
              <a:gd name="connsiteY3" fmla="*/ 161862 h 161861"/>
              <a:gd name="connsiteX4" fmla="*/ 0 w 99567"/>
              <a:gd name="connsiteY4" fmla="*/ 161862 h 161861"/>
              <a:gd name="connsiteX5" fmla="*/ 51626 w 99567"/>
              <a:gd name="connsiteY5" fmla="*/ 80962 h 1618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9567" h="161861">
                <a:moveTo>
                  <a:pt x="0" y="0"/>
                </a:moveTo>
                <a:lnTo>
                  <a:pt x="47942" y="0"/>
                </a:lnTo>
                <a:lnTo>
                  <a:pt x="99568" y="80962"/>
                </a:lnTo>
                <a:lnTo>
                  <a:pt x="47942" y="161862"/>
                </a:lnTo>
                <a:lnTo>
                  <a:pt x="0" y="161862"/>
                </a:lnTo>
                <a:lnTo>
                  <a:pt x="51626" y="80962"/>
                </a:lnTo>
                <a:close/>
              </a:path>
            </a:pathLst>
          </a:custGeom>
          <a:solidFill>
            <a:schemeClr val="bg2">
              <a:alpha val="23000"/>
            </a:schemeClr>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94" name="Freeform: Shape 93">
            <a:extLst>
              <a:ext uri="{FF2B5EF4-FFF2-40B4-BE49-F238E27FC236}">
                <a16:creationId xmlns:a16="http://schemas.microsoft.com/office/drawing/2014/main" id="{2560CFA8-8666-401D-B91D-47D7B7FABCCC}"/>
              </a:ext>
            </a:extLst>
          </p:cNvPr>
          <p:cNvSpPr/>
          <p:nvPr userDrawn="1"/>
        </p:nvSpPr>
        <p:spPr>
          <a:xfrm>
            <a:off x="4697001" y="6297424"/>
            <a:ext cx="99631" cy="161861"/>
          </a:xfrm>
          <a:custGeom>
            <a:avLst/>
            <a:gdLst>
              <a:gd name="connsiteX0" fmla="*/ 0 w 99631"/>
              <a:gd name="connsiteY0" fmla="*/ 0 h 161861"/>
              <a:gd name="connsiteX1" fmla="*/ 48006 w 99631"/>
              <a:gd name="connsiteY1" fmla="*/ 0 h 161861"/>
              <a:gd name="connsiteX2" fmla="*/ 99631 w 99631"/>
              <a:gd name="connsiteY2" fmla="*/ 80962 h 161861"/>
              <a:gd name="connsiteX3" fmla="*/ 48006 w 99631"/>
              <a:gd name="connsiteY3" fmla="*/ 161862 h 161861"/>
              <a:gd name="connsiteX4" fmla="*/ 0 w 99631"/>
              <a:gd name="connsiteY4" fmla="*/ 161862 h 161861"/>
              <a:gd name="connsiteX5" fmla="*/ 51625 w 99631"/>
              <a:gd name="connsiteY5" fmla="*/ 80962 h 1618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9631" h="161861">
                <a:moveTo>
                  <a:pt x="0" y="0"/>
                </a:moveTo>
                <a:lnTo>
                  <a:pt x="48006" y="0"/>
                </a:lnTo>
                <a:lnTo>
                  <a:pt x="99631" y="80962"/>
                </a:lnTo>
                <a:lnTo>
                  <a:pt x="48006" y="161862"/>
                </a:lnTo>
                <a:lnTo>
                  <a:pt x="0" y="161862"/>
                </a:lnTo>
                <a:lnTo>
                  <a:pt x="51625" y="80962"/>
                </a:lnTo>
                <a:close/>
              </a:path>
            </a:pathLst>
          </a:custGeom>
          <a:solidFill>
            <a:schemeClr val="bg2">
              <a:alpha val="23000"/>
            </a:schemeClr>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101" name="Text Placeholder 100">
            <a:extLst>
              <a:ext uri="{FF2B5EF4-FFF2-40B4-BE49-F238E27FC236}">
                <a16:creationId xmlns:a16="http://schemas.microsoft.com/office/drawing/2014/main" id="{E68E1B68-9A85-4371-8C00-E6C787C594B2}"/>
              </a:ext>
            </a:extLst>
          </p:cNvPr>
          <p:cNvSpPr>
            <a:spLocks noGrp="1"/>
          </p:cNvSpPr>
          <p:nvPr userDrawn="1">
            <p:ph type="body" sz="quarter" idx="11" hasCustomPrompt="1"/>
          </p:nvPr>
        </p:nvSpPr>
        <p:spPr>
          <a:xfrm>
            <a:off x="762318" y="1872616"/>
            <a:ext cx="3055937" cy="4038600"/>
          </a:xfrm>
        </p:spPr>
        <p:txBody>
          <a:bodyPr vert="horz" lIns="0" tIns="0" rIns="0" bIns="0" rtlCol="0" anchor="ctr" anchorCtr="0">
            <a:noAutofit/>
          </a:bodyPr>
          <a:lstStyle>
            <a:lvl1pPr>
              <a:defRPr lang="en-US" dirty="0" smtClean="0">
                <a:solidFill>
                  <a:schemeClr val="bg1"/>
                </a:solidFill>
              </a:defRPr>
            </a:lvl1pPr>
            <a:lvl2pPr>
              <a:defRPr lang="en-US" dirty="0" smtClean="0">
                <a:solidFill>
                  <a:schemeClr val="bg1"/>
                </a:solidFill>
              </a:defRPr>
            </a:lvl2pPr>
            <a:lvl3pPr marL="832104" indent="-228600">
              <a:buFontTx/>
              <a:buBlip>
                <a:blip r:embed="rId6">
                  <a:extLst>
                    <a:ext uri="{96DAC541-7B7A-43D3-8B79-37D633B846F1}">
                      <asvg:svgBlip xmlns:asvg="http://schemas.microsoft.com/office/drawing/2016/SVG/main" r:embed="rId7"/>
                    </a:ext>
                  </a:extLst>
                </a:blip>
              </a:buBlip>
              <a:defRPr lang="en-US" dirty="0" smtClean="0">
                <a:solidFill>
                  <a:schemeClr val="bg1"/>
                </a:solidFill>
              </a:defRPr>
            </a:lvl3pPr>
            <a:lvl4pPr marL="1078992" indent="-228600">
              <a:buFontTx/>
              <a:buBlip>
                <a:blip r:embed="rId8"/>
              </a:buBlip>
              <a:defRPr lang="en-US" dirty="0">
                <a:solidFill>
                  <a:schemeClr val="bg1"/>
                </a:solidFill>
              </a:defRPr>
            </a:lvl4pPr>
            <a:lvl5pPr marL="1104138" indent="0">
              <a:buNone/>
              <a:defRPr/>
            </a:lvl5pPr>
          </a:lstStyle>
          <a:p>
            <a:pPr lvl="0"/>
            <a:r>
              <a:rPr lang="en-US" dirty="0"/>
              <a:t>Add call out text here</a:t>
            </a:r>
          </a:p>
          <a:p>
            <a:pPr lvl="1"/>
            <a:r>
              <a:rPr lang="en-US" dirty="0"/>
              <a:t>Bullet 2</a:t>
            </a:r>
          </a:p>
          <a:p>
            <a:pPr lvl="2"/>
            <a:r>
              <a:rPr lang="en-US" dirty="0"/>
              <a:t>Bullet 3</a:t>
            </a:r>
          </a:p>
          <a:p>
            <a:pPr lvl="3"/>
            <a:r>
              <a:rPr lang="en-US" dirty="0"/>
              <a:t>Bullet 4</a:t>
            </a:r>
          </a:p>
        </p:txBody>
      </p:sp>
    </p:spTree>
    <p:extLst>
      <p:ext uri="{BB962C8B-B14F-4D97-AF65-F5344CB8AC3E}">
        <p14:creationId xmlns:p14="http://schemas.microsoft.com/office/powerpoint/2010/main" val="13313202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Title &amp; 1 Image">
    <p:spTree>
      <p:nvGrpSpPr>
        <p:cNvPr id="1" name=""/>
        <p:cNvGrpSpPr/>
        <p:nvPr/>
      </p:nvGrpSpPr>
      <p:grpSpPr>
        <a:xfrm>
          <a:off x="0" y="0"/>
          <a:ext cx="0" cy="0"/>
          <a:chOff x="0" y="0"/>
          <a:chExt cx="0" cy="0"/>
        </a:xfrm>
      </p:grpSpPr>
      <p:sp>
        <p:nvSpPr>
          <p:cNvPr id="20" name="Picture Placeholder 19">
            <a:extLst>
              <a:ext uri="{FF2B5EF4-FFF2-40B4-BE49-F238E27FC236}">
                <a16:creationId xmlns:a16="http://schemas.microsoft.com/office/drawing/2014/main" id="{8BA33D38-FF79-4659-BC13-5AED39062B0A}"/>
              </a:ext>
            </a:extLst>
          </p:cNvPr>
          <p:cNvSpPr>
            <a:spLocks noGrp="1"/>
          </p:cNvSpPr>
          <p:nvPr>
            <p:ph type="pic" sz="quarter" idx="12" hasCustomPrompt="1"/>
          </p:nvPr>
        </p:nvSpPr>
        <p:spPr>
          <a:xfrm>
            <a:off x="1524" y="0"/>
            <a:ext cx="12188952" cy="5208644"/>
          </a:xfrm>
          <a:custGeom>
            <a:avLst/>
            <a:gdLst>
              <a:gd name="connsiteX0" fmla="*/ 0 w 12188952"/>
              <a:gd name="connsiteY0" fmla="*/ 0 h 5195944"/>
              <a:gd name="connsiteX1" fmla="*/ 12188952 w 12188952"/>
              <a:gd name="connsiteY1" fmla="*/ 0 h 5195944"/>
              <a:gd name="connsiteX2" fmla="*/ 12188952 w 12188952"/>
              <a:gd name="connsiteY2" fmla="*/ 5195944 h 5195944"/>
              <a:gd name="connsiteX3" fmla="*/ 2659341 w 12188952"/>
              <a:gd name="connsiteY3" fmla="*/ 5195944 h 5195944"/>
              <a:gd name="connsiteX4" fmla="*/ 2257812 w 12188952"/>
              <a:gd name="connsiteY4" fmla="*/ 4992786 h 5195944"/>
              <a:gd name="connsiteX5" fmla="*/ 0 w 12188952"/>
              <a:gd name="connsiteY5" fmla="*/ 4992786 h 51959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88952" h="5195944">
                <a:moveTo>
                  <a:pt x="0" y="0"/>
                </a:moveTo>
                <a:lnTo>
                  <a:pt x="12188952" y="0"/>
                </a:lnTo>
                <a:lnTo>
                  <a:pt x="12188952" y="5195944"/>
                </a:lnTo>
                <a:lnTo>
                  <a:pt x="2659341" y="5195944"/>
                </a:lnTo>
                <a:lnTo>
                  <a:pt x="2257812" y="4992786"/>
                </a:lnTo>
                <a:lnTo>
                  <a:pt x="0" y="4992786"/>
                </a:lnTo>
                <a:close/>
              </a:path>
            </a:pathLst>
          </a:custGeom>
          <a:solidFill>
            <a:schemeClr val="bg1">
              <a:lumMod val="95000"/>
            </a:schemeClr>
          </a:solidFill>
        </p:spPr>
        <p:txBody>
          <a:bodyPr wrap="square" bIns="640080" anchor="ctr">
            <a:noAutofit/>
          </a:bodyPr>
          <a:lstStyle>
            <a:lvl1pPr marL="0" indent="0" algn="ctr">
              <a:buNone/>
              <a:defRPr sz="1600" b="0">
                <a:solidFill>
                  <a:schemeClr val="tx1"/>
                </a:solidFill>
                <a:latin typeface="+mn-lt"/>
              </a:defRPr>
            </a:lvl1pPr>
          </a:lstStyle>
          <a:p>
            <a:r>
              <a:rPr lang="en-US" dirty="0"/>
              <a:t>Click picture icon to add image</a:t>
            </a:r>
          </a:p>
        </p:txBody>
      </p:sp>
      <p:sp>
        <p:nvSpPr>
          <p:cNvPr id="11" name="Freeform: Shape 10">
            <a:extLst>
              <a:ext uri="{FF2B5EF4-FFF2-40B4-BE49-F238E27FC236}">
                <a16:creationId xmlns:a16="http://schemas.microsoft.com/office/drawing/2014/main" id="{061473D3-D9B8-4ABB-B46F-2584ADD4252E}"/>
              </a:ext>
            </a:extLst>
          </p:cNvPr>
          <p:cNvSpPr/>
          <p:nvPr userDrawn="1"/>
        </p:nvSpPr>
        <p:spPr>
          <a:xfrm>
            <a:off x="3048" y="4992785"/>
            <a:ext cx="12201129" cy="1778523"/>
          </a:xfrm>
          <a:custGeom>
            <a:avLst/>
            <a:gdLst>
              <a:gd name="connsiteX0" fmla="*/ 0 w 12225528"/>
              <a:gd name="connsiteY0" fmla="*/ 0 h 1742130"/>
              <a:gd name="connsiteX1" fmla="*/ 2261766 w 12225528"/>
              <a:gd name="connsiteY1" fmla="*/ 0 h 1742130"/>
              <a:gd name="connsiteX2" fmla="*/ 2669225 w 12225528"/>
              <a:gd name="connsiteY2" fmla="*/ 201008 h 1742130"/>
              <a:gd name="connsiteX3" fmla="*/ 12193158 w 12225528"/>
              <a:gd name="connsiteY3" fmla="*/ 201008 h 1742130"/>
              <a:gd name="connsiteX4" fmla="*/ 12193158 w 12225528"/>
              <a:gd name="connsiteY4" fmla="*/ 0 h 1742130"/>
              <a:gd name="connsiteX5" fmla="*/ 12225528 w 12225528"/>
              <a:gd name="connsiteY5" fmla="*/ 0 h 1742130"/>
              <a:gd name="connsiteX6" fmla="*/ 12225528 w 12225528"/>
              <a:gd name="connsiteY6" fmla="*/ 1508582 h 1742130"/>
              <a:gd name="connsiteX7" fmla="*/ 9244676 w 12225528"/>
              <a:gd name="connsiteY7" fmla="*/ 1508582 h 1742130"/>
              <a:gd name="connsiteX8" fmla="*/ 8712452 w 12225528"/>
              <a:gd name="connsiteY8" fmla="*/ 1740686 h 1742130"/>
              <a:gd name="connsiteX9" fmla="*/ 8715763 w 12225528"/>
              <a:gd name="connsiteY9" fmla="*/ 1742130 h 1742130"/>
              <a:gd name="connsiteX10" fmla="*/ 0 w 12225528"/>
              <a:gd name="connsiteY10" fmla="*/ 1742130 h 1742130"/>
              <a:gd name="connsiteX0" fmla="*/ 0 w 12225528"/>
              <a:gd name="connsiteY0" fmla="*/ 0 h 1742130"/>
              <a:gd name="connsiteX1" fmla="*/ 2261766 w 12225528"/>
              <a:gd name="connsiteY1" fmla="*/ 0 h 1742130"/>
              <a:gd name="connsiteX2" fmla="*/ 2669225 w 12225528"/>
              <a:gd name="connsiteY2" fmla="*/ 201008 h 1742130"/>
              <a:gd name="connsiteX3" fmla="*/ 12193158 w 12225528"/>
              <a:gd name="connsiteY3" fmla="*/ 201008 h 1742130"/>
              <a:gd name="connsiteX4" fmla="*/ 12193158 w 12225528"/>
              <a:gd name="connsiteY4" fmla="*/ 0 h 1742130"/>
              <a:gd name="connsiteX5" fmla="*/ 12225528 w 12225528"/>
              <a:gd name="connsiteY5" fmla="*/ 1508582 h 1742130"/>
              <a:gd name="connsiteX6" fmla="*/ 9244676 w 12225528"/>
              <a:gd name="connsiteY6" fmla="*/ 1508582 h 1742130"/>
              <a:gd name="connsiteX7" fmla="*/ 8712452 w 12225528"/>
              <a:gd name="connsiteY7" fmla="*/ 1740686 h 1742130"/>
              <a:gd name="connsiteX8" fmla="*/ 8715763 w 12225528"/>
              <a:gd name="connsiteY8" fmla="*/ 1742130 h 1742130"/>
              <a:gd name="connsiteX9" fmla="*/ 0 w 12225528"/>
              <a:gd name="connsiteY9" fmla="*/ 1742130 h 1742130"/>
              <a:gd name="connsiteX10" fmla="*/ 0 w 12225528"/>
              <a:gd name="connsiteY10" fmla="*/ 0 h 1742130"/>
              <a:gd name="connsiteX0" fmla="*/ 0 w 12225528"/>
              <a:gd name="connsiteY0" fmla="*/ 0 h 1742130"/>
              <a:gd name="connsiteX1" fmla="*/ 2261766 w 12225528"/>
              <a:gd name="connsiteY1" fmla="*/ 0 h 1742130"/>
              <a:gd name="connsiteX2" fmla="*/ 2669225 w 12225528"/>
              <a:gd name="connsiteY2" fmla="*/ 201008 h 1742130"/>
              <a:gd name="connsiteX3" fmla="*/ 12193158 w 12225528"/>
              <a:gd name="connsiteY3" fmla="*/ 201008 h 1742130"/>
              <a:gd name="connsiteX4" fmla="*/ 12225528 w 12225528"/>
              <a:gd name="connsiteY4" fmla="*/ 1508582 h 1742130"/>
              <a:gd name="connsiteX5" fmla="*/ 9244676 w 12225528"/>
              <a:gd name="connsiteY5" fmla="*/ 1508582 h 1742130"/>
              <a:gd name="connsiteX6" fmla="*/ 8712452 w 12225528"/>
              <a:gd name="connsiteY6" fmla="*/ 1740686 h 1742130"/>
              <a:gd name="connsiteX7" fmla="*/ 8715763 w 12225528"/>
              <a:gd name="connsiteY7" fmla="*/ 1742130 h 1742130"/>
              <a:gd name="connsiteX8" fmla="*/ 0 w 12225528"/>
              <a:gd name="connsiteY8" fmla="*/ 1742130 h 1742130"/>
              <a:gd name="connsiteX9" fmla="*/ 0 w 12225528"/>
              <a:gd name="connsiteY9" fmla="*/ 0 h 1742130"/>
              <a:gd name="connsiteX0" fmla="*/ 0 w 12244111"/>
              <a:gd name="connsiteY0" fmla="*/ 0 h 1742130"/>
              <a:gd name="connsiteX1" fmla="*/ 2261766 w 12244111"/>
              <a:gd name="connsiteY1" fmla="*/ 0 h 1742130"/>
              <a:gd name="connsiteX2" fmla="*/ 2669225 w 12244111"/>
              <a:gd name="connsiteY2" fmla="*/ 201008 h 1742130"/>
              <a:gd name="connsiteX3" fmla="*/ 12244111 w 12244111"/>
              <a:gd name="connsiteY3" fmla="*/ 207273 h 1742130"/>
              <a:gd name="connsiteX4" fmla="*/ 12225528 w 12244111"/>
              <a:gd name="connsiteY4" fmla="*/ 1508582 h 1742130"/>
              <a:gd name="connsiteX5" fmla="*/ 9244676 w 12244111"/>
              <a:gd name="connsiteY5" fmla="*/ 1508582 h 1742130"/>
              <a:gd name="connsiteX6" fmla="*/ 8712452 w 12244111"/>
              <a:gd name="connsiteY6" fmla="*/ 1740686 h 1742130"/>
              <a:gd name="connsiteX7" fmla="*/ 8715763 w 12244111"/>
              <a:gd name="connsiteY7" fmla="*/ 1742130 h 1742130"/>
              <a:gd name="connsiteX8" fmla="*/ 0 w 12244111"/>
              <a:gd name="connsiteY8" fmla="*/ 1742130 h 1742130"/>
              <a:gd name="connsiteX9" fmla="*/ 0 w 12244111"/>
              <a:gd name="connsiteY9" fmla="*/ 0 h 1742130"/>
              <a:gd name="connsiteX0" fmla="*/ 0 w 12244111"/>
              <a:gd name="connsiteY0" fmla="*/ 0 h 1742130"/>
              <a:gd name="connsiteX1" fmla="*/ 2261766 w 12244111"/>
              <a:gd name="connsiteY1" fmla="*/ 0 h 1742130"/>
              <a:gd name="connsiteX2" fmla="*/ 2669225 w 12244111"/>
              <a:gd name="connsiteY2" fmla="*/ 201008 h 1742130"/>
              <a:gd name="connsiteX3" fmla="*/ 12244111 w 12244111"/>
              <a:gd name="connsiteY3" fmla="*/ 207273 h 1742130"/>
              <a:gd name="connsiteX4" fmla="*/ 12225528 w 12244111"/>
              <a:gd name="connsiteY4" fmla="*/ 1508582 h 1742130"/>
              <a:gd name="connsiteX5" fmla="*/ 9244676 w 12244111"/>
              <a:gd name="connsiteY5" fmla="*/ 1508582 h 1742130"/>
              <a:gd name="connsiteX6" fmla="*/ 8712452 w 12244111"/>
              <a:gd name="connsiteY6" fmla="*/ 1740686 h 1742130"/>
              <a:gd name="connsiteX7" fmla="*/ 8715763 w 12244111"/>
              <a:gd name="connsiteY7" fmla="*/ 1742130 h 1742130"/>
              <a:gd name="connsiteX8" fmla="*/ 0 w 12244111"/>
              <a:gd name="connsiteY8" fmla="*/ 1742130 h 1742130"/>
              <a:gd name="connsiteX9" fmla="*/ 0 w 12244111"/>
              <a:gd name="connsiteY9" fmla="*/ 0 h 1742130"/>
              <a:gd name="connsiteX0" fmla="*/ 0 w 12237742"/>
              <a:gd name="connsiteY0" fmla="*/ 0 h 1742130"/>
              <a:gd name="connsiteX1" fmla="*/ 2261766 w 12237742"/>
              <a:gd name="connsiteY1" fmla="*/ 0 h 1742130"/>
              <a:gd name="connsiteX2" fmla="*/ 2669225 w 12237742"/>
              <a:gd name="connsiteY2" fmla="*/ 201008 h 1742130"/>
              <a:gd name="connsiteX3" fmla="*/ 12237742 w 12237742"/>
              <a:gd name="connsiteY3" fmla="*/ 201008 h 1742130"/>
              <a:gd name="connsiteX4" fmla="*/ 12225528 w 12237742"/>
              <a:gd name="connsiteY4" fmla="*/ 1508582 h 1742130"/>
              <a:gd name="connsiteX5" fmla="*/ 9244676 w 12237742"/>
              <a:gd name="connsiteY5" fmla="*/ 1508582 h 1742130"/>
              <a:gd name="connsiteX6" fmla="*/ 8712452 w 12237742"/>
              <a:gd name="connsiteY6" fmla="*/ 1740686 h 1742130"/>
              <a:gd name="connsiteX7" fmla="*/ 8715763 w 12237742"/>
              <a:gd name="connsiteY7" fmla="*/ 1742130 h 1742130"/>
              <a:gd name="connsiteX8" fmla="*/ 0 w 12237742"/>
              <a:gd name="connsiteY8" fmla="*/ 1742130 h 1742130"/>
              <a:gd name="connsiteX9" fmla="*/ 0 w 12237742"/>
              <a:gd name="connsiteY9" fmla="*/ 0 h 1742130"/>
              <a:gd name="connsiteX0" fmla="*/ 0 w 12237742"/>
              <a:gd name="connsiteY0" fmla="*/ 0 h 1742130"/>
              <a:gd name="connsiteX1" fmla="*/ 2261766 w 12237742"/>
              <a:gd name="connsiteY1" fmla="*/ 0 h 1742130"/>
              <a:gd name="connsiteX2" fmla="*/ 2669225 w 12237742"/>
              <a:gd name="connsiteY2" fmla="*/ 201008 h 1742130"/>
              <a:gd name="connsiteX3" fmla="*/ 12237742 w 12237742"/>
              <a:gd name="connsiteY3" fmla="*/ 201008 h 1742130"/>
              <a:gd name="connsiteX4" fmla="*/ 12234020 w 12237742"/>
              <a:gd name="connsiteY4" fmla="*/ 1625525 h 1742130"/>
              <a:gd name="connsiteX5" fmla="*/ 9244676 w 12237742"/>
              <a:gd name="connsiteY5" fmla="*/ 1508582 h 1742130"/>
              <a:gd name="connsiteX6" fmla="*/ 8712452 w 12237742"/>
              <a:gd name="connsiteY6" fmla="*/ 1740686 h 1742130"/>
              <a:gd name="connsiteX7" fmla="*/ 8715763 w 12237742"/>
              <a:gd name="connsiteY7" fmla="*/ 1742130 h 1742130"/>
              <a:gd name="connsiteX8" fmla="*/ 0 w 12237742"/>
              <a:gd name="connsiteY8" fmla="*/ 1742130 h 1742130"/>
              <a:gd name="connsiteX9" fmla="*/ 0 w 12237742"/>
              <a:gd name="connsiteY9" fmla="*/ 0 h 1742130"/>
              <a:gd name="connsiteX0" fmla="*/ 0 w 12237742"/>
              <a:gd name="connsiteY0" fmla="*/ 0 h 1742130"/>
              <a:gd name="connsiteX1" fmla="*/ 2261766 w 12237742"/>
              <a:gd name="connsiteY1" fmla="*/ 0 h 1742130"/>
              <a:gd name="connsiteX2" fmla="*/ 2669225 w 12237742"/>
              <a:gd name="connsiteY2" fmla="*/ 201008 h 1742130"/>
              <a:gd name="connsiteX3" fmla="*/ 12237742 w 12237742"/>
              <a:gd name="connsiteY3" fmla="*/ 201008 h 1742130"/>
              <a:gd name="connsiteX4" fmla="*/ 12234020 w 12237742"/>
              <a:gd name="connsiteY4" fmla="*/ 1625525 h 1742130"/>
              <a:gd name="connsiteX5" fmla="*/ 8998407 w 12237742"/>
              <a:gd name="connsiteY5" fmla="*/ 1625525 h 1742130"/>
              <a:gd name="connsiteX6" fmla="*/ 8712452 w 12237742"/>
              <a:gd name="connsiteY6" fmla="*/ 1740686 h 1742130"/>
              <a:gd name="connsiteX7" fmla="*/ 8715763 w 12237742"/>
              <a:gd name="connsiteY7" fmla="*/ 1742130 h 1742130"/>
              <a:gd name="connsiteX8" fmla="*/ 0 w 12237742"/>
              <a:gd name="connsiteY8" fmla="*/ 1742130 h 1742130"/>
              <a:gd name="connsiteX9" fmla="*/ 0 w 12237742"/>
              <a:gd name="connsiteY9" fmla="*/ 0 h 1742130"/>
              <a:gd name="connsiteX0" fmla="*/ 0 w 12237742"/>
              <a:gd name="connsiteY0" fmla="*/ 0 h 1742130"/>
              <a:gd name="connsiteX1" fmla="*/ 2261766 w 12237742"/>
              <a:gd name="connsiteY1" fmla="*/ 0 h 1742130"/>
              <a:gd name="connsiteX2" fmla="*/ 2669225 w 12237742"/>
              <a:gd name="connsiteY2" fmla="*/ 201008 h 1742130"/>
              <a:gd name="connsiteX3" fmla="*/ 12237742 w 12237742"/>
              <a:gd name="connsiteY3" fmla="*/ 201008 h 1742130"/>
              <a:gd name="connsiteX4" fmla="*/ 12234020 w 12237742"/>
              <a:gd name="connsiteY4" fmla="*/ 1625525 h 1742130"/>
              <a:gd name="connsiteX5" fmla="*/ 9130033 w 12237742"/>
              <a:gd name="connsiteY5" fmla="*/ 1621349 h 1742130"/>
              <a:gd name="connsiteX6" fmla="*/ 8712452 w 12237742"/>
              <a:gd name="connsiteY6" fmla="*/ 1740686 h 1742130"/>
              <a:gd name="connsiteX7" fmla="*/ 8715763 w 12237742"/>
              <a:gd name="connsiteY7" fmla="*/ 1742130 h 1742130"/>
              <a:gd name="connsiteX8" fmla="*/ 0 w 12237742"/>
              <a:gd name="connsiteY8" fmla="*/ 1742130 h 1742130"/>
              <a:gd name="connsiteX9" fmla="*/ 0 w 12237742"/>
              <a:gd name="connsiteY9" fmla="*/ 0 h 1742130"/>
              <a:gd name="connsiteX0" fmla="*/ 0 w 12237742"/>
              <a:gd name="connsiteY0" fmla="*/ 0 h 1754660"/>
              <a:gd name="connsiteX1" fmla="*/ 2261766 w 12237742"/>
              <a:gd name="connsiteY1" fmla="*/ 0 h 1754660"/>
              <a:gd name="connsiteX2" fmla="*/ 2669225 w 12237742"/>
              <a:gd name="connsiteY2" fmla="*/ 201008 h 1754660"/>
              <a:gd name="connsiteX3" fmla="*/ 12237742 w 12237742"/>
              <a:gd name="connsiteY3" fmla="*/ 201008 h 1754660"/>
              <a:gd name="connsiteX4" fmla="*/ 12234020 w 12237742"/>
              <a:gd name="connsiteY4" fmla="*/ 1625525 h 1754660"/>
              <a:gd name="connsiteX5" fmla="*/ 9130033 w 12237742"/>
              <a:gd name="connsiteY5" fmla="*/ 1621349 h 1754660"/>
              <a:gd name="connsiteX6" fmla="*/ 8712452 w 12237742"/>
              <a:gd name="connsiteY6" fmla="*/ 1740686 h 1754660"/>
              <a:gd name="connsiteX7" fmla="*/ 8864374 w 12237742"/>
              <a:gd name="connsiteY7" fmla="*/ 1754660 h 1754660"/>
              <a:gd name="connsiteX8" fmla="*/ 0 w 12237742"/>
              <a:gd name="connsiteY8" fmla="*/ 1742130 h 1754660"/>
              <a:gd name="connsiteX9" fmla="*/ 0 w 12237742"/>
              <a:gd name="connsiteY9" fmla="*/ 0 h 1754660"/>
              <a:gd name="connsiteX0" fmla="*/ 0 w 12237742"/>
              <a:gd name="connsiteY0" fmla="*/ 0 h 1754660"/>
              <a:gd name="connsiteX1" fmla="*/ 2261766 w 12237742"/>
              <a:gd name="connsiteY1" fmla="*/ 0 h 1754660"/>
              <a:gd name="connsiteX2" fmla="*/ 2669225 w 12237742"/>
              <a:gd name="connsiteY2" fmla="*/ 201008 h 1754660"/>
              <a:gd name="connsiteX3" fmla="*/ 12237742 w 12237742"/>
              <a:gd name="connsiteY3" fmla="*/ 201008 h 1754660"/>
              <a:gd name="connsiteX4" fmla="*/ 12234020 w 12237742"/>
              <a:gd name="connsiteY4" fmla="*/ 1625525 h 1754660"/>
              <a:gd name="connsiteX5" fmla="*/ 9130033 w 12237742"/>
              <a:gd name="connsiteY5" fmla="*/ 1621349 h 1754660"/>
              <a:gd name="connsiteX6" fmla="*/ 8864374 w 12237742"/>
              <a:gd name="connsiteY6" fmla="*/ 1754660 h 1754660"/>
              <a:gd name="connsiteX7" fmla="*/ 0 w 12237742"/>
              <a:gd name="connsiteY7" fmla="*/ 1742130 h 1754660"/>
              <a:gd name="connsiteX8" fmla="*/ 0 w 12237742"/>
              <a:gd name="connsiteY8" fmla="*/ 0 h 17546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237742" h="1754660">
                <a:moveTo>
                  <a:pt x="0" y="0"/>
                </a:moveTo>
                <a:lnTo>
                  <a:pt x="2261766" y="0"/>
                </a:lnTo>
                <a:lnTo>
                  <a:pt x="2669225" y="201008"/>
                </a:lnTo>
                <a:lnTo>
                  <a:pt x="12237742" y="201008"/>
                </a:lnTo>
                <a:cubicBezTo>
                  <a:pt x="12236501" y="675847"/>
                  <a:pt x="12235261" y="1150686"/>
                  <a:pt x="12234020" y="1625525"/>
                </a:cubicBezTo>
                <a:lnTo>
                  <a:pt x="9130033" y="1621349"/>
                </a:lnTo>
                <a:lnTo>
                  <a:pt x="8864374" y="1754660"/>
                </a:lnTo>
                <a:lnTo>
                  <a:pt x="0" y="1742130"/>
                </a:lnTo>
                <a:lnTo>
                  <a:pt x="0" y="0"/>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Bef>
                <a:spcPts val="800"/>
              </a:spcBef>
            </a:pPr>
            <a:endParaRPr lang="es-PE" dirty="0">
              <a:solidFill>
                <a:schemeClr val="bg1"/>
              </a:solidFill>
            </a:endParaRPr>
          </a:p>
        </p:txBody>
      </p:sp>
      <p:pic>
        <p:nvPicPr>
          <p:cNvPr id="27" name="Picture 26">
            <a:extLst>
              <a:ext uri="{FF2B5EF4-FFF2-40B4-BE49-F238E27FC236}">
                <a16:creationId xmlns:a16="http://schemas.microsoft.com/office/drawing/2014/main" id="{DF771BFD-33F4-4302-AE78-E4E13F5674E4}"/>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5332" r="41262"/>
          <a:stretch/>
        </p:blipFill>
        <p:spPr>
          <a:xfrm rot="16200000" flipH="1">
            <a:off x="953985" y="4422514"/>
            <a:ext cx="295205" cy="1832111"/>
          </a:xfrm>
          <a:prstGeom prst="rect">
            <a:avLst/>
          </a:prstGeom>
        </p:spPr>
      </p:pic>
      <p:pic>
        <p:nvPicPr>
          <p:cNvPr id="28" name="Picture 27">
            <a:extLst>
              <a:ext uri="{FF2B5EF4-FFF2-40B4-BE49-F238E27FC236}">
                <a16:creationId xmlns:a16="http://schemas.microsoft.com/office/drawing/2014/main" id="{4E774EAE-5A9D-4928-87E1-FB117CF26F03}"/>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5332" r="41262"/>
          <a:stretch/>
        </p:blipFill>
        <p:spPr>
          <a:xfrm rot="5400000" flipH="1">
            <a:off x="10974163" y="5290916"/>
            <a:ext cx="295205" cy="1832111"/>
          </a:xfrm>
          <a:prstGeom prst="rect">
            <a:avLst/>
          </a:prstGeom>
        </p:spPr>
      </p:pic>
      <p:sp>
        <p:nvSpPr>
          <p:cNvPr id="10" name="Text Placeholder 27"/>
          <p:cNvSpPr>
            <a:spLocks noGrp="1"/>
          </p:cNvSpPr>
          <p:nvPr>
            <p:ph type="body" sz="quarter" idx="15" hasCustomPrompt="1"/>
          </p:nvPr>
        </p:nvSpPr>
        <p:spPr bwMode="gray">
          <a:xfrm>
            <a:off x="1001776" y="5574141"/>
            <a:ext cx="10541000" cy="609398"/>
          </a:xfrm>
        </p:spPr>
        <p:txBody>
          <a:bodyPr anchor="ctr" anchorCtr="0">
            <a:spAutoFit/>
          </a:bodyPr>
          <a:lstStyle>
            <a:lvl1pPr marL="0" indent="0" algn="ctr">
              <a:lnSpc>
                <a:spcPct val="90000"/>
              </a:lnSpc>
              <a:spcBef>
                <a:spcPts val="0"/>
              </a:spcBef>
              <a:buNone/>
              <a:defRPr sz="4400" b="0" cap="none" baseline="0">
                <a:solidFill>
                  <a:schemeClr val="bg1"/>
                </a:solidFill>
              </a:defRPr>
            </a:lvl1pPr>
          </a:lstStyle>
          <a:p>
            <a:pPr lvl="0"/>
            <a:r>
              <a:rPr lang="en-US" dirty="0"/>
              <a:t>Click to add text</a:t>
            </a:r>
          </a:p>
        </p:txBody>
      </p:sp>
      <p:sp>
        <p:nvSpPr>
          <p:cNvPr id="8" name="Freeform: Shape 7">
            <a:extLst>
              <a:ext uri="{FF2B5EF4-FFF2-40B4-BE49-F238E27FC236}">
                <a16:creationId xmlns:a16="http://schemas.microsoft.com/office/drawing/2014/main" id="{224C9CD7-8228-4D6A-93B4-D9B4CD2A2779}"/>
              </a:ext>
            </a:extLst>
          </p:cNvPr>
          <p:cNvSpPr/>
          <p:nvPr userDrawn="1"/>
        </p:nvSpPr>
        <p:spPr>
          <a:xfrm>
            <a:off x="0" y="6624535"/>
            <a:ext cx="12188952" cy="233465"/>
          </a:xfrm>
          <a:custGeom>
            <a:avLst/>
            <a:gdLst>
              <a:gd name="connsiteX0" fmla="*/ 8949770 w 11969877"/>
              <a:gd name="connsiteY0" fmla="*/ 0 h 233465"/>
              <a:gd name="connsiteX1" fmla="*/ 11969877 w 11969877"/>
              <a:gd name="connsiteY1" fmla="*/ 0 h 233465"/>
              <a:gd name="connsiteX2" fmla="*/ 11969877 w 11969877"/>
              <a:gd name="connsiteY2" fmla="*/ 233465 h 233465"/>
              <a:gd name="connsiteX3" fmla="*/ 9027859 w 11969877"/>
              <a:gd name="connsiteY3" fmla="*/ 233465 h 233465"/>
              <a:gd name="connsiteX4" fmla="*/ 1048596 w 11969877"/>
              <a:gd name="connsiteY4" fmla="*/ 233465 h 233465"/>
              <a:gd name="connsiteX5" fmla="*/ 33436 w 11969877"/>
              <a:gd name="connsiteY5" fmla="*/ 233465 h 233465"/>
              <a:gd name="connsiteX6" fmla="*/ 0 w 11969877"/>
              <a:gd name="connsiteY6" fmla="*/ 233465 h 233465"/>
              <a:gd name="connsiteX7" fmla="*/ 0 w 11969877"/>
              <a:gd name="connsiteY7" fmla="*/ 169375 h 233465"/>
              <a:gd name="connsiteX8" fmla="*/ 0 w 11969877"/>
              <a:gd name="connsiteY8" fmla="*/ 126232 h 233465"/>
              <a:gd name="connsiteX9" fmla="*/ 0 w 11969877"/>
              <a:gd name="connsiteY9" fmla="*/ 109891 h 233465"/>
              <a:gd name="connsiteX10" fmla="*/ 8695556 w 11969877"/>
              <a:gd name="connsiteY10" fmla="*/ 109891 h 233465"/>
              <a:gd name="connsiteX11" fmla="*/ 8949770 w 11969877"/>
              <a:gd name="connsiteY11" fmla="*/ 0 h 233465"/>
              <a:gd name="connsiteX0" fmla="*/ 8949770 w 11969877"/>
              <a:gd name="connsiteY0" fmla="*/ 0 h 233465"/>
              <a:gd name="connsiteX1" fmla="*/ 11969877 w 11969877"/>
              <a:gd name="connsiteY1" fmla="*/ 0 h 233465"/>
              <a:gd name="connsiteX2" fmla="*/ 11969877 w 11969877"/>
              <a:gd name="connsiteY2" fmla="*/ 233465 h 233465"/>
              <a:gd name="connsiteX3" fmla="*/ 9027859 w 11969877"/>
              <a:gd name="connsiteY3" fmla="*/ 233465 h 233465"/>
              <a:gd name="connsiteX4" fmla="*/ 1048596 w 11969877"/>
              <a:gd name="connsiteY4" fmla="*/ 233465 h 233465"/>
              <a:gd name="connsiteX5" fmla="*/ 33436 w 11969877"/>
              <a:gd name="connsiteY5" fmla="*/ 233465 h 233465"/>
              <a:gd name="connsiteX6" fmla="*/ 0 w 11969877"/>
              <a:gd name="connsiteY6" fmla="*/ 233465 h 233465"/>
              <a:gd name="connsiteX7" fmla="*/ 0 w 11969877"/>
              <a:gd name="connsiteY7" fmla="*/ 169375 h 233465"/>
              <a:gd name="connsiteX8" fmla="*/ 0 w 11969877"/>
              <a:gd name="connsiteY8" fmla="*/ 126232 h 233465"/>
              <a:gd name="connsiteX9" fmla="*/ 0 w 11969877"/>
              <a:gd name="connsiteY9" fmla="*/ 109891 h 233465"/>
              <a:gd name="connsiteX10" fmla="*/ 8708028 w 11969877"/>
              <a:gd name="connsiteY10" fmla="*/ 141641 h 233465"/>
              <a:gd name="connsiteX11" fmla="*/ 8949770 w 11969877"/>
              <a:gd name="connsiteY11" fmla="*/ 0 h 2334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969877" h="233465">
                <a:moveTo>
                  <a:pt x="8949770" y="0"/>
                </a:moveTo>
                <a:lnTo>
                  <a:pt x="11969877" y="0"/>
                </a:lnTo>
                <a:lnTo>
                  <a:pt x="11969877" y="233465"/>
                </a:lnTo>
                <a:lnTo>
                  <a:pt x="9027859" y="233465"/>
                </a:lnTo>
                <a:lnTo>
                  <a:pt x="1048596" y="233465"/>
                </a:lnTo>
                <a:lnTo>
                  <a:pt x="33436" y="233465"/>
                </a:lnTo>
                <a:lnTo>
                  <a:pt x="0" y="233465"/>
                </a:lnTo>
                <a:lnTo>
                  <a:pt x="0" y="169375"/>
                </a:lnTo>
                <a:lnTo>
                  <a:pt x="0" y="126232"/>
                </a:lnTo>
                <a:lnTo>
                  <a:pt x="0" y="109891"/>
                </a:lnTo>
                <a:lnTo>
                  <a:pt x="8708028" y="141641"/>
                </a:lnTo>
                <a:lnTo>
                  <a:pt x="8949770" y="0"/>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Bef>
                <a:spcPts val="800"/>
              </a:spcBef>
            </a:pPr>
            <a:endParaRPr lang="en-US" sz="1800" dirty="0">
              <a:solidFill>
                <a:schemeClr val="bg1"/>
              </a:solidFill>
            </a:endParaRPr>
          </a:p>
        </p:txBody>
      </p:sp>
      <p:sp>
        <p:nvSpPr>
          <p:cNvPr id="9" name="Freeform 4">
            <a:extLst>
              <a:ext uri="{FF2B5EF4-FFF2-40B4-BE49-F238E27FC236}">
                <a16:creationId xmlns:a16="http://schemas.microsoft.com/office/drawing/2014/main" id="{D3794542-D2C7-432F-9113-2FE8B4A5528B}"/>
              </a:ext>
            </a:extLst>
          </p:cNvPr>
          <p:cNvSpPr>
            <a:spLocks noChangeAspect="1"/>
          </p:cNvSpPr>
          <p:nvPr userDrawn="1"/>
        </p:nvSpPr>
        <p:spPr>
          <a:xfrm>
            <a:off x="8585655" y="6620256"/>
            <a:ext cx="545655" cy="237744"/>
          </a:xfrm>
          <a:custGeom>
            <a:avLst/>
            <a:gdLst>
              <a:gd name="connsiteX0" fmla="*/ 57150 w 1790700"/>
              <a:gd name="connsiteY0" fmla="*/ 0 h 3086100"/>
              <a:gd name="connsiteX1" fmla="*/ 1790700 w 1790700"/>
              <a:gd name="connsiteY1" fmla="*/ 3086100 h 3086100"/>
              <a:gd name="connsiteX2" fmla="*/ 0 w 1790700"/>
              <a:gd name="connsiteY2" fmla="*/ 3067050 h 3086100"/>
              <a:gd name="connsiteX3" fmla="*/ 0 w 1790700"/>
              <a:gd name="connsiteY3" fmla="*/ 0 h 3086100"/>
              <a:gd name="connsiteX4" fmla="*/ 19050 w 1790700"/>
              <a:gd name="connsiteY4" fmla="*/ 38100 h 3086100"/>
              <a:gd name="connsiteX5" fmla="*/ 19050 w 1790700"/>
              <a:gd name="connsiteY5" fmla="*/ 57150 h 3086100"/>
              <a:gd name="connsiteX0" fmla="*/ 57150 w 1790700"/>
              <a:gd name="connsiteY0" fmla="*/ 0 h 3086100"/>
              <a:gd name="connsiteX1" fmla="*/ 1790700 w 1790700"/>
              <a:gd name="connsiteY1" fmla="*/ 3086100 h 3086100"/>
              <a:gd name="connsiteX2" fmla="*/ 0 w 1790700"/>
              <a:gd name="connsiteY2" fmla="*/ 3067050 h 3086100"/>
              <a:gd name="connsiteX3" fmla="*/ 0 w 1790700"/>
              <a:gd name="connsiteY3" fmla="*/ 0 h 3086100"/>
              <a:gd name="connsiteX4" fmla="*/ 19050 w 1790700"/>
              <a:gd name="connsiteY4" fmla="*/ 38100 h 3086100"/>
              <a:gd name="connsiteX0" fmla="*/ 57150 w 1790700"/>
              <a:gd name="connsiteY0" fmla="*/ 0 h 3086100"/>
              <a:gd name="connsiteX1" fmla="*/ 1790700 w 1790700"/>
              <a:gd name="connsiteY1" fmla="*/ 3086100 h 3086100"/>
              <a:gd name="connsiteX2" fmla="*/ 0 w 1790700"/>
              <a:gd name="connsiteY2" fmla="*/ 3067050 h 3086100"/>
              <a:gd name="connsiteX3" fmla="*/ 0 w 1790700"/>
              <a:gd name="connsiteY3" fmla="*/ 0 h 3086100"/>
              <a:gd name="connsiteX0" fmla="*/ 57150 w 1790700"/>
              <a:gd name="connsiteY0" fmla="*/ 0 h 3086100"/>
              <a:gd name="connsiteX1" fmla="*/ 1790700 w 1790700"/>
              <a:gd name="connsiteY1" fmla="*/ 3086100 h 3086100"/>
              <a:gd name="connsiteX2" fmla="*/ 0 w 1790700"/>
              <a:gd name="connsiteY2" fmla="*/ 3067050 h 3086100"/>
              <a:gd name="connsiteX0" fmla="*/ 0 w 1733550"/>
              <a:gd name="connsiteY0" fmla="*/ 0 h 3086100"/>
              <a:gd name="connsiteX1" fmla="*/ 1733550 w 1733550"/>
              <a:gd name="connsiteY1" fmla="*/ 3086100 h 3086100"/>
              <a:gd name="connsiteX2" fmla="*/ 613087 w 1733550"/>
              <a:gd name="connsiteY2" fmla="*/ 3077523 h 3086100"/>
              <a:gd name="connsiteX0" fmla="*/ 245654 w 1120463"/>
              <a:gd name="connsiteY0" fmla="*/ 0 h 1525705"/>
              <a:gd name="connsiteX1" fmla="*/ 1120463 w 1120463"/>
              <a:gd name="connsiteY1" fmla="*/ 1525705 h 1525705"/>
              <a:gd name="connsiteX2" fmla="*/ 0 w 1120463"/>
              <a:gd name="connsiteY2" fmla="*/ 1517128 h 1525705"/>
              <a:gd name="connsiteX0" fmla="*/ 811167 w 1120463"/>
              <a:gd name="connsiteY0" fmla="*/ 0 h 1211531"/>
              <a:gd name="connsiteX1" fmla="*/ 1120463 w 1120463"/>
              <a:gd name="connsiteY1" fmla="*/ 1211531 h 1211531"/>
              <a:gd name="connsiteX2" fmla="*/ 0 w 1120463"/>
              <a:gd name="connsiteY2" fmla="*/ 1202954 h 1211531"/>
              <a:gd name="connsiteX0" fmla="*/ 874002 w 1183298"/>
              <a:gd name="connsiteY0" fmla="*/ 0 h 1213426"/>
              <a:gd name="connsiteX1" fmla="*/ 1183298 w 1183298"/>
              <a:gd name="connsiteY1" fmla="*/ 1211531 h 1213426"/>
              <a:gd name="connsiteX2" fmla="*/ 0 w 1183298"/>
              <a:gd name="connsiteY2" fmla="*/ 1213426 h 1213426"/>
              <a:gd name="connsiteX0" fmla="*/ 857693 w 1166989"/>
              <a:gd name="connsiteY0" fmla="*/ 0 h 1213426"/>
              <a:gd name="connsiteX1" fmla="*/ 1166989 w 1166989"/>
              <a:gd name="connsiteY1" fmla="*/ 1211531 h 1213426"/>
              <a:gd name="connsiteX2" fmla="*/ 0 w 1166989"/>
              <a:gd name="connsiteY2" fmla="*/ 1213426 h 1213426"/>
              <a:gd name="connsiteX0" fmla="*/ 1062735 w 1166989"/>
              <a:gd name="connsiteY0" fmla="*/ 0 h 857667"/>
              <a:gd name="connsiteX1" fmla="*/ 1166989 w 1166989"/>
              <a:gd name="connsiteY1" fmla="*/ 855772 h 857667"/>
              <a:gd name="connsiteX2" fmla="*/ 0 w 1166989"/>
              <a:gd name="connsiteY2" fmla="*/ 857667 h 857667"/>
              <a:gd name="connsiteX0" fmla="*/ 1037104 w 1166989"/>
              <a:gd name="connsiteY0" fmla="*/ 0 h 928818"/>
              <a:gd name="connsiteX1" fmla="*/ 1166989 w 1166989"/>
              <a:gd name="connsiteY1" fmla="*/ 926923 h 928818"/>
              <a:gd name="connsiteX2" fmla="*/ 0 w 1166989"/>
              <a:gd name="connsiteY2" fmla="*/ 928818 h 928818"/>
              <a:gd name="connsiteX0" fmla="*/ 1037104 w 1037104"/>
              <a:gd name="connsiteY0" fmla="*/ 0 h 962499"/>
              <a:gd name="connsiteX1" fmla="*/ 791077 w 1037104"/>
              <a:gd name="connsiteY1" fmla="*/ 962499 h 962499"/>
              <a:gd name="connsiteX2" fmla="*/ 0 w 1037104"/>
              <a:gd name="connsiteY2" fmla="*/ 928818 h 962499"/>
              <a:gd name="connsiteX0" fmla="*/ 1037104 w 1037104"/>
              <a:gd name="connsiteY0" fmla="*/ 0 h 962499"/>
              <a:gd name="connsiteX1" fmla="*/ 791077 w 1037104"/>
              <a:gd name="connsiteY1" fmla="*/ 962499 h 962499"/>
              <a:gd name="connsiteX2" fmla="*/ 0 w 1037104"/>
              <a:gd name="connsiteY2" fmla="*/ 955031 h 962499"/>
              <a:gd name="connsiteX0" fmla="*/ 1046547 w 1046547"/>
              <a:gd name="connsiteY0" fmla="*/ 0 h 949391"/>
              <a:gd name="connsiteX1" fmla="*/ 791077 w 1046547"/>
              <a:gd name="connsiteY1" fmla="*/ 949391 h 949391"/>
              <a:gd name="connsiteX2" fmla="*/ 0 w 1046547"/>
              <a:gd name="connsiteY2" fmla="*/ 941923 h 949391"/>
            </a:gdLst>
            <a:ahLst/>
            <a:cxnLst>
              <a:cxn ang="0">
                <a:pos x="connsiteX0" y="connsiteY0"/>
              </a:cxn>
              <a:cxn ang="0">
                <a:pos x="connsiteX1" y="connsiteY1"/>
              </a:cxn>
              <a:cxn ang="0">
                <a:pos x="connsiteX2" y="connsiteY2"/>
              </a:cxn>
            </a:cxnLst>
            <a:rect l="l" t="t" r="r" b="b"/>
            <a:pathLst>
              <a:path w="1046547" h="949391">
                <a:moveTo>
                  <a:pt x="1046547" y="0"/>
                </a:moveTo>
                <a:lnTo>
                  <a:pt x="791077" y="949391"/>
                </a:lnTo>
                <a:lnTo>
                  <a:pt x="0" y="941923"/>
                </a:lnTo>
              </a:path>
            </a:pathLst>
          </a:custGeom>
          <a:gradFill>
            <a:gsLst>
              <a:gs pos="35000">
                <a:srgbClr val="6CC04A"/>
              </a:gs>
              <a:gs pos="100000">
                <a:schemeClr val="bg2">
                  <a:lumMod val="60000"/>
                  <a:lumOff val="4000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FFFFFF"/>
              </a:solidFill>
              <a:effectLst/>
              <a:uLnTx/>
              <a:uFillTx/>
              <a:latin typeface="PTCRaleway" panose="020B0503030101060003" pitchFamily="34" charset="0"/>
              <a:ea typeface="+mn-ea"/>
              <a:cs typeface="+mn-cs"/>
            </a:endParaRPr>
          </a:p>
        </p:txBody>
      </p:sp>
    </p:spTree>
    <p:extLst>
      <p:ext uri="{BB962C8B-B14F-4D97-AF65-F5344CB8AC3E}">
        <p14:creationId xmlns:p14="http://schemas.microsoft.com/office/powerpoint/2010/main" val="33460206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amp; 2 Images">
    <p:spTree>
      <p:nvGrpSpPr>
        <p:cNvPr id="1" name=""/>
        <p:cNvGrpSpPr/>
        <p:nvPr/>
      </p:nvGrpSpPr>
      <p:grpSpPr>
        <a:xfrm>
          <a:off x="0" y="0"/>
          <a:ext cx="0" cy="0"/>
          <a:chOff x="0" y="0"/>
          <a:chExt cx="0" cy="0"/>
        </a:xfrm>
      </p:grpSpPr>
      <p:sp>
        <p:nvSpPr>
          <p:cNvPr id="15" name="Picture Placeholder 9">
            <a:extLst>
              <a:ext uri="{FF2B5EF4-FFF2-40B4-BE49-F238E27FC236}">
                <a16:creationId xmlns:a16="http://schemas.microsoft.com/office/drawing/2014/main" id="{992F3403-9E0E-4B63-A839-BDA384B8E3CD}"/>
              </a:ext>
            </a:extLst>
          </p:cNvPr>
          <p:cNvSpPr>
            <a:spLocks noGrp="1"/>
          </p:cNvSpPr>
          <p:nvPr>
            <p:ph type="pic" sz="quarter" idx="20" hasCustomPrompt="1"/>
          </p:nvPr>
        </p:nvSpPr>
        <p:spPr>
          <a:xfrm>
            <a:off x="6448291" y="2733199"/>
            <a:ext cx="5120640" cy="2812017"/>
          </a:xfrm>
          <a:prstGeom prst="rect">
            <a:avLst/>
          </a:prstGeom>
          <a:ln w="9525">
            <a:solidFill>
              <a:schemeClr val="bg2"/>
            </a:solidFill>
          </a:ln>
        </p:spPr>
        <p:style>
          <a:lnRef idx="1">
            <a:schemeClr val="accent1"/>
          </a:lnRef>
          <a:fillRef idx="0">
            <a:schemeClr val="accent1"/>
          </a:fillRef>
          <a:effectRef idx="0">
            <a:schemeClr val="accent1"/>
          </a:effectRef>
          <a:fontRef idx="minor">
            <a:schemeClr val="tx1"/>
          </a:fontRef>
        </p:style>
        <p:txBody>
          <a:bodyPr vert="horz" lIns="0" tIns="0" rIns="0" bIns="548640" rtlCol="0" anchor="ctr">
            <a:noAutofit/>
          </a:bodyPr>
          <a:lstStyle>
            <a:lvl1pPr marL="0" indent="0" algn="ctr">
              <a:buFontTx/>
              <a:buNone/>
              <a:defRPr lang="en-US" sz="1000" b="0" baseline="0">
                <a:solidFill>
                  <a:schemeClr val="accent3"/>
                </a:solidFill>
                <a:effectLst/>
                <a:ea typeface="+mj-ea"/>
                <a:cs typeface="Arial" pitchFamily="34" charset="0"/>
              </a:defRPr>
            </a:lvl1pPr>
          </a:lstStyle>
          <a:p>
            <a:r>
              <a:rPr lang="en-US" dirty="0"/>
              <a:t>Click picture icon to add image</a:t>
            </a:r>
          </a:p>
        </p:txBody>
      </p:sp>
      <p:sp>
        <p:nvSpPr>
          <p:cNvPr id="8" name="Picture Placeholder 2">
            <a:extLst>
              <a:ext uri="{FF2B5EF4-FFF2-40B4-BE49-F238E27FC236}">
                <a16:creationId xmlns:a16="http://schemas.microsoft.com/office/drawing/2014/main" id="{2BD43F86-E489-4FF1-B499-7BF132B537E4}"/>
              </a:ext>
            </a:extLst>
          </p:cNvPr>
          <p:cNvSpPr>
            <a:spLocks noGrp="1"/>
          </p:cNvSpPr>
          <p:nvPr>
            <p:ph type="pic" idx="14" hasCustomPrompt="1"/>
          </p:nvPr>
        </p:nvSpPr>
        <p:spPr>
          <a:xfrm>
            <a:off x="868491" y="2733198"/>
            <a:ext cx="5120640" cy="2818946"/>
          </a:xfrm>
          <a:prstGeom prst="rect">
            <a:avLst/>
          </a:prstGeom>
          <a:ln w="9525">
            <a:solidFill>
              <a:schemeClr val="bg2"/>
            </a:solidFill>
          </a:ln>
        </p:spPr>
        <p:style>
          <a:lnRef idx="1">
            <a:schemeClr val="accent1"/>
          </a:lnRef>
          <a:fillRef idx="0">
            <a:schemeClr val="accent1"/>
          </a:fillRef>
          <a:effectRef idx="0">
            <a:schemeClr val="accent1"/>
          </a:effectRef>
          <a:fontRef idx="minor">
            <a:schemeClr val="tx1"/>
          </a:fontRef>
        </p:style>
        <p:txBody>
          <a:bodyPr vert="horz" lIns="0" tIns="0" rIns="0" bIns="548640" rtlCol="0" anchor="ctr">
            <a:noAutofit/>
          </a:bodyPr>
          <a:lstStyle>
            <a:lvl1pPr marL="0" indent="0" algn="ctr">
              <a:buFontTx/>
              <a:buNone/>
              <a:defRPr lang="ko-KR" altLang="en-US" sz="1000" baseline="0" dirty="0">
                <a:solidFill>
                  <a:schemeClr val="accent3"/>
                </a:solidFill>
                <a:effectLst/>
                <a:ea typeface="+mj-ea"/>
                <a:cs typeface="Arial" pitchFamily="34" charset="0"/>
              </a:defRPr>
            </a:lvl1pPr>
          </a:lstStyle>
          <a:p>
            <a:r>
              <a:rPr lang="en-US" dirty="0"/>
              <a:t>Click picture icon to add image</a:t>
            </a:r>
          </a:p>
        </p:txBody>
      </p:sp>
      <p:sp>
        <p:nvSpPr>
          <p:cNvPr id="4" name="Text Placeholder 3">
            <a:extLst>
              <a:ext uri="{FF2B5EF4-FFF2-40B4-BE49-F238E27FC236}">
                <a16:creationId xmlns:a16="http://schemas.microsoft.com/office/drawing/2014/main" id="{A25A81C6-E459-47F8-BE7E-E79BDF03FDEA}"/>
              </a:ext>
            </a:extLst>
          </p:cNvPr>
          <p:cNvSpPr>
            <a:spLocks noGrp="1"/>
          </p:cNvSpPr>
          <p:nvPr>
            <p:ph type="body" sz="quarter" idx="15" hasCustomPrompt="1"/>
          </p:nvPr>
        </p:nvSpPr>
        <p:spPr>
          <a:xfrm>
            <a:off x="868491" y="5726510"/>
            <a:ext cx="5120640" cy="276999"/>
          </a:xfrm>
        </p:spPr>
        <p:txBody>
          <a:bodyPr anchor="t" anchorCtr="0">
            <a:spAutoFit/>
          </a:bodyPr>
          <a:lstStyle>
            <a:lvl1pPr marL="0" indent="0" algn="ctr">
              <a:spcBef>
                <a:spcPts val="600"/>
              </a:spcBef>
              <a:buFontTx/>
              <a:buNone/>
              <a:defRPr sz="2000"/>
            </a:lvl1pPr>
          </a:lstStyle>
          <a:p>
            <a:pPr lvl="0"/>
            <a:r>
              <a:rPr lang="en-US" dirty="0"/>
              <a:t>Add text</a:t>
            </a:r>
          </a:p>
        </p:txBody>
      </p:sp>
      <p:sp>
        <p:nvSpPr>
          <p:cNvPr id="16" name="Text Placeholder 15">
            <a:extLst>
              <a:ext uri="{FF2B5EF4-FFF2-40B4-BE49-F238E27FC236}">
                <a16:creationId xmlns:a16="http://schemas.microsoft.com/office/drawing/2014/main" id="{9043761F-801C-479C-8752-C1BDEEBF98F6}"/>
              </a:ext>
            </a:extLst>
          </p:cNvPr>
          <p:cNvSpPr>
            <a:spLocks noGrp="1"/>
          </p:cNvSpPr>
          <p:nvPr>
            <p:ph type="body" sz="quarter" idx="16" hasCustomPrompt="1"/>
          </p:nvPr>
        </p:nvSpPr>
        <p:spPr>
          <a:xfrm>
            <a:off x="868491" y="2306505"/>
            <a:ext cx="5120640" cy="347472"/>
          </a:xfrm>
        </p:spPr>
        <p:txBody>
          <a:bodyPr vert="horz" lIns="0" tIns="0" rIns="0" bIns="0" rtlCol="0" anchor="ctr" anchorCtr="0">
            <a:noAutofit/>
          </a:bodyPr>
          <a:lstStyle>
            <a:lvl1pPr>
              <a:defRPr lang="en-US" sz="2000" b="1" dirty="0"/>
            </a:lvl1pPr>
          </a:lstStyle>
          <a:p>
            <a:pPr marL="0" lvl="0" indent="0" algn="ctr">
              <a:lnSpc>
                <a:spcPct val="85000"/>
              </a:lnSpc>
              <a:spcBef>
                <a:spcPts val="0"/>
              </a:spcBef>
              <a:buNone/>
            </a:pPr>
            <a:r>
              <a:rPr lang="en-US" dirty="0"/>
              <a:t>Add title</a:t>
            </a:r>
          </a:p>
        </p:txBody>
      </p:sp>
      <p:sp>
        <p:nvSpPr>
          <p:cNvPr id="12" name="Text Placeholder 11">
            <a:extLst>
              <a:ext uri="{FF2B5EF4-FFF2-40B4-BE49-F238E27FC236}">
                <a16:creationId xmlns:a16="http://schemas.microsoft.com/office/drawing/2014/main" id="{6A54E21F-0B44-4E38-ACAA-0FDCCCC54078}"/>
              </a:ext>
            </a:extLst>
          </p:cNvPr>
          <p:cNvSpPr>
            <a:spLocks noGrp="1"/>
          </p:cNvSpPr>
          <p:nvPr>
            <p:ph type="body" sz="quarter" idx="21" hasCustomPrompt="1"/>
          </p:nvPr>
        </p:nvSpPr>
        <p:spPr>
          <a:xfrm>
            <a:off x="6448291" y="2306505"/>
            <a:ext cx="5120640" cy="347472"/>
          </a:xfrm>
        </p:spPr>
        <p:txBody>
          <a:bodyPr vert="horz" lIns="0" tIns="0" rIns="0" bIns="0" rtlCol="0" anchor="ctr" anchorCtr="0">
            <a:noAutofit/>
          </a:bodyPr>
          <a:lstStyle>
            <a:lvl1pPr>
              <a:defRPr lang="en-US" sz="2000" b="1" dirty="0"/>
            </a:lvl1pPr>
          </a:lstStyle>
          <a:p>
            <a:pPr marL="0" lvl="0" indent="0" algn="ctr">
              <a:lnSpc>
                <a:spcPct val="85000"/>
              </a:lnSpc>
              <a:spcBef>
                <a:spcPts val="0"/>
              </a:spcBef>
              <a:buNone/>
            </a:pPr>
            <a:r>
              <a:rPr lang="en-US" dirty="0"/>
              <a:t>Add title</a:t>
            </a:r>
          </a:p>
        </p:txBody>
      </p:sp>
      <p:sp>
        <p:nvSpPr>
          <p:cNvPr id="13" name="Text Placeholder 12">
            <a:extLst>
              <a:ext uri="{FF2B5EF4-FFF2-40B4-BE49-F238E27FC236}">
                <a16:creationId xmlns:a16="http://schemas.microsoft.com/office/drawing/2014/main" id="{A63526DB-9535-4082-B91B-6B7BAEA14DD3}"/>
              </a:ext>
            </a:extLst>
          </p:cNvPr>
          <p:cNvSpPr>
            <a:spLocks noGrp="1"/>
          </p:cNvSpPr>
          <p:nvPr>
            <p:ph type="body" sz="quarter" idx="25" hasCustomPrompt="1"/>
          </p:nvPr>
        </p:nvSpPr>
        <p:spPr>
          <a:xfrm>
            <a:off x="6448291" y="5726510"/>
            <a:ext cx="5120640" cy="276999"/>
          </a:xfrm>
        </p:spPr>
        <p:txBody>
          <a:bodyPr anchor="t" anchorCtr="0">
            <a:spAutoFit/>
          </a:bodyPr>
          <a:lstStyle>
            <a:lvl1pPr marL="0" indent="0" algn="ctr">
              <a:spcBef>
                <a:spcPts val="600"/>
              </a:spcBef>
              <a:buFontTx/>
              <a:buNone/>
              <a:defRPr sz="2000"/>
            </a:lvl1pPr>
          </a:lstStyle>
          <a:p>
            <a:pPr lvl="0"/>
            <a:r>
              <a:rPr lang="en-US" dirty="0"/>
              <a:t>Add text</a:t>
            </a:r>
          </a:p>
        </p:txBody>
      </p:sp>
      <p:sp>
        <p:nvSpPr>
          <p:cNvPr id="9" name="Rectangle 8">
            <a:extLst>
              <a:ext uri="{FF2B5EF4-FFF2-40B4-BE49-F238E27FC236}">
                <a16:creationId xmlns:a16="http://schemas.microsoft.com/office/drawing/2014/main" id="{0A4810EA-6AC4-42A0-98B5-8E13D873B935}"/>
              </a:ext>
            </a:extLst>
          </p:cNvPr>
          <p:cNvSpPr/>
          <p:nvPr userDrawn="1"/>
        </p:nvSpPr>
        <p:spPr>
          <a:xfrm>
            <a:off x="0" y="2733198"/>
            <a:ext cx="521970" cy="281894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Bef>
                <a:spcPts val="800"/>
              </a:spcBef>
            </a:pPr>
            <a:endParaRPr lang="en-US">
              <a:solidFill>
                <a:schemeClr val="accent3"/>
              </a:solidFill>
            </a:endParaRPr>
          </a:p>
        </p:txBody>
      </p:sp>
      <p:sp>
        <p:nvSpPr>
          <p:cNvPr id="3" name="Title 2">
            <a:extLst>
              <a:ext uri="{FF2B5EF4-FFF2-40B4-BE49-F238E27FC236}">
                <a16:creationId xmlns:a16="http://schemas.microsoft.com/office/drawing/2014/main" id="{A1ACC0E3-5E84-4BB5-8DA2-7D1265BD1860}"/>
              </a:ext>
            </a:extLst>
          </p:cNvPr>
          <p:cNvSpPr>
            <a:spLocks noGrp="1"/>
          </p:cNvSpPr>
          <p:nvPr>
            <p:ph type="title" hasCustomPrompt="1"/>
          </p:nvPr>
        </p:nvSpPr>
        <p:spPr/>
        <p:txBody>
          <a:bodyPr/>
          <a:lstStyle>
            <a:lvl1pPr>
              <a:defRPr/>
            </a:lvl1pPr>
          </a:lstStyle>
          <a:p>
            <a:r>
              <a:rPr lang="en-US" dirty="0"/>
              <a:t>add title – keep it brief</a:t>
            </a:r>
          </a:p>
        </p:txBody>
      </p:sp>
      <p:sp>
        <p:nvSpPr>
          <p:cNvPr id="11" name="Text Placeholder 3">
            <a:extLst>
              <a:ext uri="{FF2B5EF4-FFF2-40B4-BE49-F238E27FC236}">
                <a16:creationId xmlns:a16="http://schemas.microsoft.com/office/drawing/2014/main" id="{B036D3AC-79C7-4664-A1E8-BBAF473E80C2}"/>
              </a:ext>
            </a:extLst>
          </p:cNvPr>
          <p:cNvSpPr>
            <a:spLocks noGrp="1"/>
          </p:cNvSpPr>
          <p:nvPr>
            <p:ph type="body" sz="quarter" idx="42" hasCustomPrompt="1"/>
          </p:nvPr>
        </p:nvSpPr>
        <p:spPr>
          <a:xfrm>
            <a:off x="880243" y="1704673"/>
            <a:ext cx="10698480" cy="304699"/>
          </a:xfrm>
          <a:noFill/>
        </p:spPr>
        <p:txBody>
          <a:bodyPr vert="horz" lIns="0" tIns="0" rIns="0" bIns="0" rtlCol="0" anchor="ctr" anchorCtr="0">
            <a:spAutoFit/>
          </a:bodyPr>
          <a:lstStyle>
            <a:lvl1pPr marL="0" indent="0" algn="ctr">
              <a:buFontTx/>
              <a:buNone/>
              <a:defRPr lang="en-US" sz="2200" dirty="0"/>
            </a:lvl1pPr>
          </a:lstStyle>
          <a:p>
            <a:pPr lvl="0"/>
            <a:r>
              <a:rPr lang="en-US" dirty="0"/>
              <a:t>Call out blurb</a:t>
            </a:r>
          </a:p>
        </p:txBody>
      </p:sp>
    </p:spTree>
    <p:extLst>
      <p:ext uri="{BB962C8B-B14F-4D97-AF65-F5344CB8AC3E}">
        <p14:creationId xmlns:p14="http://schemas.microsoft.com/office/powerpoint/2010/main" val="4615509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amp; 3 Imag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05A72E-D1F7-4136-939F-889F4228C564}"/>
              </a:ext>
            </a:extLst>
          </p:cNvPr>
          <p:cNvSpPr>
            <a:spLocks noGrp="1"/>
          </p:cNvSpPr>
          <p:nvPr>
            <p:ph type="title" hasCustomPrompt="1"/>
          </p:nvPr>
        </p:nvSpPr>
        <p:spPr/>
        <p:txBody>
          <a:bodyPr/>
          <a:lstStyle/>
          <a:p>
            <a:r>
              <a:rPr lang="en-US" dirty="0"/>
              <a:t>add title – keep it brief</a:t>
            </a:r>
          </a:p>
        </p:txBody>
      </p:sp>
      <p:sp>
        <p:nvSpPr>
          <p:cNvPr id="17" name="Picture Placeholder 2">
            <a:extLst>
              <a:ext uri="{FF2B5EF4-FFF2-40B4-BE49-F238E27FC236}">
                <a16:creationId xmlns:a16="http://schemas.microsoft.com/office/drawing/2014/main" id="{734315CC-5450-4530-9C7C-C6329202BB8A}"/>
              </a:ext>
            </a:extLst>
          </p:cNvPr>
          <p:cNvSpPr>
            <a:spLocks noGrp="1"/>
          </p:cNvSpPr>
          <p:nvPr>
            <p:ph type="pic" idx="14" hasCustomPrompt="1"/>
          </p:nvPr>
        </p:nvSpPr>
        <p:spPr>
          <a:xfrm>
            <a:off x="868491" y="2733197"/>
            <a:ext cx="3291840" cy="2818947"/>
          </a:xfrm>
          <a:prstGeom prst="rect">
            <a:avLst/>
          </a:prstGeom>
          <a:ln w="9525">
            <a:solidFill>
              <a:schemeClr val="bg2"/>
            </a:solidFill>
          </a:ln>
        </p:spPr>
        <p:style>
          <a:lnRef idx="1">
            <a:schemeClr val="accent1"/>
          </a:lnRef>
          <a:fillRef idx="0">
            <a:schemeClr val="accent1"/>
          </a:fillRef>
          <a:effectRef idx="0">
            <a:schemeClr val="accent1"/>
          </a:effectRef>
          <a:fontRef idx="minor">
            <a:schemeClr val="tx1"/>
          </a:fontRef>
        </p:style>
        <p:txBody>
          <a:bodyPr vert="horz" lIns="0" tIns="0" rIns="0" bIns="548640" rtlCol="0" anchor="ctr">
            <a:noAutofit/>
          </a:bodyPr>
          <a:lstStyle>
            <a:lvl1pPr marL="273582" indent="-273582" algn="ctr">
              <a:buFontTx/>
              <a:buNone/>
              <a:defRPr lang="ko-KR" altLang="en-US" sz="1000" baseline="0" dirty="0">
                <a:solidFill>
                  <a:schemeClr val="accent3"/>
                </a:solidFill>
                <a:effectLst/>
                <a:ea typeface="+mj-ea"/>
                <a:cs typeface="Arial" pitchFamily="34" charset="0"/>
              </a:defRPr>
            </a:lvl1pPr>
          </a:lstStyle>
          <a:p>
            <a:r>
              <a:rPr lang="en-US" dirty="0"/>
              <a:t>Click picture icon to add image</a:t>
            </a:r>
          </a:p>
        </p:txBody>
      </p:sp>
      <p:sp>
        <p:nvSpPr>
          <p:cNvPr id="18" name="Text Placeholder 3">
            <a:extLst>
              <a:ext uri="{FF2B5EF4-FFF2-40B4-BE49-F238E27FC236}">
                <a16:creationId xmlns:a16="http://schemas.microsoft.com/office/drawing/2014/main" id="{EB534821-3EEB-4445-9BFD-DB59E8633CDB}"/>
              </a:ext>
            </a:extLst>
          </p:cNvPr>
          <p:cNvSpPr>
            <a:spLocks noGrp="1"/>
          </p:cNvSpPr>
          <p:nvPr>
            <p:ph type="body" sz="quarter" idx="15" hasCustomPrompt="1"/>
          </p:nvPr>
        </p:nvSpPr>
        <p:spPr>
          <a:xfrm>
            <a:off x="868491" y="5726508"/>
            <a:ext cx="3291840" cy="276999"/>
          </a:xfrm>
        </p:spPr>
        <p:txBody>
          <a:bodyPr anchor="t" anchorCtr="0">
            <a:spAutoFit/>
          </a:bodyPr>
          <a:lstStyle>
            <a:lvl1pPr marL="0" indent="0" algn="ctr">
              <a:spcBef>
                <a:spcPts val="600"/>
              </a:spcBef>
              <a:buFontTx/>
              <a:buNone/>
              <a:defRPr sz="2000"/>
            </a:lvl1pPr>
          </a:lstStyle>
          <a:p>
            <a:pPr lvl="0"/>
            <a:r>
              <a:rPr lang="en-US" dirty="0"/>
              <a:t>Add text</a:t>
            </a:r>
          </a:p>
        </p:txBody>
      </p:sp>
      <p:sp>
        <p:nvSpPr>
          <p:cNvPr id="19" name="Text Placeholder 15">
            <a:extLst>
              <a:ext uri="{FF2B5EF4-FFF2-40B4-BE49-F238E27FC236}">
                <a16:creationId xmlns:a16="http://schemas.microsoft.com/office/drawing/2014/main" id="{CC531C6F-4A51-422E-AAD3-66A97107E2E5}"/>
              </a:ext>
            </a:extLst>
          </p:cNvPr>
          <p:cNvSpPr>
            <a:spLocks noGrp="1"/>
          </p:cNvSpPr>
          <p:nvPr>
            <p:ph type="body" sz="quarter" idx="16" hasCustomPrompt="1"/>
          </p:nvPr>
        </p:nvSpPr>
        <p:spPr>
          <a:xfrm>
            <a:off x="868491" y="2262960"/>
            <a:ext cx="3291840" cy="347472"/>
          </a:xfrm>
        </p:spPr>
        <p:txBody>
          <a:bodyPr anchor="ctr" anchorCtr="0"/>
          <a:lstStyle>
            <a:lvl1pPr marL="0" indent="0" algn="ctr">
              <a:lnSpc>
                <a:spcPct val="85000"/>
              </a:lnSpc>
              <a:spcBef>
                <a:spcPts val="0"/>
              </a:spcBef>
              <a:buFontTx/>
              <a:buNone/>
              <a:defRPr sz="2000" b="1">
                <a:solidFill>
                  <a:schemeClr val="tx1"/>
                </a:solidFill>
              </a:defRPr>
            </a:lvl1pPr>
          </a:lstStyle>
          <a:p>
            <a:pPr lvl="0"/>
            <a:r>
              <a:rPr lang="en-US" dirty="0"/>
              <a:t>Add title</a:t>
            </a:r>
          </a:p>
        </p:txBody>
      </p:sp>
      <p:sp>
        <p:nvSpPr>
          <p:cNvPr id="30" name="Picture Placeholder 2">
            <a:extLst>
              <a:ext uri="{FF2B5EF4-FFF2-40B4-BE49-F238E27FC236}">
                <a16:creationId xmlns:a16="http://schemas.microsoft.com/office/drawing/2014/main" id="{6967C944-2E33-48AF-A92E-64B48BAE381C}"/>
              </a:ext>
            </a:extLst>
          </p:cNvPr>
          <p:cNvSpPr>
            <a:spLocks noGrp="1"/>
          </p:cNvSpPr>
          <p:nvPr>
            <p:ph type="pic" idx="17" hasCustomPrompt="1"/>
          </p:nvPr>
        </p:nvSpPr>
        <p:spPr>
          <a:xfrm>
            <a:off x="4568395" y="2733198"/>
            <a:ext cx="3291840" cy="2818947"/>
          </a:xfrm>
          <a:prstGeom prst="rect">
            <a:avLst/>
          </a:prstGeom>
          <a:ln w="9525">
            <a:solidFill>
              <a:schemeClr val="bg2"/>
            </a:solidFill>
          </a:ln>
        </p:spPr>
        <p:style>
          <a:lnRef idx="1">
            <a:schemeClr val="accent1"/>
          </a:lnRef>
          <a:fillRef idx="0">
            <a:schemeClr val="accent1"/>
          </a:fillRef>
          <a:effectRef idx="0">
            <a:schemeClr val="accent1"/>
          </a:effectRef>
          <a:fontRef idx="minor">
            <a:schemeClr val="tx1"/>
          </a:fontRef>
        </p:style>
        <p:txBody>
          <a:bodyPr vert="horz" lIns="0" tIns="0" rIns="0" bIns="548640" rtlCol="0" anchor="ctr">
            <a:noAutofit/>
          </a:bodyPr>
          <a:lstStyle>
            <a:lvl1pPr marL="273582" indent="-273582" algn="ctr">
              <a:buFontTx/>
              <a:buNone/>
              <a:defRPr lang="ko-KR" altLang="en-US" sz="1000" baseline="0" dirty="0">
                <a:solidFill>
                  <a:schemeClr val="accent3"/>
                </a:solidFill>
                <a:effectLst/>
                <a:ea typeface="+mj-ea"/>
                <a:cs typeface="Arial" pitchFamily="34" charset="0"/>
              </a:defRPr>
            </a:lvl1pPr>
          </a:lstStyle>
          <a:p>
            <a:r>
              <a:rPr lang="en-US" dirty="0"/>
              <a:t>Click picture icon to add image</a:t>
            </a:r>
          </a:p>
        </p:txBody>
      </p:sp>
      <p:sp>
        <p:nvSpPr>
          <p:cNvPr id="31" name="Text Placeholder 3">
            <a:extLst>
              <a:ext uri="{FF2B5EF4-FFF2-40B4-BE49-F238E27FC236}">
                <a16:creationId xmlns:a16="http://schemas.microsoft.com/office/drawing/2014/main" id="{E3C1D16A-B36B-4A37-80DC-56B397DB69FA}"/>
              </a:ext>
            </a:extLst>
          </p:cNvPr>
          <p:cNvSpPr>
            <a:spLocks noGrp="1"/>
          </p:cNvSpPr>
          <p:nvPr>
            <p:ph type="body" sz="quarter" idx="18" hasCustomPrompt="1"/>
          </p:nvPr>
        </p:nvSpPr>
        <p:spPr>
          <a:xfrm>
            <a:off x="4568396" y="5726509"/>
            <a:ext cx="3291839" cy="276999"/>
          </a:xfrm>
        </p:spPr>
        <p:txBody>
          <a:bodyPr anchor="t" anchorCtr="0">
            <a:spAutoFit/>
          </a:bodyPr>
          <a:lstStyle>
            <a:lvl1pPr marL="0" indent="0" algn="ctr">
              <a:spcBef>
                <a:spcPts val="600"/>
              </a:spcBef>
              <a:buFontTx/>
              <a:buNone/>
              <a:defRPr sz="2000"/>
            </a:lvl1pPr>
          </a:lstStyle>
          <a:p>
            <a:pPr lvl="0"/>
            <a:r>
              <a:rPr lang="en-US" dirty="0"/>
              <a:t>Add text</a:t>
            </a:r>
          </a:p>
        </p:txBody>
      </p:sp>
      <p:sp>
        <p:nvSpPr>
          <p:cNvPr id="32" name="Text Placeholder 15">
            <a:extLst>
              <a:ext uri="{FF2B5EF4-FFF2-40B4-BE49-F238E27FC236}">
                <a16:creationId xmlns:a16="http://schemas.microsoft.com/office/drawing/2014/main" id="{962DDCE9-BA3F-487A-BE50-C54836969250}"/>
              </a:ext>
            </a:extLst>
          </p:cNvPr>
          <p:cNvSpPr>
            <a:spLocks noGrp="1"/>
          </p:cNvSpPr>
          <p:nvPr>
            <p:ph type="body" sz="quarter" idx="19" hasCustomPrompt="1"/>
          </p:nvPr>
        </p:nvSpPr>
        <p:spPr>
          <a:xfrm>
            <a:off x="4568394" y="2262961"/>
            <a:ext cx="3291841" cy="347472"/>
          </a:xfrm>
        </p:spPr>
        <p:txBody>
          <a:bodyPr anchor="ctr" anchorCtr="0"/>
          <a:lstStyle>
            <a:lvl1pPr marL="0" indent="0" algn="ctr">
              <a:lnSpc>
                <a:spcPct val="85000"/>
              </a:lnSpc>
              <a:spcBef>
                <a:spcPts val="0"/>
              </a:spcBef>
              <a:buFontTx/>
              <a:buNone/>
              <a:defRPr sz="2000" b="1">
                <a:solidFill>
                  <a:schemeClr val="tx1"/>
                </a:solidFill>
              </a:defRPr>
            </a:lvl1pPr>
          </a:lstStyle>
          <a:p>
            <a:pPr lvl="0"/>
            <a:r>
              <a:rPr lang="en-US" dirty="0"/>
              <a:t>Add title</a:t>
            </a:r>
          </a:p>
        </p:txBody>
      </p:sp>
      <p:sp>
        <p:nvSpPr>
          <p:cNvPr id="33" name="Picture Placeholder 2">
            <a:extLst>
              <a:ext uri="{FF2B5EF4-FFF2-40B4-BE49-F238E27FC236}">
                <a16:creationId xmlns:a16="http://schemas.microsoft.com/office/drawing/2014/main" id="{82F5E967-4A83-4253-BD21-C1AF0745354A}"/>
              </a:ext>
            </a:extLst>
          </p:cNvPr>
          <p:cNvSpPr>
            <a:spLocks noGrp="1"/>
          </p:cNvSpPr>
          <p:nvPr>
            <p:ph type="pic" idx="20" hasCustomPrompt="1"/>
          </p:nvPr>
        </p:nvSpPr>
        <p:spPr>
          <a:xfrm>
            <a:off x="8268299" y="2733198"/>
            <a:ext cx="3291840" cy="2818947"/>
          </a:xfrm>
          <a:prstGeom prst="rect">
            <a:avLst/>
          </a:prstGeom>
          <a:ln w="9525">
            <a:solidFill>
              <a:schemeClr val="bg2"/>
            </a:solidFill>
          </a:ln>
        </p:spPr>
        <p:style>
          <a:lnRef idx="1">
            <a:schemeClr val="accent1"/>
          </a:lnRef>
          <a:fillRef idx="0">
            <a:schemeClr val="accent1"/>
          </a:fillRef>
          <a:effectRef idx="0">
            <a:schemeClr val="accent1"/>
          </a:effectRef>
          <a:fontRef idx="minor">
            <a:schemeClr val="tx1"/>
          </a:fontRef>
        </p:style>
        <p:txBody>
          <a:bodyPr vert="horz" lIns="0" tIns="0" rIns="0" bIns="548640" rtlCol="0" anchor="ctr">
            <a:noAutofit/>
          </a:bodyPr>
          <a:lstStyle>
            <a:lvl1pPr marL="273582" indent="-273582" algn="ctr">
              <a:buFontTx/>
              <a:buNone/>
              <a:defRPr lang="ko-KR" altLang="en-US" sz="1000" baseline="0" dirty="0">
                <a:solidFill>
                  <a:schemeClr val="accent3"/>
                </a:solidFill>
                <a:effectLst/>
                <a:ea typeface="+mj-ea"/>
                <a:cs typeface="Arial" pitchFamily="34" charset="0"/>
              </a:defRPr>
            </a:lvl1pPr>
          </a:lstStyle>
          <a:p>
            <a:r>
              <a:rPr lang="en-US" dirty="0"/>
              <a:t>Click picture icon to add image</a:t>
            </a:r>
          </a:p>
        </p:txBody>
      </p:sp>
      <p:sp>
        <p:nvSpPr>
          <p:cNvPr id="34" name="Text Placeholder 3">
            <a:extLst>
              <a:ext uri="{FF2B5EF4-FFF2-40B4-BE49-F238E27FC236}">
                <a16:creationId xmlns:a16="http://schemas.microsoft.com/office/drawing/2014/main" id="{75B09AD7-1999-496D-94CA-E2EF33498E38}"/>
              </a:ext>
            </a:extLst>
          </p:cNvPr>
          <p:cNvSpPr>
            <a:spLocks noGrp="1"/>
          </p:cNvSpPr>
          <p:nvPr>
            <p:ph type="body" sz="quarter" idx="21" hasCustomPrompt="1"/>
          </p:nvPr>
        </p:nvSpPr>
        <p:spPr>
          <a:xfrm>
            <a:off x="8268300" y="5726509"/>
            <a:ext cx="3291839" cy="276999"/>
          </a:xfrm>
        </p:spPr>
        <p:txBody>
          <a:bodyPr anchor="t" anchorCtr="0">
            <a:spAutoFit/>
          </a:bodyPr>
          <a:lstStyle>
            <a:lvl1pPr marL="0" indent="0" algn="ctr">
              <a:spcBef>
                <a:spcPts val="600"/>
              </a:spcBef>
              <a:buFontTx/>
              <a:buNone/>
              <a:defRPr sz="2000"/>
            </a:lvl1pPr>
          </a:lstStyle>
          <a:p>
            <a:pPr lvl="0"/>
            <a:r>
              <a:rPr lang="en-US" dirty="0"/>
              <a:t>Add text</a:t>
            </a:r>
          </a:p>
        </p:txBody>
      </p:sp>
      <p:sp>
        <p:nvSpPr>
          <p:cNvPr id="35" name="Text Placeholder 15">
            <a:extLst>
              <a:ext uri="{FF2B5EF4-FFF2-40B4-BE49-F238E27FC236}">
                <a16:creationId xmlns:a16="http://schemas.microsoft.com/office/drawing/2014/main" id="{EBE0EF1C-084A-4014-B7CE-5126CE9333B6}"/>
              </a:ext>
            </a:extLst>
          </p:cNvPr>
          <p:cNvSpPr>
            <a:spLocks noGrp="1"/>
          </p:cNvSpPr>
          <p:nvPr>
            <p:ph type="body" sz="quarter" idx="22" hasCustomPrompt="1"/>
          </p:nvPr>
        </p:nvSpPr>
        <p:spPr>
          <a:xfrm>
            <a:off x="8268299" y="2262961"/>
            <a:ext cx="3291840" cy="347472"/>
          </a:xfrm>
        </p:spPr>
        <p:txBody>
          <a:bodyPr anchor="ctr" anchorCtr="0"/>
          <a:lstStyle>
            <a:lvl1pPr marL="0" indent="0" algn="ctr">
              <a:lnSpc>
                <a:spcPct val="85000"/>
              </a:lnSpc>
              <a:spcBef>
                <a:spcPts val="0"/>
              </a:spcBef>
              <a:buFontTx/>
              <a:buNone/>
              <a:defRPr sz="2000" b="1">
                <a:solidFill>
                  <a:schemeClr val="tx1"/>
                </a:solidFill>
              </a:defRPr>
            </a:lvl1pPr>
          </a:lstStyle>
          <a:p>
            <a:pPr lvl="0"/>
            <a:r>
              <a:rPr lang="en-US" dirty="0"/>
              <a:t>Add title</a:t>
            </a:r>
          </a:p>
        </p:txBody>
      </p:sp>
      <p:sp>
        <p:nvSpPr>
          <p:cNvPr id="20" name="Text Placeholder 3">
            <a:extLst>
              <a:ext uri="{FF2B5EF4-FFF2-40B4-BE49-F238E27FC236}">
                <a16:creationId xmlns:a16="http://schemas.microsoft.com/office/drawing/2014/main" id="{D3814C0C-404A-4CB0-97DE-88DAC91C9F18}"/>
              </a:ext>
            </a:extLst>
          </p:cNvPr>
          <p:cNvSpPr>
            <a:spLocks noGrp="1"/>
          </p:cNvSpPr>
          <p:nvPr>
            <p:ph type="body" sz="quarter" idx="42" hasCustomPrompt="1"/>
          </p:nvPr>
        </p:nvSpPr>
        <p:spPr>
          <a:xfrm>
            <a:off x="880243" y="1704676"/>
            <a:ext cx="10698480" cy="304699"/>
          </a:xfrm>
          <a:noFill/>
        </p:spPr>
        <p:txBody>
          <a:bodyPr vert="horz" lIns="0" tIns="0" rIns="0" bIns="0" rtlCol="0" anchor="ctr" anchorCtr="0">
            <a:spAutoFit/>
          </a:bodyPr>
          <a:lstStyle>
            <a:lvl1pPr marL="0" indent="0" algn="ctr">
              <a:buFontTx/>
              <a:buNone/>
              <a:defRPr lang="en-US" sz="2200" dirty="0"/>
            </a:lvl1pPr>
          </a:lstStyle>
          <a:p>
            <a:pPr lvl="0"/>
            <a:r>
              <a:rPr lang="en-US" dirty="0"/>
              <a:t>Call out blurb</a:t>
            </a:r>
          </a:p>
        </p:txBody>
      </p:sp>
      <p:sp>
        <p:nvSpPr>
          <p:cNvPr id="23" name="Rectangle 22">
            <a:extLst>
              <a:ext uri="{FF2B5EF4-FFF2-40B4-BE49-F238E27FC236}">
                <a16:creationId xmlns:a16="http://schemas.microsoft.com/office/drawing/2014/main" id="{AB871635-60AD-42B6-916B-AB696FC21C48}"/>
              </a:ext>
            </a:extLst>
          </p:cNvPr>
          <p:cNvSpPr/>
          <p:nvPr userDrawn="1"/>
        </p:nvSpPr>
        <p:spPr>
          <a:xfrm>
            <a:off x="0" y="2733198"/>
            <a:ext cx="521970" cy="281894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Bef>
                <a:spcPts val="800"/>
              </a:spcBef>
            </a:pPr>
            <a:endParaRPr lang="en-US">
              <a:solidFill>
                <a:schemeClr val="accent3"/>
              </a:solidFill>
            </a:endParaRPr>
          </a:p>
        </p:txBody>
      </p:sp>
    </p:spTree>
    <p:extLst>
      <p:ext uri="{BB962C8B-B14F-4D97-AF65-F5344CB8AC3E}">
        <p14:creationId xmlns:p14="http://schemas.microsoft.com/office/powerpoint/2010/main" val="11428106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amp; 4 Imag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05A72E-D1F7-4136-939F-889F4228C564}"/>
              </a:ext>
            </a:extLst>
          </p:cNvPr>
          <p:cNvSpPr>
            <a:spLocks noGrp="1"/>
          </p:cNvSpPr>
          <p:nvPr>
            <p:ph type="title" hasCustomPrompt="1"/>
          </p:nvPr>
        </p:nvSpPr>
        <p:spPr/>
        <p:txBody>
          <a:bodyPr/>
          <a:lstStyle/>
          <a:p>
            <a:r>
              <a:rPr lang="en-US" dirty="0"/>
              <a:t>add title – keep it brief</a:t>
            </a:r>
          </a:p>
        </p:txBody>
      </p:sp>
      <p:sp>
        <p:nvSpPr>
          <p:cNvPr id="19" name="Picture Placeholder 2">
            <a:extLst>
              <a:ext uri="{FF2B5EF4-FFF2-40B4-BE49-F238E27FC236}">
                <a16:creationId xmlns:a16="http://schemas.microsoft.com/office/drawing/2014/main" id="{D08697A9-763D-4101-A629-B8C464587CD1}"/>
              </a:ext>
            </a:extLst>
          </p:cNvPr>
          <p:cNvSpPr>
            <a:spLocks noGrp="1"/>
          </p:cNvSpPr>
          <p:nvPr>
            <p:ph type="pic" idx="14" hasCustomPrompt="1"/>
          </p:nvPr>
        </p:nvSpPr>
        <p:spPr>
          <a:xfrm>
            <a:off x="868491" y="2733197"/>
            <a:ext cx="2331720" cy="2818947"/>
          </a:xfrm>
          <a:prstGeom prst="rect">
            <a:avLst/>
          </a:prstGeom>
          <a:ln w="9525">
            <a:solidFill>
              <a:schemeClr val="bg2"/>
            </a:solidFill>
          </a:ln>
        </p:spPr>
        <p:style>
          <a:lnRef idx="1">
            <a:schemeClr val="accent1"/>
          </a:lnRef>
          <a:fillRef idx="0">
            <a:schemeClr val="accent1"/>
          </a:fillRef>
          <a:effectRef idx="0">
            <a:schemeClr val="accent1"/>
          </a:effectRef>
          <a:fontRef idx="minor">
            <a:schemeClr val="tx1"/>
          </a:fontRef>
        </p:style>
        <p:txBody>
          <a:bodyPr vert="horz" lIns="0" tIns="0" rIns="0" bIns="548640" rtlCol="0" anchor="ctr">
            <a:noAutofit/>
          </a:bodyPr>
          <a:lstStyle>
            <a:lvl1pPr marL="273582" indent="-273582" algn="ctr">
              <a:buFontTx/>
              <a:buNone/>
              <a:defRPr lang="ko-KR" altLang="en-US" sz="1000" baseline="0" dirty="0">
                <a:solidFill>
                  <a:schemeClr val="accent3"/>
                </a:solidFill>
                <a:effectLst/>
                <a:ea typeface="+mj-ea"/>
                <a:cs typeface="Arial" pitchFamily="34" charset="0"/>
              </a:defRPr>
            </a:lvl1pPr>
          </a:lstStyle>
          <a:p>
            <a:r>
              <a:rPr lang="en-US" dirty="0"/>
              <a:t>Click picture icon to add image</a:t>
            </a:r>
          </a:p>
        </p:txBody>
      </p:sp>
      <p:sp>
        <p:nvSpPr>
          <p:cNvPr id="20" name="Text Placeholder 3">
            <a:extLst>
              <a:ext uri="{FF2B5EF4-FFF2-40B4-BE49-F238E27FC236}">
                <a16:creationId xmlns:a16="http://schemas.microsoft.com/office/drawing/2014/main" id="{C0A40696-8BDA-4467-A948-8FDEE7B2B086}"/>
              </a:ext>
            </a:extLst>
          </p:cNvPr>
          <p:cNvSpPr>
            <a:spLocks noGrp="1"/>
          </p:cNvSpPr>
          <p:nvPr>
            <p:ph type="body" sz="quarter" idx="15" hasCustomPrompt="1"/>
          </p:nvPr>
        </p:nvSpPr>
        <p:spPr>
          <a:xfrm>
            <a:off x="868491" y="5726508"/>
            <a:ext cx="2331718" cy="276999"/>
          </a:xfrm>
        </p:spPr>
        <p:txBody>
          <a:bodyPr anchor="t" anchorCtr="0">
            <a:spAutoFit/>
          </a:bodyPr>
          <a:lstStyle>
            <a:lvl1pPr marL="0" indent="0" algn="ctr">
              <a:spcBef>
                <a:spcPts val="600"/>
              </a:spcBef>
              <a:buFontTx/>
              <a:buNone/>
              <a:defRPr sz="2000"/>
            </a:lvl1pPr>
          </a:lstStyle>
          <a:p>
            <a:pPr lvl="0"/>
            <a:r>
              <a:rPr lang="en-US" dirty="0"/>
              <a:t>Add text</a:t>
            </a:r>
          </a:p>
        </p:txBody>
      </p:sp>
      <p:sp>
        <p:nvSpPr>
          <p:cNvPr id="21" name="Text Placeholder 15">
            <a:extLst>
              <a:ext uri="{FF2B5EF4-FFF2-40B4-BE49-F238E27FC236}">
                <a16:creationId xmlns:a16="http://schemas.microsoft.com/office/drawing/2014/main" id="{45834AD1-67C6-4B52-9C1C-9CDC6E8FEDA2}"/>
              </a:ext>
            </a:extLst>
          </p:cNvPr>
          <p:cNvSpPr>
            <a:spLocks noGrp="1"/>
          </p:cNvSpPr>
          <p:nvPr>
            <p:ph type="body" sz="quarter" idx="16" hasCustomPrompt="1"/>
          </p:nvPr>
        </p:nvSpPr>
        <p:spPr>
          <a:xfrm>
            <a:off x="880243" y="2262961"/>
            <a:ext cx="2319968" cy="347472"/>
          </a:xfrm>
        </p:spPr>
        <p:txBody>
          <a:bodyPr anchor="ctr" anchorCtr="0"/>
          <a:lstStyle>
            <a:lvl1pPr marL="0" indent="0" algn="ctr">
              <a:lnSpc>
                <a:spcPct val="85000"/>
              </a:lnSpc>
              <a:spcBef>
                <a:spcPts val="0"/>
              </a:spcBef>
              <a:buFontTx/>
              <a:buNone/>
              <a:defRPr sz="2000" b="1">
                <a:solidFill>
                  <a:schemeClr val="tx1"/>
                </a:solidFill>
              </a:defRPr>
            </a:lvl1pPr>
          </a:lstStyle>
          <a:p>
            <a:pPr lvl="0"/>
            <a:r>
              <a:rPr lang="en-US" dirty="0"/>
              <a:t>Add title</a:t>
            </a:r>
          </a:p>
        </p:txBody>
      </p:sp>
      <p:sp>
        <p:nvSpPr>
          <p:cNvPr id="22" name="Picture Placeholder 2">
            <a:extLst>
              <a:ext uri="{FF2B5EF4-FFF2-40B4-BE49-F238E27FC236}">
                <a16:creationId xmlns:a16="http://schemas.microsoft.com/office/drawing/2014/main" id="{E2F4580A-0D5E-4A36-897F-BC82DD2F947C}"/>
              </a:ext>
            </a:extLst>
          </p:cNvPr>
          <p:cNvSpPr>
            <a:spLocks noGrp="1"/>
          </p:cNvSpPr>
          <p:nvPr>
            <p:ph type="pic" idx="17" hasCustomPrompt="1"/>
          </p:nvPr>
        </p:nvSpPr>
        <p:spPr>
          <a:xfrm>
            <a:off x="3661171" y="2733198"/>
            <a:ext cx="2331720" cy="2818947"/>
          </a:xfrm>
          <a:prstGeom prst="rect">
            <a:avLst/>
          </a:prstGeom>
          <a:ln w="9525">
            <a:solidFill>
              <a:schemeClr val="bg2"/>
            </a:solidFill>
          </a:ln>
        </p:spPr>
        <p:style>
          <a:lnRef idx="1">
            <a:schemeClr val="accent1"/>
          </a:lnRef>
          <a:fillRef idx="0">
            <a:schemeClr val="accent1"/>
          </a:fillRef>
          <a:effectRef idx="0">
            <a:schemeClr val="accent1"/>
          </a:effectRef>
          <a:fontRef idx="minor">
            <a:schemeClr val="tx1"/>
          </a:fontRef>
        </p:style>
        <p:txBody>
          <a:bodyPr vert="horz" lIns="0" tIns="0" rIns="0" bIns="548640" rtlCol="0" anchor="ctr">
            <a:noAutofit/>
          </a:bodyPr>
          <a:lstStyle>
            <a:lvl1pPr marL="273582" indent="-273582" algn="ctr">
              <a:buFontTx/>
              <a:buNone/>
              <a:defRPr lang="ko-KR" altLang="en-US" sz="1000" baseline="0" dirty="0">
                <a:solidFill>
                  <a:schemeClr val="accent3"/>
                </a:solidFill>
                <a:effectLst/>
                <a:ea typeface="+mj-ea"/>
                <a:cs typeface="Arial" pitchFamily="34" charset="0"/>
              </a:defRPr>
            </a:lvl1pPr>
          </a:lstStyle>
          <a:p>
            <a:r>
              <a:rPr lang="en-US" dirty="0"/>
              <a:t>Click picture icon to add image</a:t>
            </a:r>
          </a:p>
        </p:txBody>
      </p:sp>
      <p:sp>
        <p:nvSpPr>
          <p:cNvPr id="23" name="Text Placeholder 3">
            <a:extLst>
              <a:ext uri="{FF2B5EF4-FFF2-40B4-BE49-F238E27FC236}">
                <a16:creationId xmlns:a16="http://schemas.microsoft.com/office/drawing/2014/main" id="{414A120F-5254-4AC5-842D-EDABFC036717}"/>
              </a:ext>
            </a:extLst>
          </p:cNvPr>
          <p:cNvSpPr>
            <a:spLocks noGrp="1"/>
          </p:cNvSpPr>
          <p:nvPr>
            <p:ph type="body" sz="quarter" idx="18" hasCustomPrompt="1"/>
          </p:nvPr>
        </p:nvSpPr>
        <p:spPr>
          <a:xfrm>
            <a:off x="3661171" y="5726509"/>
            <a:ext cx="2331720" cy="276999"/>
          </a:xfrm>
        </p:spPr>
        <p:txBody>
          <a:bodyPr anchor="t" anchorCtr="0">
            <a:spAutoFit/>
          </a:bodyPr>
          <a:lstStyle>
            <a:lvl1pPr marL="0" indent="0" algn="ctr">
              <a:spcBef>
                <a:spcPts val="600"/>
              </a:spcBef>
              <a:buFontTx/>
              <a:buNone/>
              <a:defRPr sz="2000"/>
            </a:lvl1pPr>
          </a:lstStyle>
          <a:p>
            <a:pPr lvl="0"/>
            <a:r>
              <a:rPr lang="en-US" dirty="0"/>
              <a:t>Add text</a:t>
            </a:r>
          </a:p>
        </p:txBody>
      </p:sp>
      <p:sp>
        <p:nvSpPr>
          <p:cNvPr id="24" name="Text Placeholder 15">
            <a:extLst>
              <a:ext uri="{FF2B5EF4-FFF2-40B4-BE49-F238E27FC236}">
                <a16:creationId xmlns:a16="http://schemas.microsoft.com/office/drawing/2014/main" id="{5D35A3A2-00CD-44D2-821F-EE7604FDC940}"/>
              </a:ext>
            </a:extLst>
          </p:cNvPr>
          <p:cNvSpPr>
            <a:spLocks noGrp="1"/>
          </p:cNvSpPr>
          <p:nvPr>
            <p:ph type="body" sz="quarter" idx="19" hasCustomPrompt="1"/>
          </p:nvPr>
        </p:nvSpPr>
        <p:spPr>
          <a:xfrm>
            <a:off x="3661171" y="2262962"/>
            <a:ext cx="2331720" cy="347472"/>
          </a:xfrm>
        </p:spPr>
        <p:txBody>
          <a:bodyPr anchor="ctr" anchorCtr="0"/>
          <a:lstStyle>
            <a:lvl1pPr marL="0" indent="0" algn="ctr">
              <a:lnSpc>
                <a:spcPct val="85000"/>
              </a:lnSpc>
              <a:spcBef>
                <a:spcPts val="0"/>
              </a:spcBef>
              <a:buFontTx/>
              <a:buNone/>
              <a:defRPr sz="2000" b="1">
                <a:solidFill>
                  <a:schemeClr val="tx1"/>
                </a:solidFill>
              </a:defRPr>
            </a:lvl1pPr>
          </a:lstStyle>
          <a:p>
            <a:pPr lvl="0"/>
            <a:r>
              <a:rPr lang="en-US" dirty="0"/>
              <a:t>Add title</a:t>
            </a:r>
          </a:p>
        </p:txBody>
      </p:sp>
      <p:sp>
        <p:nvSpPr>
          <p:cNvPr id="32" name="Picture Placeholder 2">
            <a:extLst>
              <a:ext uri="{FF2B5EF4-FFF2-40B4-BE49-F238E27FC236}">
                <a16:creationId xmlns:a16="http://schemas.microsoft.com/office/drawing/2014/main" id="{5B0DDFC0-CB07-4EDA-AA79-CD84C12E72DF}"/>
              </a:ext>
            </a:extLst>
          </p:cNvPr>
          <p:cNvSpPr>
            <a:spLocks noGrp="1"/>
          </p:cNvSpPr>
          <p:nvPr>
            <p:ph type="pic" idx="20" hasCustomPrompt="1"/>
          </p:nvPr>
        </p:nvSpPr>
        <p:spPr>
          <a:xfrm>
            <a:off x="6453851" y="2733198"/>
            <a:ext cx="2331720" cy="2818947"/>
          </a:xfrm>
          <a:prstGeom prst="rect">
            <a:avLst/>
          </a:prstGeom>
          <a:ln w="9525">
            <a:solidFill>
              <a:schemeClr val="bg2"/>
            </a:solidFill>
          </a:ln>
        </p:spPr>
        <p:style>
          <a:lnRef idx="1">
            <a:schemeClr val="accent1"/>
          </a:lnRef>
          <a:fillRef idx="0">
            <a:schemeClr val="accent1"/>
          </a:fillRef>
          <a:effectRef idx="0">
            <a:schemeClr val="accent1"/>
          </a:effectRef>
          <a:fontRef idx="minor">
            <a:schemeClr val="tx1"/>
          </a:fontRef>
        </p:style>
        <p:txBody>
          <a:bodyPr vert="horz" lIns="0" tIns="0" rIns="0" bIns="548640" rtlCol="0" anchor="ctr">
            <a:noAutofit/>
          </a:bodyPr>
          <a:lstStyle>
            <a:lvl1pPr marL="273582" indent="-273582" algn="ctr">
              <a:buFontTx/>
              <a:buNone/>
              <a:defRPr lang="ko-KR" altLang="en-US" sz="1000" baseline="0" dirty="0">
                <a:solidFill>
                  <a:schemeClr val="accent3"/>
                </a:solidFill>
                <a:effectLst/>
                <a:ea typeface="+mj-ea"/>
                <a:cs typeface="Arial" pitchFamily="34" charset="0"/>
              </a:defRPr>
            </a:lvl1pPr>
          </a:lstStyle>
          <a:p>
            <a:r>
              <a:rPr lang="en-US" dirty="0"/>
              <a:t>Click picture icon to add image</a:t>
            </a:r>
          </a:p>
        </p:txBody>
      </p:sp>
      <p:sp>
        <p:nvSpPr>
          <p:cNvPr id="33" name="Text Placeholder 3">
            <a:extLst>
              <a:ext uri="{FF2B5EF4-FFF2-40B4-BE49-F238E27FC236}">
                <a16:creationId xmlns:a16="http://schemas.microsoft.com/office/drawing/2014/main" id="{DDA81F5E-BFF4-40DB-9E52-F5C7CE6F26D3}"/>
              </a:ext>
            </a:extLst>
          </p:cNvPr>
          <p:cNvSpPr>
            <a:spLocks noGrp="1"/>
          </p:cNvSpPr>
          <p:nvPr>
            <p:ph type="body" sz="quarter" idx="21" hasCustomPrompt="1"/>
          </p:nvPr>
        </p:nvSpPr>
        <p:spPr>
          <a:xfrm>
            <a:off x="6453851" y="5726509"/>
            <a:ext cx="2331719" cy="276999"/>
          </a:xfrm>
        </p:spPr>
        <p:txBody>
          <a:bodyPr anchor="t" anchorCtr="0">
            <a:spAutoFit/>
          </a:bodyPr>
          <a:lstStyle>
            <a:lvl1pPr marL="0" indent="0" algn="ctr">
              <a:spcBef>
                <a:spcPts val="600"/>
              </a:spcBef>
              <a:buFontTx/>
              <a:buNone/>
              <a:defRPr sz="2000"/>
            </a:lvl1pPr>
          </a:lstStyle>
          <a:p>
            <a:pPr lvl="0"/>
            <a:r>
              <a:rPr lang="en-US" dirty="0"/>
              <a:t>Add text</a:t>
            </a:r>
          </a:p>
        </p:txBody>
      </p:sp>
      <p:sp>
        <p:nvSpPr>
          <p:cNvPr id="34" name="Text Placeholder 15">
            <a:extLst>
              <a:ext uri="{FF2B5EF4-FFF2-40B4-BE49-F238E27FC236}">
                <a16:creationId xmlns:a16="http://schemas.microsoft.com/office/drawing/2014/main" id="{8A96BFD0-28FC-48C9-9D67-C16FE0496C6C}"/>
              </a:ext>
            </a:extLst>
          </p:cNvPr>
          <p:cNvSpPr>
            <a:spLocks noGrp="1"/>
          </p:cNvSpPr>
          <p:nvPr>
            <p:ph type="body" sz="quarter" idx="22" hasCustomPrompt="1"/>
          </p:nvPr>
        </p:nvSpPr>
        <p:spPr>
          <a:xfrm>
            <a:off x="6453851" y="2262962"/>
            <a:ext cx="2331719" cy="347472"/>
          </a:xfrm>
        </p:spPr>
        <p:txBody>
          <a:bodyPr anchor="ctr" anchorCtr="0"/>
          <a:lstStyle>
            <a:lvl1pPr marL="0" indent="0" algn="ctr">
              <a:lnSpc>
                <a:spcPct val="85000"/>
              </a:lnSpc>
              <a:spcBef>
                <a:spcPts val="0"/>
              </a:spcBef>
              <a:buFontTx/>
              <a:buNone/>
              <a:defRPr sz="2000" b="1">
                <a:solidFill>
                  <a:schemeClr val="tx1"/>
                </a:solidFill>
              </a:defRPr>
            </a:lvl1pPr>
          </a:lstStyle>
          <a:p>
            <a:pPr lvl="0"/>
            <a:r>
              <a:rPr lang="en-US" dirty="0"/>
              <a:t>Add title</a:t>
            </a:r>
          </a:p>
        </p:txBody>
      </p:sp>
      <p:sp>
        <p:nvSpPr>
          <p:cNvPr id="38" name="Picture Placeholder 2">
            <a:extLst>
              <a:ext uri="{FF2B5EF4-FFF2-40B4-BE49-F238E27FC236}">
                <a16:creationId xmlns:a16="http://schemas.microsoft.com/office/drawing/2014/main" id="{1C2FFA97-B5B5-4425-A02D-BE159DE90DDB}"/>
              </a:ext>
            </a:extLst>
          </p:cNvPr>
          <p:cNvSpPr>
            <a:spLocks noGrp="1"/>
          </p:cNvSpPr>
          <p:nvPr>
            <p:ph type="pic" idx="23" hasCustomPrompt="1"/>
          </p:nvPr>
        </p:nvSpPr>
        <p:spPr>
          <a:xfrm>
            <a:off x="9246532" y="2733197"/>
            <a:ext cx="2331720" cy="2818947"/>
          </a:xfrm>
          <a:prstGeom prst="rect">
            <a:avLst/>
          </a:prstGeom>
          <a:ln w="9525">
            <a:solidFill>
              <a:schemeClr val="bg2"/>
            </a:solidFill>
          </a:ln>
        </p:spPr>
        <p:style>
          <a:lnRef idx="1">
            <a:schemeClr val="accent1"/>
          </a:lnRef>
          <a:fillRef idx="0">
            <a:schemeClr val="accent1"/>
          </a:fillRef>
          <a:effectRef idx="0">
            <a:schemeClr val="accent1"/>
          </a:effectRef>
          <a:fontRef idx="minor">
            <a:schemeClr val="tx1"/>
          </a:fontRef>
        </p:style>
        <p:txBody>
          <a:bodyPr vert="horz" lIns="0" tIns="0" rIns="0" bIns="548640" rtlCol="0" anchor="ctr">
            <a:noAutofit/>
          </a:bodyPr>
          <a:lstStyle>
            <a:lvl1pPr marL="273582" indent="-273582" algn="ctr">
              <a:buFontTx/>
              <a:buNone/>
              <a:defRPr lang="ko-KR" altLang="en-US" sz="1000" baseline="0" dirty="0">
                <a:solidFill>
                  <a:schemeClr val="accent3"/>
                </a:solidFill>
                <a:effectLst/>
                <a:ea typeface="+mj-ea"/>
                <a:cs typeface="Arial" pitchFamily="34" charset="0"/>
              </a:defRPr>
            </a:lvl1pPr>
          </a:lstStyle>
          <a:p>
            <a:r>
              <a:rPr lang="en-US" dirty="0"/>
              <a:t>Click picture icon to add image</a:t>
            </a:r>
          </a:p>
        </p:txBody>
      </p:sp>
      <p:sp>
        <p:nvSpPr>
          <p:cNvPr id="39" name="Text Placeholder 3">
            <a:extLst>
              <a:ext uri="{FF2B5EF4-FFF2-40B4-BE49-F238E27FC236}">
                <a16:creationId xmlns:a16="http://schemas.microsoft.com/office/drawing/2014/main" id="{F5705EDC-D0D7-43C3-AF77-46F76E76BC9F}"/>
              </a:ext>
            </a:extLst>
          </p:cNvPr>
          <p:cNvSpPr>
            <a:spLocks noGrp="1"/>
          </p:cNvSpPr>
          <p:nvPr>
            <p:ph type="body" sz="quarter" idx="24" hasCustomPrompt="1"/>
          </p:nvPr>
        </p:nvSpPr>
        <p:spPr>
          <a:xfrm>
            <a:off x="9246531" y="5726508"/>
            <a:ext cx="2332191" cy="276999"/>
          </a:xfrm>
        </p:spPr>
        <p:txBody>
          <a:bodyPr anchor="t" anchorCtr="0">
            <a:spAutoFit/>
          </a:bodyPr>
          <a:lstStyle>
            <a:lvl1pPr marL="0" indent="0" algn="ctr">
              <a:spcBef>
                <a:spcPts val="600"/>
              </a:spcBef>
              <a:buFontTx/>
              <a:buNone/>
              <a:defRPr sz="2000"/>
            </a:lvl1pPr>
          </a:lstStyle>
          <a:p>
            <a:pPr lvl="0"/>
            <a:r>
              <a:rPr lang="en-US" dirty="0"/>
              <a:t>Add text</a:t>
            </a:r>
          </a:p>
        </p:txBody>
      </p:sp>
      <p:sp>
        <p:nvSpPr>
          <p:cNvPr id="40" name="Text Placeholder 15">
            <a:extLst>
              <a:ext uri="{FF2B5EF4-FFF2-40B4-BE49-F238E27FC236}">
                <a16:creationId xmlns:a16="http://schemas.microsoft.com/office/drawing/2014/main" id="{665046A0-2F9E-4A45-A3DC-1A8077995507}"/>
              </a:ext>
            </a:extLst>
          </p:cNvPr>
          <p:cNvSpPr>
            <a:spLocks noGrp="1"/>
          </p:cNvSpPr>
          <p:nvPr>
            <p:ph type="body" sz="quarter" idx="25" hasCustomPrompt="1"/>
          </p:nvPr>
        </p:nvSpPr>
        <p:spPr>
          <a:xfrm>
            <a:off x="9246531" y="2262961"/>
            <a:ext cx="2332191" cy="347472"/>
          </a:xfrm>
        </p:spPr>
        <p:txBody>
          <a:bodyPr anchor="ctr" anchorCtr="0"/>
          <a:lstStyle>
            <a:lvl1pPr marL="0" indent="0" algn="ctr">
              <a:lnSpc>
                <a:spcPct val="85000"/>
              </a:lnSpc>
              <a:spcBef>
                <a:spcPts val="0"/>
              </a:spcBef>
              <a:buFontTx/>
              <a:buNone/>
              <a:defRPr sz="2000" b="1">
                <a:solidFill>
                  <a:schemeClr val="tx1"/>
                </a:solidFill>
              </a:defRPr>
            </a:lvl1pPr>
          </a:lstStyle>
          <a:p>
            <a:pPr lvl="0"/>
            <a:r>
              <a:rPr lang="en-US" dirty="0"/>
              <a:t>Add title</a:t>
            </a:r>
          </a:p>
        </p:txBody>
      </p:sp>
      <p:sp>
        <p:nvSpPr>
          <p:cNvPr id="17" name="Text Placeholder 3">
            <a:extLst>
              <a:ext uri="{FF2B5EF4-FFF2-40B4-BE49-F238E27FC236}">
                <a16:creationId xmlns:a16="http://schemas.microsoft.com/office/drawing/2014/main" id="{F5713E64-52D7-4B1E-A775-FFC5675D67BC}"/>
              </a:ext>
            </a:extLst>
          </p:cNvPr>
          <p:cNvSpPr>
            <a:spLocks noGrp="1"/>
          </p:cNvSpPr>
          <p:nvPr>
            <p:ph type="body" sz="quarter" idx="42" hasCustomPrompt="1"/>
          </p:nvPr>
        </p:nvSpPr>
        <p:spPr>
          <a:xfrm>
            <a:off x="880243" y="1704676"/>
            <a:ext cx="10698480" cy="304699"/>
          </a:xfrm>
          <a:noFill/>
        </p:spPr>
        <p:txBody>
          <a:bodyPr vert="horz" lIns="0" tIns="0" rIns="0" bIns="0" rtlCol="0" anchor="ctr" anchorCtr="0">
            <a:spAutoFit/>
          </a:bodyPr>
          <a:lstStyle>
            <a:lvl1pPr marL="0" indent="0" algn="ctr">
              <a:buFontTx/>
              <a:buNone/>
              <a:defRPr lang="en-US" sz="2200" dirty="0"/>
            </a:lvl1pPr>
          </a:lstStyle>
          <a:p>
            <a:pPr lvl="0"/>
            <a:r>
              <a:rPr lang="en-US" dirty="0"/>
              <a:t>Call out blurb</a:t>
            </a:r>
          </a:p>
        </p:txBody>
      </p:sp>
      <p:sp>
        <p:nvSpPr>
          <p:cNvPr id="26" name="Rectangle 25">
            <a:extLst>
              <a:ext uri="{FF2B5EF4-FFF2-40B4-BE49-F238E27FC236}">
                <a16:creationId xmlns:a16="http://schemas.microsoft.com/office/drawing/2014/main" id="{C8E0C0A8-F8B8-4AB7-BE6F-330CFF51FE14}"/>
              </a:ext>
            </a:extLst>
          </p:cNvPr>
          <p:cNvSpPr/>
          <p:nvPr userDrawn="1"/>
        </p:nvSpPr>
        <p:spPr>
          <a:xfrm>
            <a:off x="0" y="2733198"/>
            <a:ext cx="521970" cy="281894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Bef>
                <a:spcPts val="800"/>
              </a:spcBef>
            </a:pPr>
            <a:endParaRPr lang="en-US">
              <a:solidFill>
                <a:schemeClr val="accent3"/>
              </a:solidFill>
            </a:endParaRPr>
          </a:p>
        </p:txBody>
      </p:sp>
    </p:spTree>
    <p:extLst>
      <p:ext uri="{BB962C8B-B14F-4D97-AF65-F5344CB8AC3E}">
        <p14:creationId xmlns:p14="http://schemas.microsoft.com/office/powerpoint/2010/main" val="31556714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Case Study 2">
    <p:spTree>
      <p:nvGrpSpPr>
        <p:cNvPr id="1" name=""/>
        <p:cNvGrpSpPr/>
        <p:nvPr/>
      </p:nvGrpSpPr>
      <p:grpSpPr>
        <a:xfrm>
          <a:off x="0" y="0"/>
          <a:ext cx="0" cy="0"/>
          <a:chOff x="0" y="0"/>
          <a:chExt cx="0" cy="0"/>
        </a:xfrm>
      </p:grpSpPr>
      <p:sp>
        <p:nvSpPr>
          <p:cNvPr id="22" name="Picture Placeholder 3">
            <a:extLst>
              <a:ext uri="{FF2B5EF4-FFF2-40B4-BE49-F238E27FC236}">
                <a16:creationId xmlns:a16="http://schemas.microsoft.com/office/drawing/2014/main" id="{D5773A3F-F682-4CDF-A763-ADF830C949EE}"/>
              </a:ext>
            </a:extLst>
          </p:cNvPr>
          <p:cNvSpPr>
            <a:spLocks noGrp="1"/>
          </p:cNvSpPr>
          <p:nvPr>
            <p:ph type="pic" sz="quarter" idx="12" hasCustomPrompt="1"/>
          </p:nvPr>
        </p:nvSpPr>
        <p:spPr>
          <a:xfrm>
            <a:off x="-18951" y="98770"/>
            <a:ext cx="5833011" cy="6759230"/>
          </a:xfrm>
          <a:custGeom>
            <a:avLst/>
            <a:gdLst>
              <a:gd name="connsiteX0" fmla="*/ 0 w 12188953"/>
              <a:gd name="connsiteY0" fmla="*/ 0 h 6426200"/>
              <a:gd name="connsiteX1" fmla="*/ 12188953 w 12188953"/>
              <a:gd name="connsiteY1" fmla="*/ 0 h 6426200"/>
              <a:gd name="connsiteX2" fmla="*/ 12188953 w 12188953"/>
              <a:gd name="connsiteY2" fmla="*/ 6426200 h 6426200"/>
              <a:gd name="connsiteX3" fmla="*/ 0 w 12188953"/>
              <a:gd name="connsiteY3" fmla="*/ 6426200 h 6426200"/>
              <a:gd name="connsiteX4" fmla="*/ 0 w 12188953"/>
              <a:gd name="connsiteY4" fmla="*/ 0 h 6426200"/>
              <a:gd name="connsiteX0" fmla="*/ 0 w 12188953"/>
              <a:gd name="connsiteY0" fmla="*/ 0 h 6426200"/>
              <a:gd name="connsiteX1" fmla="*/ 12188953 w 12188953"/>
              <a:gd name="connsiteY1" fmla="*/ 0 h 6426200"/>
              <a:gd name="connsiteX2" fmla="*/ 12188953 w 12188953"/>
              <a:gd name="connsiteY2" fmla="*/ 6426200 h 6426200"/>
              <a:gd name="connsiteX3" fmla="*/ 9102853 w 12188953"/>
              <a:gd name="connsiteY3" fmla="*/ 6413500 h 6426200"/>
              <a:gd name="connsiteX4" fmla="*/ 0 w 12188953"/>
              <a:gd name="connsiteY4" fmla="*/ 6426200 h 6426200"/>
              <a:gd name="connsiteX5" fmla="*/ 0 w 12188953"/>
              <a:gd name="connsiteY5" fmla="*/ 0 h 6426200"/>
              <a:gd name="connsiteX0" fmla="*/ 0 w 12188953"/>
              <a:gd name="connsiteY0" fmla="*/ 0 h 6426200"/>
              <a:gd name="connsiteX1" fmla="*/ 12188953 w 12188953"/>
              <a:gd name="connsiteY1" fmla="*/ 0 h 6426200"/>
              <a:gd name="connsiteX2" fmla="*/ 12188953 w 12188953"/>
              <a:gd name="connsiteY2" fmla="*/ 6426200 h 6426200"/>
              <a:gd name="connsiteX3" fmla="*/ 9102853 w 12188953"/>
              <a:gd name="connsiteY3" fmla="*/ 6413500 h 6426200"/>
              <a:gd name="connsiteX4" fmla="*/ 8366253 w 12188953"/>
              <a:gd name="connsiteY4" fmla="*/ 6413500 h 6426200"/>
              <a:gd name="connsiteX5" fmla="*/ 0 w 12188953"/>
              <a:gd name="connsiteY5" fmla="*/ 6426200 h 6426200"/>
              <a:gd name="connsiteX6" fmla="*/ 0 w 12188953"/>
              <a:gd name="connsiteY6" fmla="*/ 0 h 6426200"/>
              <a:gd name="connsiteX0" fmla="*/ 0 w 12188953"/>
              <a:gd name="connsiteY0" fmla="*/ 0 h 6629400"/>
              <a:gd name="connsiteX1" fmla="*/ 12188953 w 12188953"/>
              <a:gd name="connsiteY1" fmla="*/ 0 h 6629400"/>
              <a:gd name="connsiteX2" fmla="*/ 12188953 w 12188953"/>
              <a:gd name="connsiteY2" fmla="*/ 6426200 h 6629400"/>
              <a:gd name="connsiteX3" fmla="*/ 9102853 w 12188953"/>
              <a:gd name="connsiteY3" fmla="*/ 6413500 h 6629400"/>
              <a:gd name="connsiteX4" fmla="*/ 8632953 w 12188953"/>
              <a:gd name="connsiteY4" fmla="*/ 6629400 h 6629400"/>
              <a:gd name="connsiteX5" fmla="*/ 0 w 12188953"/>
              <a:gd name="connsiteY5" fmla="*/ 6426200 h 6629400"/>
              <a:gd name="connsiteX6" fmla="*/ 0 w 12188953"/>
              <a:gd name="connsiteY6" fmla="*/ 0 h 6629400"/>
              <a:gd name="connsiteX0" fmla="*/ 12700 w 12201653"/>
              <a:gd name="connsiteY0" fmla="*/ 0 h 6629400"/>
              <a:gd name="connsiteX1" fmla="*/ 12201653 w 12201653"/>
              <a:gd name="connsiteY1" fmla="*/ 0 h 6629400"/>
              <a:gd name="connsiteX2" fmla="*/ 12201653 w 12201653"/>
              <a:gd name="connsiteY2" fmla="*/ 6426200 h 6629400"/>
              <a:gd name="connsiteX3" fmla="*/ 9115553 w 12201653"/>
              <a:gd name="connsiteY3" fmla="*/ 6413500 h 6629400"/>
              <a:gd name="connsiteX4" fmla="*/ 8645653 w 12201653"/>
              <a:gd name="connsiteY4" fmla="*/ 6629400 h 6629400"/>
              <a:gd name="connsiteX5" fmla="*/ 0 w 12201653"/>
              <a:gd name="connsiteY5" fmla="*/ 6629400 h 6629400"/>
              <a:gd name="connsiteX6" fmla="*/ 12700 w 12201653"/>
              <a:gd name="connsiteY6" fmla="*/ 0 h 6629400"/>
              <a:gd name="connsiteX0" fmla="*/ 12700 w 12201653"/>
              <a:gd name="connsiteY0" fmla="*/ 0 h 6629400"/>
              <a:gd name="connsiteX1" fmla="*/ 12201653 w 12201653"/>
              <a:gd name="connsiteY1" fmla="*/ 0 h 6629400"/>
              <a:gd name="connsiteX2" fmla="*/ 12201653 w 12201653"/>
              <a:gd name="connsiteY2" fmla="*/ 6426200 h 6629400"/>
              <a:gd name="connsiteX3" fmla="*/ 9242553 w 12201653"/>
              <a:gd name="connsiteY3" fmla="*/ 6413500 h 6629400"/>
              <a:gd name="connsiteX4" fmla="*/ 8645653 w 12201653"/>
              <a:gd name="connsiteY4" fmla="*/ 6629400 h 6629400"/>
              <a:gd name="connsiteX5" fmla="*/ 0 w 12201653"/>
              <a:gd name="connsiteY5" fmla="*/ 6629400 h 6629400"/>
              <a:gd name="connsiteX6" fmla="*/ 12700 w 12201653"/>
              <a:gd name="connsiteY6" fmla="*/ 0 h 6629400"/>
              <a:gd name="connsiteX0" fmla="*/ 12700 w 12201653"/>
              <a:gd name="connsiteY0" fmla="*/ 0 h 6642027"/>
              <a:gd name="connsiteX1" fmla="*/ 12201653 w 12201653"/>
              <a:gd name="connsiteY1" fmla="*/ 0 h 6642027"/>
              <a:gd name="connsiteX2" fmla="*/ 12201653 w 12201653"/>
              <a:gd name="connsiteY2" fmla="*/ 6426200 h 6642027"/>
              <a:gd name="connsiteX3" fmla="*/ 9242553 w 12201653"/>
              <a:gd name="connsiteY3" fmla="*/ 6413500 h 6642027"/>
              <a:gd name="connsiteX4" fmla="*/ 8671053 w 12201653"/>
              <a:gd name="connsiteY4" fmla="*/ 6642027 h 6642027"/>
              <a:gd name="connsiteX5" fmla="*/ 0 w 12201653"/>
              <a:gd name="connsiteY5" fmla="*/ 6629400 h 6642027"/>
              <a:gd name="connsiteX6" fmla="*/ 12700 w 12201653"/>
              <a:gd name="connsiteY6" fmla="*/ 0 h 6642027"/>
              <a:gd name="connsiteX0" fmla="*/ 12700 w 12201653"/>
              <a:gd name="connsiteY0" fmla="*/ 0 h 6642027"/>
              <a:gd name="connsiteX1" fmla="*/ 12201653 w 12201653"/>
              <a:gd name="connsiteY1" fmla="*/ 0 h 6642027"/>
              <a:gd name="connsiteX2" fmla="*/ 12201653 w 12201653"/>
              <a:gd name="connsiteY2" fmla="*/ 6426200 h 6642027"/>
              <a:gd name="connsiteX3" fmla="*/ 9242553 w 12201653"/>
              <a:gd name="connsiteY3" fmla="*/ 6413500 h 6642027"/>
              <a:gd name="connsiteX4" fmla="*/ 8671053 w 12201653"/>
              <a:gd name="connsiteY4" fmla="*/ 6642027 h 6642027"/>
              <a:gd name="connsiteX5" fmla="*/ 0 w 12201653"/>
              <a:gd name="connsiteY5" fmla="*/ 6629400 h 6642027"/>
              <a:gd name="connsiteX6" fmla="*/ 12700 w 12201653"/>
              <a:gd name="connsiteY6" fmla="*/ 0 h 6642027"/>
              <a:gd name="connsiteX0" fmla="*/ 50800 w 12239753"/>
              <a:gd name="connsiteY0" fmla="*/ 0 h 6654655"/>
              <a:gd name="connsiteX1" fmla="*/ 12239753 w 12239753"/>
              <a:gd name="connsiteY1" fmla="*/ 0 h 6654655"/>
              <a:gd name="connsiteX2" fmla="*/ 12239753 w 12239753"/>
              <a:gd name="connsiteY2" fmla="*/ 6426200 h 6654655"/>
              <a:gd name="connsiteX3" fmla="*/ 9280653 w 12239753"/>
              <a:gd name="connsiteY3" fmla="*/ 6413500 h 6654655"/>
              <a:gd name="connsiteX4" fmla="*/ 8709153 w 12239753"/>
              <a:gd name="connsiteY4" fmla="*/ 6642027 h 6654655"/>
              <a:gd name="connsiteX5" fmla="*/ 0 w 12239753"/>
              <a:gd name="connsiteY5" fmla="*/ 6654655 h 6654655"/>
              <a:gd name="connsiteX6" fmla="*/ 50800 w 12239753"/>
              <a:gd name="connsiteY6" fmla="*/ 0 h 6654655"/>
              <a:gd name="connsiteX0" fmla="*/ 50800 w 12239753"/>
              <a:gd name="connsiteY0" fmla="*/ 12627 h 6667282"/>
              <a:gd name="connsiteX1" fmla="*/ 6143753 w 12239753"/>
              <a:gd name="connsiteY1" fmla="*/ 0 h 6667282"/>
              <a:gd name="connsiteX2" fmla="*/ 12239753 w 12239753"/>
              <a:gd name="connsiteY2" fmla="*/ 6438827 h 6667282"/>
              <a:gd name="connsiteX3" fmla="*/ 9280653 w 12239753"/>
              <a:gd name="connsiteY3" fmla="*/ 6426127 h 6667282"/>
              <a:gd name="connsiteX4" fmla="*/ 8709153 w 12239753"/>
              <a:gd name="connsiteY4" fmla="*/ 6654654 h 6667282"/>
              <a:gd name="connsiteX5" fmla="*/ 0 w 12239753"/>
              <a:gd name="connsiteY5" fmla="*/ 6667282 h 6667282"/>
              <a:gd name="connsiteX6" fmla="*/ 50800 w 12239753"/>
              <a:gd name="connsiteY6" fmla="*/ 12627 h 6667282"/>
              <a:gd name="connsiteX0" fmla="*/ 50800 w 9280653"/>
              <a:gd name="connsiteY0" fmla="*/ 12627 h 6667282"/>
              <a:gd name="connsiteX1" fmla="*/ 6143753 w 9280653"/>
              <a:gd name="connsiteY1" fmla="*/ 0 h 6667282"/>
              <a:gd name="connsiteX2" fmla="*/ 9280653 w 9280653"/>
              <a:gd name="connsiteY2" fmla="*/ 6426127 h 6667282"/>
              <a:gd name="connsiteX3" fmla="*/ 8709153 w 9280653"/>
              <a:gd name="connsiteY3" fmla="*/ 6654654 h 6667282"/>
              <a:gd name="connsiteX4" fmla="*/ 0 w 9280653"/>
              <a:gd name="connsiteY4" fmla="*/ 6667282 h 6667282"/>
              <a:gd name="connsiteX5" fmla="*/ 50800 w 9280653"/>
              <a:gd name="connsiteY5" fmla="*/ 12627 h 6667282"/>
              <a:gd name="connsiteX0" fmla="*/ 50800 w 8709153"/>
              <a:gd name="connsiteY0" fmla="*/ 12627 h 6667282"/>
              <a:gd name="connsiteX1" fmla="*/ 6143753 w 8709153"/>
              <a:gd name="connsiteY1" fmla="*/ 0 h 6667282"/>
              <a:gd name="connsiteX2" fmla="*/ 8709153 w 8709153"/>
              <a:gd name="connsiteY2" fmla="*/ 6654654 h 6667282"/>
              <a:gd name="connsiteX3" fmla="*/ 0 w 8709153"/>
              <a:gd name="connsiteY3" fmla="*/ 6667282 h 6667282"/>
              <a:gd name="connsiteX4" fmla="*/ 50800 w 8709153"/>
              <a:gd name="connsiteY4" fmla="*/ 12627 h 6667282"/>
              <a:gd name="connsiteX0" fmla="*/ 50800 w 6181853"/>
              <a:gd name="connsiteY0" fmla="*/ 12627 h 6667282"/>
              <a:gd name="connsiteX1" fmla="*/ 6143753 w 6181853"/>
              <a:gd name="connsiteY1" fmla="*/ 0 h 6667282"/>
              <a:gd name="connsiteX2" fmla="*/ 6181853 w 6181853"/>
              <a:gd name="connsiteY2" fmla="*/ 6667282 h 6667282"/>
              <a:gd name="connsiteX3" fmla="*/ 0 w 6181853"/>
              <a:gd name="connsiteY3" fmla="*/ 6667282 h 6667282"/>
              <a:gd name="connsiteX4" fmla="*/ 50800 w 6181853"/>
              <a:gd name="connsiteY4" fmla="*/ 12627 h 6667282"/>
              <a:gd name="connsiteX0" fmla="*/ 50800 w 6181853"/>
              <a:gd name="connsiteY0" fmla="*/ 12627 h 6667282"/>
              <a:gd name="connsiteX1" fmla="*/ 6143753 w 6181853"/>
              <a:gd name="connsiteY1" fmla="*/ 0 h 6667282"/>
              <a:gd name="connsiteX2" fmla="*/ 6181853 w 6181853"/>
              <a:gd name="connsiteY2" fmla="*/ 6667282 h 6667282"/>
              <a:gd name="connsiteX3" fmla="*/ 0 w 6181853"/>
              <a:gd name="connsiteY3" fmla="*/ 6667282 h 6667282"/>
              <a:gd name="connsiteX4" fmla="*/ 50800 w 6181853"/>
              <a:gd name="connsiteY4" fmla="*/ 12627 h 6667282"/>
              <a:gd name="connsiteX0" fmla="*/ 720 w 6190083"/>
              <a:gd name="connsiteY0" fmla="*/ 12627 h 6667282"/>
              <a:gd name="connsiteX1" fmla="*/ 6151983 w 6190083"/>
              <a:gd name="connsiteY1" fmla="*/ 0 h 6667282"/>
              <a:gd name="connsiteX2" fmla="*/ 6190083 w 6190083"/>
              <a:gd name="connsiteY2" fmla="*/ 6667282 h 6667282"/>
              <a:gd name="connsiteX3" fmla="*/ 8230 w 6190083"/>
              <a:gd name="connsiteY3" fmla="*/ 6667282 h 6667282"/>
              <a:gd name="connsiteX4" fmla="*/ 720 w 6190083"/>
              <a:gd name="connsiteY4" fmla="*/ 12627 h 6667282"/>
              <a:gd name="connsiteX0" fmla="*/ 720 w 6190083"/>
              <a:gd name="connsiteY0" fmla="*/ 12627 h 6667282"/>
              <a:gd name="connsiteX1" fmla="*/ 6151983 w 6190083"/>
              <a:gd name="connsiteY1" fmla="*/ 0 h 6667282"/>
              <a:gd name="connsiteX2" fmla="*/ 6186537 w 6190083"/>
              <a:gd name="connsiteY2" fmla="*/ 530294 h 6667282"/>
              <a:gd name="connsiteX3" fmla="*/ 6190083 w 6190083"/>
              <a:gd name="connsiteY3" fmla="*/ 6667282 h 6667282"/>
              <a:gd name="connsiteX4" fmla="*/ 8230 w 6190083"/>
              <a:gd name="connsiteY4" fmla="*/ 6667282 h 6667282"/>
              <a:gd name="connsiteX5" fmla="*/ 720 w 6190083"/>
              <a:gd name="connsiteY5" fmla="*/ 12627 h 6667282"/>
              <a:gd name="connsiteX0" fmla="*/ 720 w 6190083"/>
              <a:gd name="connsiteY0" fmla="*/ 0 h 6654655"/>
              <a:gd name="connsiteX1" fmla="*/ 5731178 w 6190083"/>
              <a:gd name="connsiteY1" fmla="*/ 17406 h 6654655"/>
              <a:gd name="connsiteX2" fmla="*/ 6186537 w 6190083"/>
              <a:gd name="connsiteY2" fmla="*/ 517667 h 6654655"/>
              <a:gd name="connsiteX3" fmla="*/ 6190083 w 6190083"/>
              <a:gd name="connsiteY3" fmla="*/ 6654655 h 6654655"/>
              <a:gd name="connsiteX4" fmla="*/ 8230 w 6190083"/>
              <a:gd name="connsiteY4" fmla="*/ 6654655 h 6654655"/>
              <a:gd name="connsiteX5" fmla="*/ 720 w 6190083"/>
              <a:gd name="connsiteY5" fmla="*/ 0 h 6654655"/>
              <a:gd name="connsiteX0" fmla="*/ 720 w 6190083"/>
              <a:gd name="connsiteY0" fmla="*/ 5119 h 6659774"/>
              <a:gd name="connsiteX1" fmla="*/ 5731178 w 6190083"/>
              <a:gd name="connsiteY1" fmla="*/ 0 h 6659774"/>
              <a:gd name="connsiteX2" fmla="*/ 6186537 w 6190083"/>
              <a:gd name="connsiteY2" fmla="*/ 522786 h 6659774"/>
              <a:gd name="connsiteX3" fmla="*/ 6190083 w 6190083"/>
              <a:gd name="connsiteY3" fmla="*/ 6659774 h 6659774"/>
              <a:gd name="connsiteX4" fmla="*/ 8230 w 6190083"/>
              <a:gd name="connsiteY4" fmla="*/ 6659774 h 6659774"/>
              <a:gd name="connsiteX5" fmla="*/ 720 w 6190083"/>
              <a:gd name="connsiteY5" fmla="*/ 5119 h 6659774"/>
              <a:gd name="connsiteX0" fmla="*/ 720 w 6190083"/>
              <a:gd name="connsiteY0" fmla="*/ 5119 h 6659774"/>
              <a:gd name="connsiteX1" fmla="*/ 5731178 w 6190083"/>
              <a:gd name="connsiteY1" fmla="*/ 0 h 6659774"/>
              <a:gd name="connsiteX2" fmla="*/ 6186537 w 6190083"/>
              <a:gd name="connsiteY2" fmla="*/ 485245 h 6659774"/>
              <a:gd name="connsiteX3" fmla="*/ 6190083 w 6190083"/>
              <a:gd name="connsiteY3" fmla="*/ 6659774 h 6659774"/>
              <a:gd name="connsiteX4" fmla="*/ 8230 w 6190083"/>
              <a:gd name="connsiteY4" fmla="*/ 6659774 h 6659774"/>
              <a:gd name="connsiteX5" fmla="*/ 720 w 6190083"/>
              <a:gd name="connsiteY5" fmla="*/ 5119 h 6659774"/>
              <a:gd name="connsiteX0" fmla="*/ 720 w 6194629"/>
              <a:gd name="connsiteY0" fmla="*/ 5119 h 6659774"/>
              <a:gd name="connsiteX1" fmla="*/ 5731178 w 6194629"/>
              <a:gd name="connsiteY1" fmla="*/ 0 h 6659774"/>
              <a:gd name="connsiteX2" fmla="*/ 6194629 w 6194629"/>
              <a:gd name="connsiteY2" fmla="*/ 440195 h 6659774"/>
              <a:gd name="connsiteX3" fmla="*/ 6190083 w 6194629"/>
              <a:gd name="connsiteY3" fmla="*/ 6659774 h 6659774"/>
              <a:gd name="connsiteX4" fmla="*/ 8230 w 6194629"/>
              <a:gd name="connsiteY4" fmla="*/ 6659774 h 6659774"/>
              <a:gd name="connsiteX5" fmla="*/ 720 w 6194629"/>
              <a:gd name="connsiteY5" fmla="*/ 5119 h 66597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194629" h="6659774">
                <a:moveTo>
                  <a:pt x="720" y="5119"/>
                </a:moveTo>
                <a:lnTo>
                  <a:pt x="5731178" y="0"/>
                </a:lnTo>
                <a:lnTo>
                  <a:pt x="6194629" y="440195"/>
                </a:lnTo>
                <a:cubicBezTo>
                  <a:pt x="6193114" y="2513388"/>
                  <a:pt x="6191598" y="4586581"/>
                  <a:pt x="6190083" y="6659774"/>
                </a:cubicBezTo>
                <a:lnTo>
                  <a:pt x="8230" y="6659774"/>
                </a:lnTo>
                <a:cubicBezTo>
                  <a:pt x="12463" y="4449974"/>
                  <a:pt x="-3513" y="2214919"/>
                  <a:pt x="720" y="5119"/>
                </a:cubicBezTo>
                <a:close/>
              </a:path>
            </a:pathLst>
          </a:custGeom>
          <a:solidFill>
            <a:schemeClr val="bg1">
              <a:lumMod val="95000"/>
            </a:schemeClr>
          </a:solidFill>
        </p:spPr>
        <p:txBody>
          <a:bodyPr bIns="640080" anchor="ctr"/>
          <a:lstStyle>
            <a:lvl1pPr marL="0" indent="0" algn="ctr">
              <a:buNone/>
              <a:defRPr sz="1600">
                <a:solidFill>
                  <a:schemeClr val="tx1"/>
                </a:solidFill>
                <a:latin typeface="+mn-lt"/>
              </a:defRPr>
            </a:lvl1pPr>
          </a:lstStyle>
          <a:p>
            <a:r>
              <a:rPr lang="en-US" dirty="0"/>
              <a:t>Click picture icon to add image</a:t>
            </a:r>
          </a:p>
        </p:txBody>
      </p:sp>
      <p:sp>
        <p:nvSpPr>
          <p:cNvPr id="9" name="Text Placeholder 33"/>
          <p:cNvSpPr>
            <a:spLocks noGrp="1"/>
          </p:cNvSpPr>
          <p:nvPr>
            <p:ph type="body" sz="quarter" idx="18" hasCustomPrompt="1"/>
          </p:nvPr>
        </p:nvSpPr>
        <p:spPr>
          <a:xfrm>
            <a:off x="-11279" y="4615198"/>
            <a:ext cx="3653537" cy="1249154"/>
          </a:xfrm>
          <a:custGeom>
            <a:avLst/>
            <a:gdLst>
              <a:gd name="connsiteX0" fmla="*/ 0 w 7790688"/>
              <a:gd name="connsiteY0" fmla="*/ 1495912 h 1495912"/>
              <a:gd name="connsiteX1" fmla="*/ 449537 w 7790688"/>
              <a:gd name="connsiteY1" fmla="*/ 0 h 1495912"/>
              <a:gd name="connsiteX2" fmla="*/ 7790688 w 7790688"/>
              <a:gd name="connsiteY2" fmla="*/ 0 h 1495912"/>
              <a:gd name="connsiteX3" fmla="*/ 7341151 w 7790688"/>
              <a:gd name="connsiteY3" fmla="*/ 1495912 h 1495912"/>
              <a:gd name="connsiteX4" fmla="*/ 0 w 7790688"/>
              <a:gd name="connsiteY4" fmla="*/ 1495912 h 1495912"/>
              <a:gd name="connsiteX0" fmla="*/ 0 w 7790688"/>
              <a:gd name="connsiteY0" fmla="*/ 1495912 h 1495912"/>
              <a:gd name="connsiteX1" fmla="*/ 4818337 w 7790688"/>
              <a:gd name="connsiteY1" fmla="*/ 25400 h 1495912"/>
              <a:gd name="connsiteX2" fmla="*/ 7790688 w 7790688"/>
              <a:gd name="connsiteY2" fmla="*/ 0 h 1495912"/>
              <a:gd name="connsiteX3" fmla="*/ 7341151 w 7790688"/>
              <a:gd name="connsiteY3" fmla="*/ 1495912 h 1495912"/>
              <a:gd name="connsiteX4" fmla="*/ 0 w 7790688"/>
              <a:gd name="connsiteY4" fmla="*/ 1495912 h 1495912"/>
              <a:gd name="connsiteX0" fmla="*/ 0 w 2990088"/>
              <a:gd name="connsiteY0" fmla="*/ 1521312 h 1521312"/>
              <a:gd name="connsiteX1" fmla="*/ 17737 w 2990088"/>
              <a:gd name="connsiteY1" fmla="*/ 25400 h 1521312"/>
              <a:gd name="connsiteX2" fmla="*/ 2990088 w 2990088"/>
              <a:gd name="connsiteY2" fmla="*/ 0 h 1521312"/>
              <a:gd name="connsiteX3" fmla="*/ 2540551 w 2990088"/>
              <a:gd name="connsiteY3" fmla="*/ 1495912 h 1521312"/>
              <a:gd name="connsiteX4" fmla="*/ 0 w 2990088"/>
              <a:gd name="connsiteY4" fmla="*/ 1521312 h 1521312"/>
              <a:gd name="connsiteX0" fmla="*/ 0 w 2990088"/>
              <a:gd name="connsiteY0" fmla="*/ 1521312 h 1521312"/>
              <a:gd name="connsiteX1" fmla="*/ 93937 w 2990088"/>
              <a:gd name="connsiteY1" fmla="*/ 25400 h 1521312"/>
              <a:gd name="connsiteX2" fmla="*/ 2990088 w 2990088"/>
              <a:gd name="connsiteY2" fmla="*/ 0 h 1521312"/>
              <a:gd name="connsiteX3" fmla="*/ 2540551 w 2990088"/>
              <a:gd name="connsiteY3" fmla="*/ 1495912 h 1521312"/>
              <a:gd name="connsiteX4" fmla="*/ 0 w 2990088"/>
              <a:gd name="connsiteY4" fmla="*/ 1521312 h 1521312"/>
              <a:gd name="connsiteX0" fmla="*/ 7663 w 2896151"/>
              <a:gd name="connsiteY0" fmla="*/ 1521312 h 1521312"/>
              <a:gd name="connsiteX1" fmla="*/ 0 w 2896151"/>
              <a:gd name="connsiteY1" fmla="*/ 25400 h 1521312"/>
              <a:gd name="connsiteX2" fmla="*/ 2896151 w 2896151"/>
              <a:gd name="connsiteY2" fmla="*/ 0 h 1521312"/>
              <a:gd name="connsiteX3" fmla="*/ 2446614 w 2896151"/>
              <a:gd name="connsiteY3" fmla="*/ 1495912 h 1521312"/>
              <a:gd name="connsiteX4" fmla="*/ 7663 w 2896151"/>
              <a:gd name="connsiteY4" fmla="*/ 1521312 h 1521312"/>
              <a:gd name="connsiteX0" fmla="*/ 743 w 2889231"/>
              <a:gd name="connsiteY0" fmla="*/ 1521312 h 1521312"/>
              <a:gd name="connsiteX1" fmla="*/ 700 w 2889231"/>
              <a:gd name="connsiteY1" fmla="*/ 2540 h 1521312"/>
              <a:gd name="connsiteX2" fmla="*/ 2889231 w 2889231"/>
              <a:gd name="connsiteY2" fmla="*/ 0 h 1521312"/>
              <a:gd name="connsiteX3" fmla="*/ 2439694 w 2889231"/>
              <a:gd name="connsiteY3" fmla="*/ 1495912 h 1521312"/>
              <a:gd name="connsiteX4" fmla="*/ 743 w 2889231"/>
              <a:gd name="connsiteY4" fmla="*/ 1521312 h 1521312"/>
              <a:gd name="connsiteX0" fmla="*/ 15283 w 2888531"/>
              <a:gd name="connsiteY0" fmla="*/ 1483212 h 1495912"/>
              <a:gd name="connsiteX1" fmla="*/ 0 w 2888531"/>
              <a:gd name="connsiteY1" fmla="*/ 2540 h 1495912"/>
              <a:gd name="connsiteX2" fmla="*/ 2888531 w 2888531"/>
              <a:gd name="connsiteY2" fmla="*/ 0 h 1495912"/>
              <a:gd name="connsiteX3" fmla="*/ 2438994 w 2888531"/>
              <a:gd name="connsiteY3" fmla="*/ 1495912 h 1495912"/>
              <a:gd name="connsiteX4" fmla="*/ 15283 w 2888531"/>
              <a:gd name="connsiteY4" fmla="*/ 1483212 h 1495912"/>
              <a:gd name="connsiteX0" fmla="*/ 15283 w 2888531"/>
              <a:gd name="connsiteY0" fmla="*/ 1483212 h 1495912"/>
              <a:gd name="connsiteX1" fmla="*/ 0 w 2888531"/>
              <a:gd name="connsiteY1" fmla="*/ 116840 h 1495912"/>
              <a:gd name="connsiteX2" fmla="*/ 2888531 w 2888531"/>
              <a:gd name="connsiteY2" fmla="*/ 0 h 1495912"/>
              <a:gd name="connsiteX3" fmla="*/ 2438994 w 2888531"/>
              <a:gd name="connsiteY3" fmla="*/ 1495912 h 1495912"/>
              <a:gd name="connsiteX4" fmla="*/ 15283 w 2888531"/>
              <a:gd name="connsiteY4" fmla="*/ 1483212 h 1495912"/>
              <a:gd name="connsiteX0" fmla="*/ 15283 w 2888531"/>
              <a:gd name="connsiteY0" fmla="*/ 1483212 h 1495912"/>
              <a:gd name="connsiteX1" fmla="*/ 0 w 2888531"/>
              <a:gd name="connsiteY1" fmla="*/ 116840 h 1495912"/>
              <a:gd name="connsiteX2" fmla="*/ 2598312 w 2888531"/>
              <a:gd name="connsiteY2" fmla="*/ 360 h 1495912"/>
              <a:gd name="connsiteX3" fmla="*/ 2888531 w 2888531"/>
              <a:gd name="connsiteY3" fmla="*/ 0 h 1495912"/>
              <a:gd name="connsiteX4" fmla="*/ 2438994 w 2888531"/>
              <a:gd name="connsiteY4" fmla="*/ 1495912 h 1495912"/>
              <a:gd name="connsiteX5" fmla="*/ 15283 w 2888531"/>
              <a:gd name="connsiteY5" fmla="*/ 1483212 h 1495912"/>
              <a:gd name="connsiteX0" fmla="*/ 15283 w 2888531"/>
              <a:gd name="connsiteY0" fmla="*/ 1483212 h 1495912"/>
              <a:gd name="connsiteX1" fmla="*/ 0 w 2888531"/>
              <a:gd name="connsiteY1" fmla="*/ 116840 h 1495912"/>
              <a:gd name="connsiteX2" fmla="*/ 2588787 w 2888531"/>
              <a:gd name="connsiteY2" fmla="*/ 128948 h 1495912"/>
              <a:gd name="connsiteX3" fmla="*/ 2888531 w 2888531"/>
              <a:gd name="connsiteY3" fmla="*/ 0 h 1495912"/>
              <a:gd name="connsiteX4" fmla="*/ 2438994 w 2888531"/>
              <a:gd name="connsiteY4" fmla="*/ 1495912 h 1495912"/>
              <a:gd name="connsiteX5" fmla="*/ 15283 w 2888531"/>
              <a:gd name="connsiteY5" fmla="*/ 1483212 h 1495912"/>
              <a:gd name="connsiteX0" fmla="*/ 15283 w 2802806"/>
              <a:gd name="connsiteY0" fmla="*/ 1366372 h 1379072"/>
              <a:gd name="connsiteX1" fmla="*/ 0 w 2802806"/>
              <a:gd name="connsiteY1" fmla="*/ 0 h 1379072"/>
              <a:gd name="connsiteX2" fmla="*/ 2588787 w 2802806"/>
              <a:gd name="connsiteY2" fmla="*/ 12108 h 1379072"/>
              <a:gd name="connsiteX3" fmla="*/ 2802806 w 2802806"/>
              <a:gd name="connsiteY3" fmla="*/ 97473 h 1379072"/>
              <a:gd name="connsiteX4" fmla="*/ 2438994 w 2802806"/>
              <a:gd name="connsiteY4" fmla="*/ 1379072 h 1379072"/>
              <a:gd name="connsiteX5" fmla="*/ 15283 w 2802806"/>
              <a:gd name="connsiteY5" fmla="*/ 1366372 h 1379072"/>
              <a:gd name="connsiteX0" fmla="*/ 243 w 2816341"/>
              <a:gd name="connsiteY0" fmla="*/ 1356847 h 1379072"/>
              <a:gd name="connsiteX1" fmla="*/ 13535 w 2816341"/>
              <a:gd name="connsiteY1" fmla="*/ 0 h 1379072"/>
              <a:gd name="connsiteX2" fmla="*/ 2602322 w 2816341"/>
              <a:gd name="connsiteY2" fmla="*/ 12108 h 1379072"/>
              <a:gd name="connsiteX3" fmla="*/ 2816341 w 2816341"/>
              <a:gd name="connsiteY3" fmla="*/ 97473 h 1379072"/>
              <a:gd name="connsiteX4" fmla="*/ 2452529 w 2816341"/>
              <a:gd name="connsiteY4" fmla="*/ 1379072 h 1379072"/>
              <a:gd name="connsiteX5" fmla="*/ 243 w 2816341"/>
              <a:gd name="connsiteY5" fmla="*/ 1356847 h 1379072"/>
              <a:gd name="connsiteX0" fmla="*/ 243 w 2816341"/>
              <a:gd name="connsiteY0" fmla="*/ 1356847 h 1360022"/>
              <a:gd name="connsiteX1" fmla="*/ 13535 w 2816341"/>
              <a:gd name="connsiteY1" fmla="*/ 0 h 1360022"/>
              <a:gd name="connsiteX2" fmla="*/ 2602322 w 2816341"/>
              <a:gd name="connsiteY2" fmla="*/ 12108 h 1360022"/>
              <a:gd name="connsiteX3" fmla="*/ 2816341 w 2816341"/>
              <a:gd name="connsiteY3" fmla="*/ 97473 h 1360022"/>
              <a:gd name="connsiteX4" fmla="*/ 2476341 w 2816341"/>
              <a:gd name="connsiteY4" fmla="*/ 1360022 h 1360022"/>
              <a:gd name="connsiteX5" fmla="*/ 243 w 2816341"/>
              <a:gd name="connsiteY5" fmla="*/ 1356847 h 1360022"/>
              <a:gd name="connsiteX0" fmla="*/ 243 w 2816341"/>
              <a:gd name="connsiteY0" fmla="*/ 1356847 h 1369547"/>
              <a:gd name="connsiteX1" fmla="*/ 13535 w 2816341"/>
              <a:gd name="connsiteY1" fmla="*/ 0 h 1369547"/>
              <a:gd name="connsiteX2" fmla="*/ 2602322 w 2816341"/>
              <a:gd name="connsiteY2" fmla="*/ 12108 h 1369547"/>
              <a:gd name="connsiteX3" fmla="*/ 2816341 w 2816341"/>
              <a:gd name="connsiteY3" fmla="*/ 97473 h 1369547"/>
              <a:gd name="connsiteX4" fmla="*/ 2457291 w 2816341"/>
              <a:gd name="connsiteY4" fmla="*/ 1369547 h 1369547"/>
              <a:gd name="connsiteX5" fmla="*/ 243 w 2816341"/>
              <a:gd name="connsiteY5" fmla="*/ 1356847 h 1369547"/>
              <a:gd name="connsiteX0" fmla="*/ 243 w 2816341"/>
              <a:gd name="connsiteY0" fmla="*/ 1356847 h 1356847"/>
              <a:gd name="connsiteX1" fmla="*/ 13535 w 2816341"/>
              <a:gd name="connsiteY1" fmla="*/ 0 h 1356847"/>
              <a:gd name="connsiteX2" fmla="*/ 2602322 w 2816341"/>
              <a:gd name="connsiteY2" fmla="*/ 12108 h 1356847"/>
              <a:gd name="connsiteX3" fmla="*/ 2816341 w 2816341"/>
              <a:gd name="connsiteY3" fmla="*/ 97473 h 1356847"/>
              <a:gd name="connsiteX4" fmla="*/ 2481103 w 2816341"/>
              <a:gd name="connsiteY4" fmla="*/ 1245722 h 1356847"/>
              <a:gd name="connsiteX5" fmla="*/ 243 w 2816341"/>
              <a:gd name="connsiteY5" fmla="*/ 1356847 h 1356847"/>
              <a:gd name="connsiteX0" fmla="*/ 321 w 2811656"/>
              <a:gd name="connsiteY0" fmla="*/ 1252072 h 1252072"/>
              <a:gd name="connsiteX1" fmla="*/ 8850 w 2811656"/>
              <a:gd name="connsiteY1" fmla="*/ 0 h 1252072"/>
              <a:gd name="connsiteX2" fmla="*/ 2597637 w 2811656"/>
              <a:gd name="connsiteY2" fmla="*/ 12108 h 1252072"/>
              <a:gd name="connsiteX3" fmla="*/ 2811656 w 2811656"/>
              <a:gd name="connsiteY3" fmla="*/ 97473 h 1252072"/>
              <a:gd name="connsiteX4" fmla="*/ 2476418 w 2811656"/>
              <a:gd name="connsiteY4" fmla="*/ 1245722 h 1252072"/>
              <a:gd name="connsiteX5" fmla="*/ 321 w 2811656"/>
              <a:gd name="connsiteY5" fmla="*/ 1252072 h 1252072"/>
              <a:gd name="connsiteX0" fmla="*/ 321 w 3675256"/>
              <a:gd name="connsiteY0" fmla="*/ 1252072 h 1252072"/>
              <a:gd name="connsiteX1" fmla="*/ 8850 w 3675256"/>
              <a:gd name="connsiteY1" fmla="*/ 0 h 1252072"/>
              <a:gd name="connsiteX2" fmla="*/ 2597637 w 3675256"/>
              <a:gd name="connsiteY2" fmla="*/ 12108 h 1252072"/>
              <a:gd name="connsiteX3" fmla="*/ 3675256 w 3675256"/>
              <a:gd name="connsiteY3" fmla="*/ 260033 h 1252072"/>
              <a:gd name="connsiteX4" fmla="*/ 2476418 w 3675256"/>
              <a:gd name="connsiteY4" fmla="*/ 1245722 h 1252072"/>
              <a:gd name="connsiteX5" fmla="*/ 321 w 3675256"/>
              <a:gd name="connsiteY5" fmla="*/ 1252072 h 1252072"/>
              <a:gd name="connsiteX0" fmla="*/ 321 w 3675256"/>
              <a:gd name="connsiteY0" fmla="*/ 1252072 h 1252072"/>
              <a:gd name="connsiteX1" fmla="*/ 8850 w 3675256"/>
              <a:gd name="connsiteY1" fmla="*/ 0 h 1252072"/>
              <a:gd name="connsiteX2" fmla="*/ 2597637 w 3675256"/>
              <a:gd name="connsiteY2" fmla="*/ 12108 h 1252072"/>
              <a:gd name="connsiteX3" fmla="*/ 3675256 w 3675256"/>
              <a:gd name="connsiteY3" fmla="*/ 260033 h 1252072"/>
              <a:gd name="connsiteX4" fmla="*/ 3014898 w 3675256"/>
              <a:gd name="connsiteY4" fmla="*/ 1250802 h 1252072"/>
              <a:gd name="connsiteX5" fmla="*/ 321 w 3675256"/>
              <a:gd name="connsiteY5" fmla="*/ 1252072 h 1252072"/>
              <a:gd name="connsiteX0" fmla="*/ 321 w 3675256"/>
              <a:gd name="connsiteY0" fmla="*/ 1252072 h 1252072"/>
              <a:gd name="connsiteX1" fmla="*/ 8850 w 3675256"/>
              <a:gd name="connsiteY1" fmla="*/ 0 h 1252072"/>
              <a:gd name="connsiteX2" fmla="*/ 2597637 w 3675256"/>
              <a:gd name="connsiteY2" fmla="*/ 12108 h 1252072"/>
              <a:gd name="connsiteX3" fmla="*/ 3074839 w 3675256"/>
              <a:gd name="connsiteY3" fmla="*/ 107040 h 1252072"/>
              <a:gd name="connsiteX4" fmla="*/ 3675256 w 3675256"/>
              <a:gd name="connsiteY4" fmla="*/ 260033 h 1252072"/>
              <a:gd name="connsiteX5" fmla="*/ 3014898 w 3675256"/>
              <a:gd name="connsiteY5" fmla="*/ 1250802 h 1252072"/>
              <a:gd name="connsiteX6" fmla="*/ 321 w 3675256"/>
              <a:gd name="connsiteY6" fmla="*/ 1252072 h 1252072"/>
              <a:gd name="connsiteX0" fmla="*/ 321 w 3675256"/>
              <a:gd name="connsiteY0" fmla="*/ 1252072 h 1252072"/>
              <a:gd name="connsiteX1" fmla="*/ 8850 w 3675256"/>
              <a:gd name="connsiteY1" fmla="*/ 0 h 1252072"/>
              <a:gd name="connsiteX2" fmla="*/ 2597637 w 3675256"/>
              <a:gd name="connsiteY2" fmla="*/ 12108 h 1252072"/>
              <a:gd name="connsiteX3" fmla="*/ 3151039 w 3675256"/>
              <a:gd name="connsiteY3" fmla="*/ 269600 h 1252072"/>
              <a:gd name="connsiteX4" fmla="*/ 3675256 w 3675256"/>
              <a:gd name="connsiteY4" fmla="*/ 260033 h 1252072"/>
              <a:gd name="connsiteX5" fmla="*/ 3014898 w 3675256"/>
              <a:gd name="connsiteY5" fmla="*/ 1250802 h 1252072"/>
              <a:gd name="connsiteX6" fmla="*/ 321 w 3675256"/>
              <a:gd name="connsiteY6" fmla="*/ 1252072 h 1252072"/>
              <a:gd name="connsiteX0" fmla="*/ 459 w 3675394"/>
              <a:gd name="connsiteY0" fmla="*/ 1247477 h 1247477"/>
              <a:gd name="connsiteX1" fmla="*/ 4393 w 3675394"/>
              <a:gd name="connsiteY1" fmla="*/ 0 h 1247477"/>
              <a:gd name="connsiteX2" fmla="*/ 2597775 w 3675394"/>
              <a:gd name="connsiteY2" fmla="*/ 7513 h 1247477"/>
              <a:gd name="connsiteX3" fmla="*/ 3151177 w 3675394"/>
              <a:gd name="connsiteY3" fmla="*/ 265005 h 1247477"/>
              <a:gd name="connsiteX4" fmla="*/ 3675394 w 3675394"/>
              <a:gd name="connsiteY4" fmla="*/ 255438 h 1247477"/>
              <a:gd name="connsiteX5" fmla="*/ 3015036 w 3675394"/>
              <a:gd name="connsiteY5" fmla="*/ 1246207 h 1247477"/>
              <a:gd name="connsiteX6" fmla="*/ 459 w 3675394"/>
              <a:gd name="connsiteY6" fmla="*/ 1247477 h 1247477"/>
              <a:gd name="connsiteX0" fmla="*/ 0 w 3674935"/>
              <a:gd name="connsiteY0" fmla="*/ 1247477 h 1247477"/>
              <a:gd name="connsiteX1" fmla="*/ 3934 w 3674935"/>
              <a:gd name="connsiteY1" fmla="*/ 0 h 1247477"/>
              <a:gd name="connsiteX2" fmla="*/ 2597316 w 3674935"/>
              <a:gd name="connsiteY2" fmla="*/ 7513 h 1247477"/>
              <a:gd name="connsiteX3" fmla="*/ 3150718 w 3674935"/>
              <a:gd name="connsiteY3" fmla="*/ 265005 h 1247477"/>
              <a:gd name="connsiteX4" fmla="*/ 3674935 w 3674935"/>
              <a:gd name="connsiteY4" fmla="*/ 255438 h 1247477"/>
              <a:gd name="connsiteX5" fmla="*/ 3014577 w 3674935"/>
              <a:gd name="connsiteY5" fmla="*/ 1246207 h 1247477"/>
              <a:gd name="connsiteX6" fmla="*/ 0 w 3674935"/>
              <a:gd name="connsiteY6" fmla="*/ 1247477 h 1247477"/>
              <a:gd name="connsiteX0" fmla="*/ 0 w 3674935"/>
              <a:gd name="connsiteY0" fmla="*/ 1249154 h 1249154"/>
              <a:gd name="connsiteX1" fmla="*/ 3934 w 3674935"/>
              <a:gd name="connsiteY1" fmla="*/ 1677 h 1249154"/>
              <a:gd name="connsiteX2" fmla="*/ 2601911 w 3674935"/>
              <a:gd name="connsiteY2" fmla="*/ 0 h 1249154"/>
              <a:gd name="connsiteX3" fmla="*/ 3150718 w 3674935"/>
              <a:gd name="connsiteY3" fmla="*/ 266682 h 1249154"/>
              <a:gd name="connsiteX4" fmla="*/ 3674935 w 3674935"/>
              <a:gd name="connsiteY4" fmla="*/ 257115 h 1249154"/>
              <a:gd name="connsiteX5" fmla="*/ 3014577 w 3674935"/>
              <a:gd name="connsiteY5" fmla="*/ 1247884 h 1249154"/>
              <a:gd name="connsiteX6" fmla="*/ 0 w 3674935"/>
              <a:gd name="connsiteY6" fmla="*/ 1249154 h 1249154"/>
              <a:gd name="connsiteX0" fmla="*/ 0 w 3661150"/>
              <a:gd name="connsiteY0" fmla="*/ 1249154 h 1249154"/>
              <a:gd name="connsiteX1" fmla="*/ 3934 w 3661150"/>
              <a:gd name="connsiteY1" fmla="*/ 1677 h 1249154"/>
              <a:gd name="connsiteX2" fmla="*/ 2601911 w 3661150"/>
              <a:gd name="connsiteY2" fmla="*/ 0 h 1249154"/>
              <a:gd name="connsiteX3" fmla="*/ 3150718 w 3661150"/>
              <a:gd name="connsiteY3" fmla="*/ 266682 h 1249154"/>
              <a:gd name="connsiteX4" fmla="*/ 3661150 w 3661150"/>
              <a:gd name="connsiteY4" fmla="*/ 257115 h 1249154"/>
              <a:gd name="connsiteX5" fmla="*/ 3014577 w 3661150"/>
              <a:gd name="connsiteY5" fmla="*/ 1247884 h 1249154"/>
              <a:gd name="connsiteX6" fmla="*/ 0 w 3661150"/>
              <a:gd name="connsiteY6" fmla="*/ 1249154 h 1249154"/>
              <a:gd name="connsiteX0" fmla="*/ 0 w 3656555"/>
              <a:gd name="connsiteY0" fmla="*/ 1249154 h 1249154"/>
              <a:gd name="connsiteX1" fmla="*/ 3934 w 3656555"/>
              <a:gd name="connsiteY1" fmla="*/ 1677 h 1249154"/>
              <a:gd name="connsiteX2" fmla="*/ 2601911 w 3656555"/>
              <a:gd name="connsiteY2" fmla="*/ 0 h 1249154"/>
              <a:gd name="connsiteX3" fmla="*/ 3150718 w 3656555"/>
              <a:gd name="connsiteY3" fmla="*/ 266682 h 1249154"/>
              <a:gd name="connsiteX4" fmla="*/ 3656555 w 3656555"/>
              <a:gd name="connsiteY4" fmla="*/ 275495 h 1249154"/>
              <a:gd name="connsiteX5" fmla="*/ 3014577 w 3656555"/>
              <a:gd name="connsiteY5" fmla="*/ 1247884 h 1249154"/>
              <a:gd name="connsiteX6" fmla="*/ 0 w 3656555"/>
              <a:gd name="connsiteY6" fmla="*/ 1249154 h 1249154"/>
              <a:gd name="connsiteX0" fmla="*/ 0 w 3656555"/>
              <a:gd name="connsiteY0" fmla="*/ 1249154 h 1249154"/>
              <a:gd name="connsiteX1" fmla="*/ 3934 w 3656555"/>
              <a:gd name="connsiteY1" fmla="*/ 1677 h 1249154"/>
              <a:gd name="connsiteX2" fmla="*/ 2601911 w 3656555"/>
              <a:gd name="connsiteY2" fmla="*/ 0 h 1249154"/>
              <a:gd name="connsiteX3" fmla="*/ 3150718 w 3656555"/>
              <a:gd name="connsiteY3" fmla="*/ 266682 h 1249154"/>
              <a:gd name="connsiteX4" fmla="*/ 3656555 w 3656555"/>
              <a:gd name="connsiteY4" fmla="*/ 275495 h 1249154"/>
              <a:gd name="connsiteX5" fmla="*/ 3014577 w 3656555"/>
              <a:gd name="connsiteY5" fmla="*/ 1247884 h 1249154"/>
              <a:gd name="connsiteX6" fmla="*/ 0 w 3656555"/>
              <a:gd name="connsiteY6" fmla="*/ 1249154 h 1249154"/>
              <a:gd name="connsiteX0" fmla="*/ 0 w 3656555"/>
              <a:gd name="connsiteY0" fmla="*/ 1249154 h 1249154"/>
              <a:gd name="connsiteX1" fmla="*/ 3934 w 3656555"/>
              <a:gd name="connsiteY1" fmla="*/ 1677 h 1249154"/>
              <a:gd name="connsiteX2" fmla="*/ 2601911 w 3656555"/>
              <a:gd name="connsiteY2" fmla="*/ 0 h 1249154"/>
              <a:gd name="connsiteX3" fmla="*/ 3150718 w 3656555"/>
              <a:gd name="connsiteY3" fmla="*/ 266682 h 1249154"/>
              <a:gd name="connsiteX4" fmla="*/ 3656555 w 3656555"/>
              <a:gd name="connsiteY4" fmla="*/ 269460 h 1249154"/>
              <a:gd name="connsiteX5" fmla="*/ 3014577 w 3656555"/>
              <a:gd name="connsiteY5" fmla="*/ 1247884 h 1249154"/>
              <a:gd name="connsiteX6" fmla="*/ 0 w 3656555"/>
              <a:gd name="connsiteY6" fmla="*/ 1249154 h 1249154"/>
              <a:gd name="connsiteX0" fmla="*/ 0 w 3653537"/>
              <a:gd name="connsiteY0" fmla="*/ 1249154 h 1249154"/>
              <a:gd name="connsiteX1" fmla="*/ 3934 w 3653537"/>
              <a:gd name="connsiteY1" fmla="*/ 1677 h 1249154"/>
              <a:gd name="connsiteX2" fmla="*/ 2601911 w 3653537"/>
              <a:gd name="connsiteY2" fmla="*/ 0 h 1249154"/>
              <a:gd name="connsiteX3" fmla="*/ 3150718 w 3653537"/>
              <a:gd name="connsiteY3" fmla="*/ 266682 h 1249154"/>
              <a:gd name="connsiteX4" fmla="*/ 3653537 w 3653537"/>
              <a:gd name="connsiteY4" fmla="*/ 269460 h 1249154"/>
              <a:gd name="connsiteX5" fmla="*/ 3014577 w 3653537"/>
              <a:gd name="connsiteY5" fmla="*/ 1247884 h 1249154"/>
              <a:gd name="connsiteX6" fmla="*/ 0 w 3653537"/>
              <a:gd name="connsiteY6" fmla="*/ 1249154 h 1249154"/>
              <a:gd name="connsiteX0" fmla="*/ 0 w 3653537"/>
              <a:gd name="connsiteY0" fmla="*/ 1249154 h 1249154"/>
              <a:gd name="connsiteX1" fmla="*/ 3934 w 3653537"/>
              <a:gd name="connsiteY1" fmla="*/ 1677 h 1249154"/>
              <a:gd name="connsiteX2" fmla="*/ 2601911 w 3653537"/>
              <a:gd name="connsiteY2" fmla="*/ 0 h 1249154"/>
              <a:gd name="connsiteX3" fmla="*/ 3150718 w 3653537"/>
              <a:gd name="connsiteY3" fmla="*/ 266682 h 1249154"/>
              <a:gd name="connsiteX4" fmla="*/ 3653537 w 3653537"/>
              <a:gd name="connsiteY4" fmla="*/ 269460 h 1249154"/>
              <a:gd name="connsiteX5" fmla="*/ 3020612 w 3653537"/>
              <a:gd name="connsiteY5" fmla="*/ 1244866 h 1249154"/>
              <a:gd name="connsiteX6" fmla="*/ 0 w 3653537"/>
              <a:gd name="connsiteY6" fmla="*/ 1249154 h 12491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653537" h="1249154">
                <a:moveTo>
                  <a:pt x="0" y="1249154"/>
                </a:moveTo>
                <a:cubicBezTo>
                  <a:pt x="1311" y="833328"/>
                  <a:pt x="2623" y="417503"/>
                  <a:pt x="3934" y="1677"/>
                </a:cubicBezTo>
                <a:lnTo>
                  <a:pt x="2601911" y="0"/>
                </a:lnTo>
                <a:lnTo>
                  <a:pt x="3150718" y="266682"/>
                </a:lnTo>
                <a:lnTo>
                  <a:pt x="3653537" y="269460"/>
                </a:lnTo>
                <a:lnTo>
                  <a:pt x="3020612" y="1244866"/>
                </a:lnTo>
                <a:lnTo>
                  <a:pt x="0" y="1249154"/>
                </a:lnTo>
                <a:close/>
              </a:path>
            </a:pathLst>
          </a:custGeom>
          <a:gradFill>
            <a:gsLst>
              <a:gs pos="0">
                <a:schemeClr val="bg2">
                  <a:lumMod val="75000"/>
                  <a:alpha val="85000"/>
                </a:schemeClr>
              </a:gs>
              <a:gs pos="100000">
                <a:schemeClr val="bg2">
                  <a:alpha val="85000"/>
                </a:schemeClr>
              </a:gs>
            </a:gsLst>
            <a:lin ang="5400000" scaled="0"/>
          </a:gradFill>
          <a:ln w="19050">
            <a:noFill/>
          </a:ln>
        </p:spPr>
        <p:txBody>
          <a:bodyPr vert="horz" lIns="454941" tIns="37851" rIns="75702" bIns="72790" rtlCol="0" anchor="ctr" anchorCtr="0">
            <a:noAutofit/>
          </a:bodyPr>
          <a:lstStyle>
            <a:lvl1pPr marL="342900" indent="-342900">
              <a:buFontTx/>
              <a:buNone/>
              <a:defRPr lang="en-US" sz="1094" dirty="0">
                <a:solidFill>
                  <a:srgbClr val="424949"/>
                </a:solidFill>
              </a:defRPr>
            </a:lvl1pPr>
          </a:lstStyle>
          <a:p>
            <a:pPr marL="0" lvl="0" indent="0" algn="ctr">
              <a:buNone/>
            </a:pPr>
            <a:r>
              <a:rPr lang="en-US" dirty="0"/>
              <a:t> </a:t>
            </a:r>
          </a:p>
        </p:txBody>
      </p:sp>
      <p:sp>
        <p:nvSpPr>
          <p:cNvPr id="14" name="Text Placeholder 33">
            <a:extLst>
              <a:ext uri="{FF2B5EF4-FFF2-40B4-BE49-F238E27FC236}">
                <a16:creationId xmlns:a16="http://schemas.microsoft.com/office/drawing/2014/main" id="{B1ED78A0-A56B-4703-A84F-DDB45C4928AA}"/>
              </a:ext>
            </a:extLst>
          </p:cNvPr>
          <p:cNvSpPr>
            <a:spLocks noGrp="1"/>
          </p:cNvSpPr>
          <p:nvPr>
            <p:ph type="body" sz="quarter" idx="22" hasCustomPrompt="1"/>
          </p:nvPr>
        </p:nvSpPr>
        <p:spPr>
          <a:xfrm>
            <a:off x="-12466" y="4882452"/>
            <a:ext cx="5344068" cy="1070462"/>
          </a:xfrm>
          <a:custGeom>
            <a:avLst/>
            <a:gdLst>
              <a:gd name="connsiteX0" fmla="*/ 0 w 2926080"/>
              <a:gd name="connsiteY0" fmla="*/ 1495912 h 1495912"/>
              <a:gd name="connsiteX1" fmla="*/ 449537 w 2926080"/>
              <a:gd name="connsiteY1" fmla="*/ 0 h 1495912"/>
              <a:gd name="connsiteX2" fmla="*/ 2926080 w 2926080"/>
              <a:gd name="connsiteY2" fmla="*/ 0 h 1495912"/>
              <a:gd name="connsiteX3" fmla="*/ 2476543 w 2926080"/>
              <a:gd name="connsiteY3" fmla="*/ 1495912 h 1495912"/>
              <a:gd name="connsiteX4" fmla="*/ 0 w 2926080"/>
              <a:gd name="connsiteY4" fmla="*/ 1495912 h 1495912"/>
              <a:gd name="connsiteX0" fmla="*/ 0 w 2926080"/>
              <a:gd name="connsiteY0" fmla="*/ 1495912 h 1495912"/>
              <a:gd name="connsiteX1" fmla="*/ 449537 w 2926080"/>
              <a:gd name="connsiteY1" fmla="*/ 0 h 1495912"/>
              <a:gd name="connsiteX2" fmla="*/ 2926080 w 2926080"/>
              <a:gd name="connsiteY2" fmla="*/ 0 h 1495912"/>
              <a:gd name="connsiteX3" fmla="*/ 2918503 w 2926080"/>
              <a:gd name="connsiteY3" fmla="*/ 1038712 h 1495912"/>
              <a:gd name="connsiteX4" fmla="*/ 0 w 2926080"/>
              <a:gd name="connsiteY4" fmla="*/ 1495912 h 1495912"/>
              <a:gd name="connsiteX0" fmla="*/ 0 w 2606040"/>
              <a:gd name="connsiteY0" fmla="*/ 1114912 h 1114912"/>
              <a:gd name="connsiteX1" fmla="*/ 129497 w 2606040"/>
              <a:gd name="connsiteY1" fmla="*/ 0 h 1114912"/>
              <a:gd name="connsiteX2" fmla="*/ 2606040 w 2606040"/>
              <a:gd name="connsiteY2" fmla="*/ 0 h 1114912"/>
              <a:gd name="connsiteX3" fmla="*/ 2598463 w 2606040"/>
              <a:gd name="connsiteY3" fmla="*/ 1038712 h 1114912"/>
              <a:gd name="connsiteX4" fmla="*/ 0 w 2606040"/>
              <a:gd name="connsiteY4" fmla="*/ 1114912 h 1114912"/>
              <a:gd name="connsiteX0" fmla="*/ 0 w 2606040"/>
              <a:gd name="connsiteY0" fmla="*/ 1114912 h 1114912"/>
              <a:gd name="connsiteX1" fmla="*/ 921977 w 2606040"/>
              <a:gd name="connsiteY1" fmla="*/ 0 h 1114912"/>
              <a:gd name="connsiteX2" fmla="*/ 2606040 w 2606040"/>
              <a:gd name="connsiteY2" fmla="*/ 0 h 1114912"/>
              <a:gd name="connsiteX3" fmla="*/ 2598463 w 2606040"/>
              <a:gd name="connsiteY3" fmla="*/ 1038712 h 1114912"/>
              <a:gd name="connsiteX4" fmla="*/ 0 w 2606040"/>
              <a:gd name="connsiteY4" fmla="*/ 1114912 h 1114912"/>
              <a:gd name="connsiteX0" fmla="*/ 0 w 2606040"/>
              <a:gd name="connsiteY0" fmla="*/ 1114912 h 1114912"/>
              <a:gd name="connsiteX1" fmla="*/ 441220 w 2606040"/>
              <a:gd name="connsiteY1" fmla="*/ 596328 h 1114912"/>
              <a:gd name="connsiteX2" fmla="*/ 921977 w 2606040"/>
              <a:gd name="connsiteY2" fmla="*/ 0 h 1114912"/>
              <a:gd name="connsiteX3" fmla="*/ 2606040 w 2606040"/>
              <a:gd name="connsiteY3" fmla="*/ 0 h 1114912"/>
              <a:gd name="connsiteX4" fmla="*/ 2598463 w 2606040"/>
              <a:gd name="connsiteY4" fmla="*/ 1038712 h 1114912"/>
              <a:gd name="connsiteX5" fmla="*/ 0 w 2606040"/>
              <a:gd name="connsiteY5" fmla="*/ 1114912 h 1114912"/>
              <a:gd name="connsiteX0" fmla="*/ 0 w 2606040"/>
              <a:gd name="connsiteY0" fmla="*/ 1114912 h 1114912"/>
              <a:gd name="connsiteX1" fmla="*/ 357400 w 2606040"/>
              <a:gd name="connsiteY1" fmla="*/ 916368 h 1114912"/>
              <a:gd name="connsiteX2" fmla="*/ 921977 w 2606040"/>
              <a:gd name="connsiteY2" fmla="*/ 0 h 1114912"/>
              <a:gd name="connsiteX3" fmla="*/ 2606040 w 2606040"/>
              <a:gd name="connsiteY3" fmla="*/ 0 h 1114912"/>
              <a:gd name="connsiteX4" fmla="*/ 2598463 w 2606040"/>
              <a:gd name="connsiteY4" fmla="*/ 1038712 h 1114912"/>
              <a:gd name="connsiteX5" fmla="*/ 0 w 2606040"/>
              <a:gd name="connsiteY5" fmla="*/ 1114912 h 1114912"/>
              <a:gd name="connsiteX0" fmla="*/ 0 w 2606040"/>
              <a:gd name="connsiteY0" fmla="*/ 1114912 h 1114912"/>
              <a:gd name="connsiteX1" fmla="*/ 357400 w 2606040"/>
              <a:gd name="connsiteY1" fmla="*/ 916368 h 1114912"/>
              <a:gd name="connsiteX2" fmla="*/ 174520 w 2606040"/>
              <a:gd name="connsiteY2" fmla="*/ 1015428 h 1114912"/>
              <a:gd name="connsiteX3" fmla="*/ 921977 w 2606040"/>
              <a:gd name="connsiteY3" fmla="*/ 0 h 1114912"/>
              <a:gd name="connsiteX4" fmla="*/ 2606040 w 2606040"/>
              <a:gd name="connsiteY4" fmla="*/ 0 h 1114912"/>
              <a:gd name="connsiteX5" fmla="*/ 2598463 w 2606040"/>
              <a:gd name="connsiteY5" fmla="*/ 1038712 h 1114912"/>
              <a:gd name="connsiteX6" fmla="*/ 0 w 2606040"/>
              <a:gd name="connsiteY6" fmla="*/ 1114912 h 1114912"/>
              <a:gd name="connsiteX0" fmla="*/ 0 w 2606040"/>
              <a:gd name="connsiteY0" fmla="*/ 1114912 h 1114912"/>
              <a:gd name="connsiteX1" fmla="*/ 357400 w 2606040"/>
              <a:gd name="connsiteY1" fmla="*/ 916368 h 1114912"/>
              <a:gd name="connsiteX2" fmla="*/ 428520 w 2606040"/>
              <a:gd name="connsiteY2" fmla="*/ 744495 h 1114912"/>
              <a:gd name="connsiteX3" fmla="*/ 921977 w 2606040"/>
              <a:gd name="connsiteY3" fmla="*/ 0 h 1114912"/>
              <a:gd name="connsiteX4" fmla="*/ 2606040 w 2606040"/>
              <a:gd name="connsiteY4" fmla="*/ 0 h 1114912"/>
              <a:gd name="connsiteX5" fmla="*/ 2598463 w 2606040"/>
              <a:gd name="connsiteY5" fmla="*/ 1038712 h 1114912"/>
              <a:gd name="connsiteX6" fmla="*/ 0 w 2606040"/>
              <a:gd name="connsiteY6" fmla="*/ 1114912 h 1114912"/>
              <a:gd name="connsiteX0" fmla="*/ 0 w 2606040"/>
              <a:gd name="connsiteY0" fmla="*/ 1114912 h 1114912"/>
              <a:gd name="connsiteX1" fmla="*/ 160973 w 2606040"/>
              <a:gd name="connsiteY1" fmla="*/ 1018815 h 1114912"/>
              <a:gd name="connsiteX2" fmla="*/ 357400 w 2606040"/>
              <a:gd name="connsiteY2" fmla="*/ 916368 h 1114912"/>
              <a:gd name="connsiteX3" fmla="*/ 428520 w 2606040"/>
              <a:gd name="connsiteY3" fmla="*/ 744495 h 1114912"/>
              <a:gd name="connsiteX4" fmla="*/ 921977 w 2606040"/>
              <a:gd name="connsiteY4" fmla="*/ 0 h 1114912"/>
              <a:gd name="connsiteX5" fmla="*/ 2606040 w 2606040"/>
              <a:gd name="connsiteY5" fmla="*/ 0 h 1114912"/>
              <a:gd name="connsiteX6" fmla="*/ 2598463 w 2606040"/>
              <a:gd name="connsiteY6" fmla="*/ 1038712 h 1114912"/>
              <a:gd name="connsiteX7" fmla="*/ 0 w 2606040"/>
              <a:gd name="connsiteY7" fmla="*/ 1114912 h 1114912"/>
              <a:gd name="connsiteX0" fmla="*/ 0 w 5342890"/>
              <a:gd name="connsiteY0" fmla="*/ 1070462 h 1070462"/>
              <a:gd name="connsiteX1" fmla="*/ 2897823 w 5342890"/>
              <a:gd name="connsiteY1" fmla="*/ 1018815 h 1070462"/>
              <a:gd name="connsiteX2" fmla="*/ 3094250 w 5342890"/>
              <a:gd name="connsiteY2" fmla="*/ 916368 h 1070462"/>
              <a:gd name="connsiteX3" fmla="*/ 3165370 w 5342890"/>
              <a:gd name="connsiteY3" fmla="*/ 744495 h 1070462"/>
              <a:gd name="connsiteX4" fmla="*/ 3658827 w 5342890"/>
              <a:gd name="connsiteY4" fmla="*/ 0 h 1070462"/>
              <a:gd name="connsiteX5" fmla="*/ 5342890 w 5342890"/>
              <a:gd name="connsiteY5" fmla="*/ 0 h 1070462"/>
              <a:gd name="connsiteX6" fmla="*/ 5335313 w 5342890"/>
              <a:gd name="connsiteY6" fmla="*/ 1038712 h 1070462"/>
              <a:gd name="connsiteX7" fmla="*/ 0 w 5342890"/>
              <a:gd name="connsiteY7" fmla="*/ 1070462 h 1070462"/>
              <a:gd name="connsiteX0" fmla="*/ 4127 w 5347017"/>
              <a:gd name="connsiteY0" fmla="*/ 1070462 h 1070462"/>
              <a:gd name="connsiteX1" fmla="*/ 0 w 5347017"/>
              <a:gd name="connsiteY1" fmla="*/ 987065 h 1070462"/>
              <a:gd name="connsiteX2" fmla="*/ 3098377 w 5347017"/>
              <a:gd name="connsiteY2" fmla="*/ 916368 h 1070462"/>
              <a:gd name="connsiteX3" fmla="*/ 3169497 w 5347017"/>
              <a:gd name="connsiteY3" fmla="*/ 744495 h 1070462"/>
              <a:gd name="connsiteX4" fmla="*/ 3662954 w 5347017"/>
              <a:gd name="connsiteY4" fmla="*/ 0 h 1070462"/>
              <a:gd name="connsiteX5" fmla="*/ 5347017 w 5347017"/>
              <a:gd name="connsiteY5" fmla="*/ 0 h 1070462"/>
              <a:gd name="connsiteX6" fmla="*/ 5339440 w 5347017"/>
              <a:gd name="connsiteY6" fmla="*/ 1038712 h 1070462"/>
              <a:gd name="connsiteX7" fmla="*/ 4127 w 5347017"/>
              <a:gd name="connsiteY7" fmla="*/ 1070462 h 1070462"/>
              <a:gd name="connsiteX0" fmla="*/ 4127 w 5347017"/>
              <a:gd name="connsiteY0" fmla="*/ 1070462 h 1070462"/>
              <a:gd name="connsiteX1" fmla="*/ 0 w 5347017"/>
              <a:gd name="connsiteY1" fmla="*/ 987065 h 1070462"/>
              <a:gd name="connsiteX2" fmla="*/ 3041227 w 5347017"/>
              <a:gd name="connsiteY2" fmla="*/ 973518 h 1070462"/>
              <a:gd name="connsiteX3" fmla="*/ 3169497 w 5347017"/>
              <a:gd name="connsiteY3" fmla="*/ 744495 h 1070462"/>
              <a:gd name="connsiteX4" fmla="*/ 3662954 w 5347017"/>
              <a:gd name="connsiteY4" fmla="*/ 0 h 1070462"/>
              <a:gd name="connsiteX5" fmla="*/ 5347017 w 5347017"/>
              <a:gd name="connsiteY5" fmla="*/ 0 h 1070462"/>
              <a:gd name="connsiteX6" fmla="*/ 5339440 w 5347017"/>
              <a:gd name="connsiteY6" fmla="*/ 1038712 h 1070462"/>
              <a:gd name="connsiteX7" fmla="*/ 4127 w 5347017"/>
              <a:gd name="connsiteY7" fmla="*/ 1070462 h 1070462"/>
              <a:gd name="connsiteX0" fmla="*/ 4127 w 5347017"/>
              <a:gd name="connsiteY0" fmla="*/ 1070462 h 1070462"/>
              <a:gd name="connsiteX1" fmla="*/ 0 w 5347017"/>
              <a:gd name="connsiteY1" fmla="*/ 987065 h 1070462"/>
              <a:gd name="connsiteX2" fmla="*/ 3041227 w 5347017"/>
              <a:gd name="connsiteY2" fmla="*/ 973518 h 1070462"/>
              <a:gd name="connsiteX3" fmla="*/ 3662954 w 5347017"/>
              <a:gd name="connsiteY3" fmla="*/ 0 h 1070462"/>
              <a:gd name="connsiteX4" fmla="*/ 5347017 w 5347017"/>
              <a:gd name="connsiteY4" fmla="*/ 0 h 1070462"/>
              <a:gd name="connsiteX5" fmla="*/ 5339440 w 5347017"/>
              <a:gd name="connsiteY5" fmla="*/ 1038712 h 1070462"/>
              <a:gd name="connsiteX6" fmla="*/ 4127 w 5347017"/>
              <a:gd name="connsiteY6" fmla="*/ 1070462 h 1070462"/>
              <a:gd name="connsiteX0" fmla="*/ 4127 w 5358753"/>
              <a:gd name="connsiteY0" fmla="*/ 1070462 h 1070462"/>
              <a:gd name="connsiteX1" fmla="*/ 0 w 5358753"/>
              <a:gd name="connsiteY1" fmla="*/ 987065 h 1070462"/>
              <a:gd name="connsiteX2" fmla="*/ 3041227 w 5358753"/>
              <a:gd name="connsiteY2" fmla="*/ 973518 h 1070462"/>
              <a:gd name="connsiteX3" fmla="*/ 3662954 w 5358753"/>
              <a:gd name="connsiteY3" fmla="*/ 0 h 1070462"/>
              <a:gd name="connsiteX4" fmla="*/ 5347017 w 5358753"/>
              <a:gd name="connsiteY4" fmla="*/ 0 h 1070462"/>
              <a:gd name="connsiteX5" fmla="*/ 5358490 w 5358753"/>
              <a:gd name="connsiteY5" fmla="*/ 1064112 h 1070462"/>
              <a:gd name="connsiteX6" fmla="*/ 4127 w 5358753"/>
              <a:gd name="connsiteY6" fmla="*/ 1070462 h 1070462"/>
              <a:gd name="connsiteX0" fmla="*/ 0 w 5354626"/>
              <a:gd name="connsiteY0" fmla="*/ 1070462 h 1070462"/>
              <a:gd name="connsiteX1" fmla="*/ 4926 w 5354626"/>
              <a:gd name="connsiteY1" fmla="*/ 987065 h 1070462"/>
              <a:gd name="connsiteX2" fmla="*/ 3037100 w 5354626"/>
              <a:gd name="connsiteY2" fmla="*/ 973518 h 1070462"/>
              <a:gd name="connsiteX3" fmla="*/ 3658827 w 5354626"/>
              <a:gd name="connsiteY3" fmla="*/ 0 h 1070462"/>
              <a:gd name="connsiteX4" fmla="*/ 5342890 w 5354626"/>
              <a:gd name="connsiteY4" fmla="*/ 0 h 1070462"/>
              <a:gd name="connsiteX5" fmla="*/ 5354363 w 5354626"/>
              <a:gd name="connsiteY5" fmla="*/ 1064112 h 1070462"/>
              <a:gd name="connsiteX6" fmla="*/ 0 w 5354626"/>
              <a:gd name="connsiteY6" fmla="*/ 1070462 h 1070462"/>
              <a:gd name="connsiteX0" fmla="*/ 1109 w 5349700"/>
              <a:gd name="connsiteY0" fmla="*/ 1070462 h 1070462"/>
              <a:gd name="connsiteX1" fmla="*/ 0 w 5349700"/>
              <a:gd name="connsiteY1" fmla="*/ 987065 h 1070462"/>
              <a:gd name="connsiteX2" fmla="*/ 3032174 w 5349700"/>
              <a:gd name="connsiteY2" fmla="*/ 973518 h 1070462"/>
              <a:gd name="connsiteX3" fmla="*/ 3653901 w 5349700"/>
              <a:gd name="connsiteY3" fmla="*/ 0 h 1070462"/>
              <a:gd name="connsiteX4" fmla="*/ 5337964 w 5349700"/>
              <a:gd name="connsiteY4" fmla="*/ 0 h 1070462"/>
              <a:gd name="connsiteX5" fmla="*/ 5349437 w 5349700"/>
              <a:gd name="connsiteY5" fmla="*/ 1064112 h 1070462"/>
              <a:gd name="connsiteX6" fmla="*/ 1109 w 5349700"/>
              <a:gd name="connsiteY6" fmla="*/ 1070462 h 1070462"/>
              <a:gd name="connsiteX0" fmla="*/ 533933 w 5882524"/>
              <a:gd name="connsiteY0" fmla="*/ 1070462 h 1070474"/>
              <a:gd name="connsiteX1" fmla="*/ 532824 w 5882524"/>
              <a:gd name="connsiteY1" fmla="*/ 987065 h 1070474"/>
              <a:gd name="connsiteX2" fmla="*/ 3564998 w 5882524"/>
              <a:gd name="connsiteY2" fmla="*/ 973518 h 1070474"/>
              <a:gd name="connsiteX3" fmla="*/ 4186725 w 5882524"/>
              <a:gd name="connsiteY3" fmla="*/ 0 h 1070474"/>
              <a:gd name="connsiteX4" fmla="*/ 5870788 w 5882524"/>
              <a:gd name="connsiteY4" fmla="*/ 0 h 1070474"/>
              <a:gd name="connsiteX5" fmla="*/ 5882261 w 5882524"/>
              <a:gd name="connsiteY5" fmla="*/ 1064112 h 1070474"/>
              <a:gd name="connsiteX6" fmla="*/ 533933 w 5882524"/>
              <a:gd name="connsiteY6" fmla="*/ 1070462 h 1070474"/>
              <a:gd name="connsiteX0" fmla="*/ 1109 w 5349700"/>
              <a:gd name="connsiteY0" fmla="*/ 1070462 h 1070462"/>
              <a:gd name="connsiteX1" fmla="*/ 0 w 5349700"/>
              <a:gd name="connsiteY1" fmla="*/ 987065 h 1070462"/>
              <a:gd name="connsiteX2" fmla="*/ 3032174 w 5349700"/>
              <a:gd name="connsiteY2" fmla="*/ 973518 h 1070462"/>
              <a:gd name="connsiteX3" fmla="*/ 3653901 w 5349700"/>
              <a:gd name="connsiteY3" fmla="*/ 0 h 1070462"/>
              <a:gd name="connsiteX4" fmla="*/ 5337964 w 5349700"/>
              <a:gd name="connsiteY4" fmla="*/ 0 h 1070462"/>
              <a:gd name="connsiteX5" fmla="*/ 5349437 w 5349700"/>
              <a:gd name="connsiteY5" fmla="*/ 1064112 h 1070462"/>
              <a:gd name="connsiteX6" fmla="*/ 1109 w 5349700"/>
              <a:gd name="connsiteY6" fmla="*/ 1070462 h 1070462"/>
              <a:gd name="connsiteX0" fmla="*/ 392406 w 5740997"/>
              <a:gd name="connsiteY0" fmla="*/ 1070462 h 1070462"/>
              <a:gd name="connsiteX1" fmla="*/ 403522 w 5740997"/>
              <a:gd name="connsiteY1" fmla="*/ 987065 h 1070462"/>
              <a:gd name="connsiteX2" fmla="*/ 3423471 w 5740997"/>
              <a:gd name="connsiteY2" fmla="*/ 973518 h 1070462"/>
              <a:gd name="connsiteX3" fmla="*/ 4045198 w 5740997"/>
              <a:gd name="connsiteY3" fmla="*/ 0 h 1070462"/>
              <a:gd name="connsiteX4" fmla="*/ 5729261 w 5740997"/>
              <a:gd name="connsiteY4" fmla="*/ 0 h 1070462"/>
              <a:gd name="connsiteX5" fmla="*/ 5740734 w 5740997"/>
              <a:gd name="connsiteY5" fmla="*/ 1064112 h 1070462"/>
              <a:gd name="connsiteX6" fmla="*/ 392406 w 5740997"/>
              <a:gd name="connsiteY6" fmla="*/ 1070462 h 1070462"/>
              <a:gd name="connsiteX0" fmla="*/ 392406 w 5740997"/>
              <a:gd name="connsiteY0" fmla="*/ 1070462 h 1070462"/>
              <a:gd name="connsiteX1" fmla="*/ 403522 w 5740997"/>
              <a:gd name="connsiteY1" fmla="*/ 987065 h 1070462"/>
              <a:gd name="connsiteX2" fmla="*/ 3423471 w 5740997"/>
              <a:gd name="connsiteY2" fmla="*/ 973518 h 1070462"/>
              <a:gd name="connsiteX3" fmla="*/ 4045198 w 5740997"/>
              <a:gd name="connsiteY3" fmla="*/ 0 h 1070462"/>
              <a:gd name="connsiteX4" fmla="*/ 5729261 w 5740997"/>
              <a:gd name="connsiteY4" fmla="*/ 0 h 1070462"/>
              <a:gd name="connsiteX5" fmla="*/ 5740734 w 5740997"/>
              <a:gd name="connsiteY5" fmla="*/ 1064112 h 1070462"/>
              <a:gd name="connsiteX6" fmla="*/ 392406 w 5740997"/>
              <a:gd name="connsiteY6" fmla="*/ 1070462 h 1070462"/>
              <a:gd name="connsiteX0" fmla="*/ 393660 w 5737361"/>
              <a:gd name="connsiteY0" fmla="*/ 1070462 h 1070462"/>
              <a:gd name="connsiteX1" fmla="*/ 399886 w 5737361"/>
              <a:gd name="connsiteY1" fmla="*/ 987065 h 1070462"/>
              <a:gd name="connsiteX2" fmla="*/ 3419835 w 5737361"/>
              <a:gd name="connsiteY2" fmla="*/ 973518 h 1070462"/>
              <a:gd name="connsiteX3" fmla="*/ 4041562 w 5737361"/>
              <a:gd name="connsiteY3" fmla="*/ 0 h 1070462"/>
              <a:gd name="connsiteX4" fmla="*/ 5725625 w 5737361"/>
              <a:gd name="connsiteY4" fmla="*/ 0 h 1070462"/>
              <a:gd name="connsiteX5" fmla="*/ 5737098 w 5737361"/>
              <a:gd name="connsiteY5" fmla="*/ 1064112 h 1070462"/>
              <a:gd name="connsiteX6" fmla="*/ 393660 w 5737361"/>
              <a:gd name="connsiteY6" fmla="*/ 1070462 h 1070462"/>
              <a:gd name="connsiteX0" fmla="*/ 0 w 5343701"/>
              <a:gd name="connsiteY0" fmla="*/ 1070462 h 1070462"/>
              <a:gd name="connsiteX1" fmla="*/ 6226 w 5343701"/>
              <a:gd name="connsiteY1" fmla="*/ 987065 h 1070462"/>
              <a:gd name="connsiteX2" fmla="*/ 3026175 w 5343701"/>
              <a:gd name="connsiteY2" fmla="*/ 973518 h 1070462"/>
              <a:gd name="connsiteX3" fmla="*/ 3647902 w 5343701"/>
              <a:gd name="connsiteY3" fmla="*/ 0 h 1070462"/>
              <a:gd name="connsiteX4" fmla="*/ 5331965 w 5343701"/>
              <a:gd name="connsiteY4" fmla="*/ 0 h 1070462"/>
              <a:gd name="connsiteX5" fmla="*/ 5343438 w 5343701"/>
              <a:gd name="connsiteY5" fmla="*/ 1064112 h 1070462"/>
              <a:gd name="connsiteX6" fmla="*/ 0 w 5343701"/>
              <a:gd name="connsiteY6" fmla="*/ 1070462 h 1070462"/>
              <a:gd name="connsiteX0" fmla="*/ 395463 w 5739164"/>
              <a:gd name="connsiteY0" fmla="*/ 1070462 h 1070462"/>
              <a:gd name="connsiteX1" fmla="*/ 396799 w 5739164"/>
              <a:gd name="connsiteY1" fmla="*/ 984620 h 1070462"/>
              <a:gd name="connsiteX2" fmla="*/ 3421638 w 5739164"/>
              <a:gd name="connsiteY2" fmla="*/ 973518 h 1070462"/>
              <a:gd name="connsiteX3" fmla="*/ 4043365 w 5739164"/>
              <a:gd name="connsiteY3" fmla="*/ 0 h 1070462"/>
              <a:gd name="connsiteX4" fmla="*/ 5727428 w 5739164"/>
              <a:gd name="connsiteY4" fmla="*/ 0 h 1070462"/>
              <a:gd name="connsiteX5" fmla="*/ 5738901 w 5739164"/>
              <a:gd name="connsiteY5" fmla="*/ 1064112 h 1070462"/>
              <a:gd name="connsiteX6" fmla="*/ 395463 w 5739164"/>
              <a:gd name="connsiteY6" fmla="*/ 1070462 h 1070462"/>
              <a:gd name="connsiteX0" fmla="*/ 395463 w 5739164"/>
              <a:gd name="connsiteY0" fmla="*/ 1070462 h 1070462"/>
              <a:gd name="connsiteX1" fmla="*/ 396799 w 5739164"/>
              <a:gd name="connsiteY1" fmla="*/ 987065 h 1070462"/>
              <a:gd name="connsiteX2" fmla="*/ 3421638 w 5739164"/>
              <a:gd name="connsiteY2" fmla="*/ 973518 h 1070462"/>
              <a:gd name="connsiteX3" fmla="*/ 4043365 w 5739164"/>
              <a:gd name="connsiteY3" fmla="*/ 0 h 1070462"/>
              <a:gd name="connsiteX4" fmla="*/ 5727428 w 5739164"/>
              <a:gd name="connsiteY4" fmla="*/ 0 h 1070462"/>
              <a:gd name="connsiteX5" fmla="*/ 5738901 w 5739164"/>
              <a:gd name="connsiteY5" fmla="*/ 1064112 h 1070462"/>
              <a:gd name="connsiteX6" fmla="*/ 395463 w 5739164"/>
              <a:gd name="connsiteY6" fmla="*/ 1070462 h 1070462"/>
              <a:gd name="connsiteX0" fmla="*/ 532222 w 5875923"/>
              <a:gd name="connsiteY0" fmla="*/ 1070462 h 1070462"/>
              <a:gd name="connsiteX1" fmla="*/ 533558 w 5875923"/>
              <a:gd name="connsiteY1" fmla="*/ 987065 h 1070462"/>
              <a:gd name="connsiteX2" fmla="*/ 3558397 w 5875923"/>
              <a:gd name="connsiteY2" fmla="*/ 973518 h 1070462"/>
              <a:gd name="connsiteX3" fmla="*/ 4180124 w 5875923"/>
              <a:gd name="connsiteY3" fmla="*/ 0 h 1070462"/>
              <a:gd name="connsiteX4" fmla="*/ 5864187 w 5875923"/>
              <a:gd name="connsiteY4" fmla="*/ 0 h 1070462"/>
              <a:gd name="connsiteX5" fmla="*/ 5875660 w 5875923"/>
              <a:gd name="connsiteY5" fmla="*/ 1064112 h 1070462"/>
              <a:gd name="connsiteX6" fmla="*/ 532222 w 5875923"/>
              <a:gd name="connsiteY6" fmla="*/ 1070462 h 1070462"/>
              <a:gd name="connsiteX0" fmla="*/ 0 w 5343701"/>
              <a:gd name="connsiteY0" fmla="*/ 1070462 h 1070462"/>
              <a:gd name="connsiteX1" fmla="*/ 1336 w 5343701"/>
              <a:gd name="connsiteY1" fmla="*/ 987065 h 1070462"/>
              <a:gd name="connsiteX2" fmla="*/ 3026175 w 5343701"/>
              <a:gd name="connsiteY2" fmla="*/ 973518 h 1070462"/>
              <a:gd name="connsiteX3" fmla="*/ 3647902 w 5343701"/>
              <a:gd name="connsiteY3" fmla="*/ 0 h 1070462"/>
              <a:gd name="connsiteX4" fmla="*/ 5331965 w 5343701"/>
              <a:gd name="connsiteY4" fmla="*/ 0 h 1070462"/>
              <a:gd name="connsiteX5" fmla="*/ 5343438 w 5343701"/>
              <a:gd name="connsiteY5" fmla="*/ 1064112 h 1070462"/>
              <a:gd name="connsiteX6" fmla="*/ 0 w 5343701"/>
              <a:gd name="connsiteY6" fmla="*/ 1070462 h 1070462"/>
              <a:gd name="connsiteX0" fmla="*/ 0 w 5344068"/>
              <a:gd name="connsiteY0" fmla="*/ 1070462 h 1070462"/>
              <a:gd name="connsiteX1" fmla="*/ 1336 w 5344068"/>
              <a:gd name="connsiteY1" fmla="*/ 987065 h 1070462"/>
              <a:gd name="connsiteX2" fmla="*/ 3026175 w 5344068"/>
              <a:gd name="connsiteY2" fmla="*/ 973518 h 1070462"/>
              <a:gd name="connsiteX3" fmla="*/ 3647902 w 5344068"/>
              <a:gd name="connsiteY3" fmla="*/ 0 h 1070462"/>
              <a:gd name="connsiteX4" fmla="*/ 5342445 w 5344068"/>
              <a:gd name="connsiteY4" fmla="*/ 0 h 1070462"/>
              <a:gd name="connsiteX5" fmla="*/ 5343438 w 5344068"/>
              <a:gd name="connsiteY5" fmla="*/ 1064112 h 1070462"/>
              <a:gd name="connsiteX6" fmla="*/ 0 w 5344068"/>
              <a:gd name="connsiteY6" fmla="*/ 1070462 h 1070462"/>
              <a:gd name="connsiteX0" fmla="*/ 395463 w 5739531"/>
              <a:gd name="connsiteY0" fmla="*/ 1070462 h 1070462"/>
              <a:gd name="connsiteX1" fmla="*/ 396799 w 5739531"/>
              <a:gd name="connsiteY1" fmla="*/ 983923 h 1070462"/>
              <a:gd name="connsiteX2" fmla="*/ 3421638 w 5739531"/>
              <a:gd name="connsiteY2" fmla="*/ 973518 h 1070462"/>
              <a:gd name="connsiteX3" fmla="*/ 4043365 w 5739531"/>
              <a:gd name="connsiteY3" fmla="*/ 0 h 1070462"/>
              <a:gd name="connsiteX4" fmla="*/ 5737908 w 5739531"/>
              <a:gd name="connsiteY4" fmla="*/ 0 h 1070462"/>
              <a:gd name="connsiteX5" fmla="*/ 5738901 w 5739531"/>
              <a:gd name="connsiteY5" fmla="*/ 1064112 h 1070462"/>
              <a:gd name="connsiteX6" fmla="*/ 395463 w 5739531"/>
              <a:gd name="connsiteY6" fmla="*/ 1070462 h 1070462"/>
              <a:gd name="connsiteX0" fmla="*/ 395463 w 5739531"/>
              <a:gd name="connsiteY0" fmla="*/ 1070462 h 1070462"/>
              <a:gd name="connsiteX1" fmla="*/ 396799 w 5739531"/>
              <a:gd name="connsiteY1" fmla="*/ 974496 h 1070462"/>
              <a:gd name="connsiteX2" fmla="*/ 3421638 w 5739531"/>
              <a:gd name="connsiteY2" fmla="*/ 973518 h 1070462"/>
              <a:gd name="connsiteX3" fmla="*/ 4043365 w 5739531"/>
              <a:gd name="connsiteY3" fmla="*/ 0 h 1070462"/>
              <a:gd name="connsiteX4" fmla="*/ 5737908 w 5739531"/>
              <a:gd name="connsiteY4" fmla="*/ 0 h 1070462"/>
              <a:gd name="connsiteX5" fmla="*/ 5738901 w 5739531"/>
              <a:gd name="connsiteY5" fmla="*/ 1064112 h 1070462"/>
              <a:gd name="connsiteX6" fmla="*/ 395463 w 5739531"/>
              <a:gd name="connsiteY6" fmla="*/ 1070462 h 1070462"/>
              <a:gd name="connsiteX0" fmla="*/ 0 w 5344068"/>
              <a:gd name="connsiteY0" fmla="*/ 1070462 h 1070462"/>
              <a:gd name="connsiteX1" fmla="*/ 1336 w 5344068"/>
              <a:gd name="connsiteY1" fmla="*/ 974496 h 1070462"/>
              <a:gd name="connsiteX2" fmla="*/ 3026175 w 5344068"/>
              <a:gd name="connsiteY2" fmla="*/ 973518 h 1070462"/>
              <a:gd name="connsiteX3" fmla="*/ 3647902 w 5344068"/>
              <a:gd name="connsiteY3" fmla="*/ 0 h 1070462"/>
              <a:gd name="connsiteX4" fmla="*/ 5342445 w 5344068"/>
              <a:gd name="connsiteY4" fmla="*/ 0 h 1070462"/>
              <a:gd name="connsiteX5" fmla="*/ 5343438 w 5344068"/>
              <a:gd name="connsiteY5" fmla="*/ 1064112 h 1070462"/>
              <a:gd name="connsiteX6" fmla="*/ 0 w 5344068"/>
              <a:gd name="connsiteY6" fmla="*/ 1070462 h 10704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344068" h="1070462">
                <a:moveTo>
                  <a:pt x="0" y="1070462"/>
                </a:moveTo>
                <a:cubicBezTo>
                  <a:pt x="445" y="1038473"/>
                  <a:pt x="891" y="1006485"/>
                  <a:pt x="1336" y="974496"/>
                </a:cubicBezTo>
                <a:lnTo>
                  <a:pt x="3026175" y="973518"/>
                </a:lnTo>
                <a:lnTo>
                  <a:pt x="3647902" y="0"/>
                </a:lnTo>
                <a:lnTo>
                  <a:pt x="5342445" y="0"/>
                </a:lnTo>
                <a:cubicBezTo>
                  <a:pt x="5339919" y="346237"/>
                  <a:pt x="5345964" y="717875"/>
                  <a:pt x="5343438" y="1064112"/>
                </a:cubicBezTo>
                <a:lnTo>
                  <a:pt x="0" y="1070462"/>
                </a:lnTo>
                <a:close/>
              </a:path>
            </a:pathLst>
          </a:custGeom>
          <a:solidFill>
            <a:schemeClr val="bg1"/>
          </a:solidFill>
          <a:ln w="19050">
            <a:noFill/>
          </a:ln>
        </p:spPr>
        <p:txBody>
          <a:bodyPr vert="horz" lIns="454941" tIns="37851" rIns="75702" bIns="72790" rtlCol="0" anchor="b">
            <a:noAutofit/>
          </a:bodyPr>
          <a:lstStyle>
            <a:lvl1pPr marL="0" indent="0">
              <a:buNone/>
              <a:defRPr lang="en-US" sz="1094" dirty="0">
                <a:solidFill>
                  <a:schemeClr val="bg1"/>
                </a:solidFill>
                <a:latin typeface="PTCRaleway" panose="020B0503030101060003" pitchFamily="34" charset="0"/>
              </a:defRPr>
            </a:lvl1pPr>
          </a:lstStyle>
          <a:p>
            <a:pPr lvl="0"/>
            <a:r>
              <a:rPr lang="en-US" dirty="0"/>
              <a:t> </a:t>
            </a:r>
          </a:p>
        </p:txBody>
      </p:sp>
      <p:sp>
        <p:nvSpPr>
          <p:cNvPr id="4" name="Title 3">
            <a:extLst>
              <a:ext uri="{FF2B5EF4-FFF2-40B4-BE49-F238E27FC236}">
                <a16:creationId xmlns:a16="http://schemas.microsoft.com/office/drawing/2014/main" id="{B7EBEE7B-E80B-4767-8B19-9478781C66BC}"/>
              </a:ext>
            </a:extLst>
          </p:cNvPr>
          <p:cNvSpPr>
            <a:spLocks noGrp="1"/>
          </p:cNvSpPr>
          <p:nvPr>
            <p:ph type="title" hasCustomPrompt="1"/>
          </p:nvPr>
        </p:nvSpPr>
        <p:spPr>
          <a:xfrm>
            <a:off x="6235700" y="690485"/>
            <a:ext cx="5486400" cy="369332"/>
          </a:xfrm>
        </p:spPr>
        <p:txBody>
          <a:bodyPr/>
          <a:lstStyle>
            <a:lvl1pPr>
              <a:defRPr sz="3000"/>
            </a:lvl1pPr>
          </a:lstStyle>
          <a:p>
            <a:r>
              <a:rPr lang="en-US" dirty="0"/>
              <a:t>add title – keep it brief</a:t>
            </a:r>
          </a:p>
        </p:txBody>
      </p:sp>
      <p:sp>
        <p:nvSpPr>
          <p:cNvPr id="19" name="Rectangle 18">
            <a:extLst>
              <a:ext uri="{FF2B5EF4-FFF2-40B4-BE49-F238E27FC236}">
                <a16:creationId xmlns:a16="http://schemas.microsoft.com/office/drawing/2014/main" id="{A65E310E-4680-4C73-838C-098522BD39DD}"/>
              </a:ext>
            </a:extLst>
          </p:cNvPr>
          <p:cNvSpPr/>
          <p:nvPr userDrawn="1"/>
        </p:nvSpPr>
        <p:spPr>
          <a:xfrm>
            <a:off x="6235700" y="389410"/>
            <a:ext cx="955563" cy="45719"/>
          </a:xfrm>
          <a:prstGeom prst="rect">
            <a:avLst/>
          </a:prstGeom>
          <a:solidFill>
            <a:srgbClr val="5AB73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p>
        </p:txBody>
      </p:sp>
      <p:grpSp>
        <p:nvGrpSpPr>
          <p:cNvPr id="102" name="Group 101">
            <a:extLst>
              <a:ext uri="{FF2B5EF4-FFF2-40B4-BE49-F238E27FC236}">
                <a16:creationId xmlns:a16="http://schemas.microsoft.com/office/drawing/2014/main" id="{96A1FBE7-9A49-4893-BE73-C040CC83491F}"/>
              </a:ext>
            </a:extLst>
          </p:cNvPr>
          <p:cNvGrpSpPr/>
          <p:nvPr userDrawn="1"/>
        </p:nvGrpSpPr>
        <p:grpSpPr>
          <a:xfrm flipH="1" flipV="1">
            <a:off x="5879755" y="2706256"/>
            <a:ext cx="152274" cy="3960685"/>
            <a:chOff x="5814441" y="100216"/>
            <a:chExt cx="152274" cy="3960685"/>
          </a:xfrm>
        </p:grpSpPr>
        <p:sp>
          <p:nvSpPr>
            <p:cNvPr id="61" name="Freeform: Shape 60">
              <a:extLst>
                <a:ext uri="{FF2B5EF4-FFF2-40B4-BE49-F238E27FC236}">
                  <a16:creationId xmlns:a16="http://schemas.microsoft.com/office/drawing/2014/main" id="{92D94A2C-76F2-4901-9BC7-CD95D5D65BCA}"/>
                </a:ext>
              </a:extLst>
            </p:cNvPr>
            <p:cNvSpPr/>
            <p:nvPr userDrawn="1"/>
          </p:nvSpPr>
          <p:spPr>
            <a:xfrm rot="5400000" flipH="1">
              <a:off x="4300442" y="1617453"/>
              <a:ext cx="3168650" cy="140652"/>
            </a:xfrm>
            <a:custGeom>
              <a:avLst/>
              <a:gdLst>
                <a:gd name="connsiteX0" fmla="*/ 0 w 3168650"/>
                <a:gd name="connsiteY0" fmla="*/ 140653 h 140652"/>
                <a:gd name="connsiteX1" fmla="*/ 143446 w 3168650"/>
                <a:gd name="connsiteY1" fmla="*/ 0 h 140652"/>
                <a:gd name="connsiteX2" fmla="*/ 3168650 w 3168650"/>
                <a:gd name="connsiteY2" fmla="*/ 0 h 140652"/>
              </a:gdLst>
              <a:ahLst/>
              <a:cxnLst>
                <a:cxn ang="0">
                  <a:pos x="connsiteX0" y="connsiteY0"/>
                </a:cxn>
                <a:cxn ang="0">
                  <a:pos x="connsiteX1" y="connsiteY1"/>
                </a:cxn>
                <a:cxn ang="0">
                  <a:pos x="connsiteX2" y="connsiteY2"/>
                </a:cxn>
              </a:cxnLst>
              <a:rect l="l" t="t" r="r" b="b"/>
              <a:pathLst>
                <a:path w="3168650" h="140652">
                  <a:moveTo>
                    <a:pt x="0" y="140653"/>
                  </a:moveTo>
                  <a:lnTo>
                    <a:pt x="143446" y="0"/>
                  </a:lnTo>
                  <a:lnTo>
                    <a:pt x="3168650" y="0"/>
                  </a:lnTo>
                </a:path>
              </a:pathLst>
            </a:custGeom>
            <a:noFill/>
            <a:ln w="3175" cap="flat">
              <a:solidFill>
                <a:schemeClr val="tx2"/>
              </a:solid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62" name="Freeform: Shape 61">
              <a:extLst>
                <a:ext uri="{FF2B5EF4-FFF2-40B4-BE49-F238E27FC236}">
                  <a16:creationId xmlns:a16="http://schemas.microsoft.com/office/drawing/2014/main" id="{4838DB7B-C890-45AE-BA34-E7001C6689B7}"/>
                </a:ext>
              </a:extLst>
            </p:cNvPr>
            <p:cNvSpPr/>
            <p:nvPr userDrawn="1"/>
          </p:nvSpPr>
          <p:spPr>
            <a:xfrm rot="5400000" flipH="1">
              <a:off x="5894038" y="42209"/>
              <a:ext cx="6350" cy="122364"/>
            </a:xfrm>
            <a:custGeom>
              <a:avLst/>
              <a:gdLst>
                <a:gd name="connsiteX0" fmla="*/ 0 w 6350"/>
                <a:gd name="connsiteY0" fmla="*/ 122364 h 122364"/>
                <a:gd name="connsiteX1" fmla="*/ 0 w 6350"/>
                <a:gd name="connsiteY1" fmla="*/ 0 h 122364"/>
              </a:gdLst>
              <a:ahLst/>
              <a:cxnLst>
                <a:cxn ang="0">
                  <a:pos x="connsiteX0" y="connsiteY0"/>
                </a:cxn>
                <a:cxn ang="0">
                  <a:pos x="connsiteX1" y="connsiteY1"/>
                </a:cxn>
              </a:cxnLst>
              <a:rect l="l" t="t" r="r" b="b"/>
              <a:pathLst>
                <a:path w="6350" h="122364">
                  <a:moveTo>
                    <a:pt x="0" y="122364"/>
                  </a:moveTo>
                  <a:lnTo>
                    <a:pt x="0" y="0"/>
                  </a:lnTo>
                </a:path>
              </a:pathLst>
            </a:custGeom>
            <a:ln w="19050" cap="flat">
              <a:solidFill>
                <a:srgbClr val="6FBE4A"/>
              </a:solid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63" name="Freeform: Shape 62">
              <a:extLst>
                <a:ext uri="{FF2B5EF4-FFF2-40B4-BE49-F238E27FC236}">
                  <a16:creationId xmlns:a16="http://schemas.microsoft.com/office/drawing/2014/main" id="{A1872235-911B-47B8-8050-8E592E13782F}"/>
                </a:ext>
              </a:extLst>
            </p:cNvPr>
            <p:cNvSpPr/>
            <p:nvPr userDrawn="1"/>
          </p:nvSpPr>
          <p:spPr>
            <a:xfrm rot="5400000" flipH="1">
              <a:off x="5839080" y="187847"/>
              <a:ext cx="43688" cy="43687"/>
            </a:xfrm>
            <a:custGeom>
              <a:avLst/>
              <a:gdLst>
                <a:gd name="connsiteX0" fmla="*/ 0 w 43688"/>
                <a:gd name="connsiteY0" fmla="*/ 0 h 43687"/>
                <a:gd name="connsiteX1" fmla="*/ 43688 w 43688"/>
                <a:gd name="connsiteY1" fmla="*/ 0 h 43687"/>
                <a:gd name="connsiteX2" fmla="*/ 43688 w 43688"/>
                <a:gd name="connsiteY2" fmla="*/ 43688 h 43687"/>
                <a:gd name="connsiteX3" fmla="*/ 0 w 43688"/>
                <a:gd name="connsiteY3" fmla="*/ 43688 h 43687"/>
              </a:gdLst>
              <a:ahLst/>
              <a:cxnLst>
                <a:cxn ang="0">
                  <a:pos x="connsiteX0" y="connsiteY0"/>
                </a:cxn>
                <a:cxn ang="0">
                  <a:pos x="connsiteX1" y="connsiteY1"/>
                </a:cxn>
                <a:cxn ang="0">
                  <a:pos x="connsiteX2" y="connsiteY2"/>
                </a:cxn>
                <a:cxn ang="0">
                  <a:pos x="connsiteX3" y="connsiteY3"/>
                </a:cxn>
              </a:cxnLst>
              <a:rect l="l" t="t" r="r" b="b"/>
              <a:pathLst>
                <a:path w="43688" h="43687">
                  <a:moveTo>
                    <a:pt x="0" y="0"/>
                  </a:moveTo>
                  <a:lnTo>
                    <a:pt x="43688" y="0"/>
                  </a:lnTo>
                  <a:lnTo>
                    <a:pt x="43688" y="43688"/>
                  </a:lnTo>
                  <a:lnTo>
                    <a:pt x="0" y="43688"/>
                  </a:lnTo>
                  <a:close/>
                </a:path>
              </a:pathLst>
            </a:custGeom>
            <a:noFill/>
            <a:ln w="3175" cap="flat">
              <a:solidFill>
                <a:srgbClr val="B3B3B3"/>
              </a:solid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64" name="Freeform: Shape 63">
              <a:extLst>
                <a:ext uri="{FF2B5EF4-FFF2-40B4-BE49-F238E27FC236}">
                  <a16:creationId xmlns:a16="http://schemas.microsoft.com/office/drawing/2014/main" id="{DF132B46-A4BE-4B5A-8EC2-40AF06B0B9F1}"/>
                </a:ext>
              </a:extLst>
            </p:cNvPr>
            <p:cNvSpPr/>
            <p:nvPr userDrawn="1"/>
          </p:nvSpPr>
          <p:spPr>
            <a:xfrm rot="5400000" flipH="1">
              <a:off x="5824887" y="232582"/>
              <a:ext cx="254063" cy="6350"/>
            </a:xfrm>
            <a:custGeom>
              <a:avLst/>
              <a:gdLst>
                <a:gd name="connsiteX0" fmla="*/ 0 w 254063"/>
                <a:gd name="connsiteY0" fmla="*/ 0 h 6350"/>
                <a:gd name="connsiteX1" fmla="*/ 254064 w 254063"/>
                <a:gd name="connsiteY1" fmla="*/ 0 h 6350"/>
              </a:gdLst>
              <a:ahLst/>
              <a:cxnLst>
                <a:cxn ang="0">
                  <a:pos x="connsiteX0" y="connsiteY0"/>
                </a:cxn>
                <a:cxn ang="0">
                  <a:pos x="connsiteX1" y="connsiteY1"/>
                </a:cxn>
              </a:cxnLst>
              <a:rect l="l" t="t" r="r" b="b"/>
              <a:pathLst>
                <a:path w="254063" h="6350">
                  <a:moveTo>
                    <a:pt x="0" y="0"/>
                  </a:moveTo>
                  <a:lnTo>
                    <a:pt x="254064" y="0"/>
                  </a:lnTo>
                </a:path>
              </a:pathLst>
            </a:custGeom>
            <a:ln w="19050" cap="flat">
              <a:solidFill>
                <a:srgbClr val="6FBE4A"/>
              </a:solid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grpSp>
          <p:nvGrpSpPr>
            <p:cNvPr id="65" name="Graphic 42">
              <a:extLst>
                <a:ext uri="{FF2B5EF4-FFF2-40B4-BE49-F238E27FC236}">
                  <a16:creationId xmlns:a16="http://schemas.microsoft.com/office/drawing/2014/main" id="{46262E16-46F5-4AA1-B76D-0A7704A23781}"/>
                </a:ext>
              </a:extLst>
            </p:cNvPr>
            <p:cNvGrpSpPr/>
            <p:nvPr userDrawn="1"/>
          </p:nvGrpSpPr>
          <p:grpSpPr>
            <a:xfrm rot="5400000" flipH="1">
              <a:off x="5485925" y="3580111"/>
              <a:ext cx="895032" cy="66548"/>
              <a:chOff x="7926578" y="441451"/>
              <a:chExt cx="895032" cy="66548"/>
            </a:xfrm>
            <a:solidFill>
              <a:srgbClr val="75BF43">
                <a:alpha val="57000"/>
              </a:srgbClr>
            </a:solidFill>
          </p:grpSpPr>
          <p:sp>
            <p:nvSpPr>
              <p:cNvPr id="82" name="Freeform: Shape 81">
                <a:extLst>
                  <a:ext uri="{FF2B5EF4-FFF2-40B4-BE49-F238E27FC236}">
                    <a16:creationId xmlns:a16="http://schemas.microsoft.com/office/drawing/2014/main" id="{8D267C4D-17F7-4C39-BBD4-3D66066F6FE0}"/>
                  </a:ext>
                </a:extLst>
              </p:cNvPr>
              <p:cNvSpPr/>
              <p:nvPr/>
            </p:nvSpPr>
            <p:spPr>
              <a:xfrm>
                <a:off x="8479726"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83" name="Freeform: Shape 82">
                <a:extLst>
                  <a:ext uri="{FF2B5EF4-FFF2-40B4-BE49-F238E27FC236}">
                    <a16:creationId xmlns:a16="http://schemas.microsoft.com/office/drawing/2014/main" id="{761D1A02-D2E1-4370-AF43-F76B14915843}"/>
                  </a:ext>
                </a:extLst>
              </p:cNvPr>
              <p:cNvSpPr/>
              <p:nvPr/>
            </p:nvSpPr>
            <p:spPr>
              <a:xfrm>
                <a:off x="8437181"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5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5"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84" name="Freeform: Shape 83">
                <a:extLst>
                  <a:ext uri="{FF2B5EF4-FFF2-40B4-BE49-F238E27FC236}">
                    <a16:creationId xmlns:a16="http://schemas.microsoft.com/office/drawing/2014/main" id="{B7FB1973-B26D-49BE-807B-94562EF98491}"/>
                  </a:ext>
                </a:extLst>
              </p:cNvPr>
              <p:cNvSpPr/>
              <p:nvPr/>
            </p:nvSpPr>
            <p:spPr>
              <a:xfrm>
                <a:off x="8394636" y="441451"/>
                <a:ext cx="89281" cy="66548"/>
              </a:xfrm>
              <a:custGeom>
                <a:avLst/>
                <a:gdLst>
                  <a:gd name="connsiteX0" fmla="*/ 68707 w 89281"/>
                  <a:gd name="connsiteY0" fmla="*/ 0 h 66548"/>
                  <a:gd name="connsiteX1" fmla="*/ 0 w 89281"/>
                  <a:gd name="connsiteY1" fmla="*/ 66548 h 66548"/>
                  <a:gd name="connsiteX2" fmla="*/ 20574 w 89281"/>
                  <a:gd name="connsiteY2" fmla="*/ 66548 h 66548"/>
                  <a:gd name="connsiteX3" fmla="*/ 89281 w 89281"/>
                  <a:gd name="connsiteY3" fmla="*/ 0 h 66548"/>
                </a:gdLst>
                <a:ahLst/>
                <a:cxnLst>
                  <a:cxn ang="0">
                    <a:pos x="connsiteX0" y="connsiteY0"/>
                  </a:cxn>
                  <a:cxn ang="0">
                    <a:pos x="connsiteX1" y="connsiteY1"/>
                  </a:cxn>
                  <a:cxn ang="0">
                    <a:pos x="connsiteX2" y="connsiteY2"/>
                  </a:cxn>
                  <a:cxn ang="0">
                    <a:pos x="connsiteX3" y="connsiteY3"/>
                  </a:cxn>
                </a:cxnLst>
                <a:rect l="l" t="t" r="r" b="b"/>
                <a:pathLst>
                  <a:path w="89281" h="66548">
                    <a:moveTo>
                      <a:pt x="68707" y="0"/>
                    </a:moveTo>
                    <a:lnTo>
                      <a:pt x="0" y="66548"/>
                    </a:lnTo>
                    <a:lnTo>
                      <a:pt x="20574" y="66548"/>
                    </a:lnTo>
                    <a:lnTo>
                      <a:pt x="89281"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85" name="Freeform: Shape 84">
                <a:extLst>
                  <a:ext uri="{FF2B5EF4-FFF2-40B4-BE49-F238E27FC236}">
                    <a16:creationId xmlns:a16="http://schemas.microsoft.com/office/drawing/2014/main" id="{28790BCE-1A2F-4455-9398-979CFA962EEB}"/>
                  </a:ext>
                </a:extLst>
              </p:cNvPr>
              <p:cNvSpPr/>
              <p:nvPr/>
            </p:nvSpPr>
            <p:spPr>
              <a:xfrm>
                <a:off x="8352091" y="441451"/>
                <a:ext cx="89280" cy="66548"/>
              </a:xfrm>
              <a:custGeom>
                <a:avLst/>
                <a:gdLst>
                  <a:gd name="connsiteX0" fmla="*/ 68707 w 89280"/>
                  <a:gd name="connsiteY0" fmla="*/ 0 h 66548"/>
                  <a:gd name="connsiteX1" fmla="*/ 0 w 89280"/>
                  <a:gd name="connsiteY1" fmla="*/ 66548 h 66548"/>
                  <a:gd name="connsiteX2" fmla="*/ 20574 w 89280"/>
                  <a:gd name="connsiteY2" fmla="*/ 66548 h 66548"/>
                  <a:gd name="connsiteX3" fmla="*/ 89281 w 89280"/>
                  <a:gd name="connsiteY3" fmla="*/ 0 h 66548"/>
                </a:gdLst>
                <a:ahLst/>
                <a:cxnLst>
                  <a:cxn ang="0">
                    <a:pos x="connsiteX0" y="connsiteY0"/>
                  </a:cxn>
                  <a:cxn ang="0">
                    <a:pos x="connsiteX1" y="connsiteY1"/>
                  </a:cxn>
                  <a:cxn ang="0">
                    <a:pos x="connsiteX2" y="connsiteY2"/>
                  </a:cxn>
                  <a:cxn ang="0">
                    <a:pos x="connsiteX3" y="connsiteY3"/>
                  </a:cxn>
                </a:cxnLst>
                <a:rect l="l" t="t" r="r" b="b"/>
                <a:pathLst>
                  <a:path w="89280" h="66548">
                    <a:moveTo>
                      <a:pt x="68707" y="0"/>
                    </a:moveTo>
                    <a:lnTo>
                      <a:pt x="0" y="66548"/>
                    </a:lnTo>
                    <a:lnTo>
                      <a:pt x="20574" y="66548"/>
                    </a:lnTo>
                    <a:lnTo>
                      <a:pt x="89281"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86" name="Freeform: Shape 85">
                <a:extLst>
                  <a:ext uri="{FF2B5EF4-FFF2-40B4-BE49-F238E27FC236}">
                    <a16:creationId xmlns:a16="http://schemas.microsoft.com/office/drawing/2014/main" id="{07CF01A5-76D0-443F-B853-B3E6ABD28894}"/>
                  </a:ext>
                </a:extLst>
              </p:cNvPr>
              <p:cNvSpPr/>
              <p:nvPr/>
            </p:nvSpPr>
            <p:spPr>
              <a:xfrm>
                <a:off x="8139303"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87" name="Freeform: Shape 86">
                <a:extLst>
                  <a:ext uri="{FF2B5EF4-FFF2-40B4-BE49-F238E27FC236}">
                    <a16:creationId xmlns:a16="http://schemas.microsoft.com/office/drawing/2014/main" id="{E2B9AF3D-585E-4458-82FF-6D6F42A2D8D3}"/>
                  </a:ext>
                </a:extLst>
              </p:cNvPr>
              <p:cNvSpPr/>
              <p:nvPr/>
            </p:nvSpPr>
            <p:spPr>
              <a:xfrm>
                <a:off x="8181847"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5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5"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88" name="Freeform: Shape 87">
                <a:extLst>
                  <a:ext uri="{FF2B5EF4-FFF2-40B4-BE49-F238E27FC236}">
                    <a16:creationId xmlns:a16="http://schemas.microsoft.com/office/drawing/2014/main" id="{F135D2F3-9B53-4DF3-84DD-20FEDAC316C4}"/>
                  </a:ext>
                </a:extLst>
              </p:cNvPr>
              <p:cNvSpPr/>
              <p:nvPr/>
            </p:nvSpPr>
            <p:spPr>
              <a:xfrm>
                <a:off x="8267001" y="441451"/>
                <a:ext cx="89280" cy="66548"/>
              </a:xfrm>
              <a:custGeom>
                <a:avLst/>
                <a:gdLst>
                  <a:gd name="connsiteX0" fmla="*/ 68643 w 89280"/>
                  <a:gd name="connsiteY0" fmla="*/ 0 h 66548"/>
                  <a:gd name="connsiteX1" fmla="*/ 0 w 89280"/>
                  <a:gd name="connsiteY1" fmla="*/ 66548 h 66548"/>
                  <a:gd name="connsiteX2" fmla="*/ 20574 w 89280"/>
                  <a:gd name="connsiteY2" fmla="*/ 66548 h 66548"/>
                  <a:gd name="connsiteX3" fmla="*/ 89281 w 89280"/>
                  <a:gd name="connsiteY3" fmla="*/ 0 h 66548"/>
                </a:gdLst>
                <a:ahLst/>
                <a:cxnLst>
                  <a:cxn ang="0">
                    <a:pos x="connsiteX0" y="connsiteY0"/>
                  </a:cxn>
                  <a:cxn ang="0">
                    <a:pos x="connsiteX1" y="connsiteY1"/>
                  </a:cxn>
                  <a:cxn ang="0">
                    <a:pos x="connsiteX2" y="connsiteY2"/>
                  </a:cxn>
                  <a:cxn ang="0">
                    <a:pos x="connsiteX3" y="connsiteY3"/>
                  </a:cxn>
                </a:cxnLst>
                <a:rect l="l" t="t" r="r" b="b"/>
                <a:pathLst>
                  <a:path w="89280" h="66548">
                    <a:moveTo>
                      <a:pt x="68643" y="0"/>
                    </a:moveTo>
                    <a:lnTo>
                      <a:pt x="0" y="66548"/>
                    </a:lnTo>
                    <a:lnTo>
                      <a:pt x="20574" y="66548"/>
                    </a:lnTo>
                    <a:lnTo>
                      <a:pt x="89281"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89" name="Freeform: Shape 88">
                <a:extLst>
                  <a:ext uri="{FF2B5EF4-FFF2-40B4-BE49-F238E27FC236}">
                    <a16:creationId xmlns:a16="http://schemas.microsoft.com/office/drawing/2014/main" id="{CC275E23-A864-4ADA-93D6-5EDEF8DE705D}"/>
                  </a:ext>
                </a:extLst>
              </p:cNvPr>
              <p:cNvSpPr/>
              <p:nvPr/>
            </p:nvSpPr>
            <p:spPr>
              <a:xfrm>
                <a:off x="8224393"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90" name="Freeform: Shape 89">
                <a:extLst>
                  <a:ext uri="{FF2B5EF4-FFF2-40B4-BE49-F238E27FC236}">
                    <a16:creationId xmlns:a16="http://schemas.microsoft.com/office/drawing/2014/main" id="{E6375D51-FE4B-4033-BD62-0DD5064071C1}"/>
                  </a:ext>
                </a:extLst>
              </p:cNvPr>
              <p:cNvSpPr/>
              <p:nvPr/>
            </p:nvSpPr>
            <p:spPr>
              <a:xfrm>
                <a:off x="8309546" y="441451"/>
                <a:ext cx="89281" cy="66548"/>
              </a:xfrm>
              <a:custGeom>
                <a:avLst/>
                <a:gdLst>
                  <a:gd name="connsiteX0" fmla="*/ 68644 w 89281"/>
                  <a:gd name="connsiteY0" fmla="*/ 0 h 66548"/>
                  <a:gd name="connsiteX1" fmla="*/ 0 w 89281"/>
                  <a:gd name="connsiteY1" fmla="*/ 66548 h 66548"/>
                  <a:gd name="connsiteX2" fmla="*/ 20574 w 89281"/>
                  <a:gd name="connsiteY2" fmla="*/ 66548 h 66548"/>
                  <a:gd name="connsiteX3" fmla="*/ 89281 w 89281"/>
                  <a:gd name="connsiteY3" fmla="*/ 0 h 66548"/>
                </a:gdLst>
                <a:ahLst/>
                <a:cxnLst>
                  <a:cxn ang="0">
                    <a:pos x="connsiteX0" y="connsiteY0"/>
                  </a:cxn>
                  <a:cxn ang="0">
                    <a:pos x="connsiteX1" y="connsiteY1"/>
                  </a:cxn>
                  <a:cxn ang="0">
                    <a:pos x="connsiteX2" y="connsiteY2"/>
                  </a:cxn>
                  <a:cxn ang="0">
                    <a:pos x="connsiteX3" y="connsiteY3"/>
                  </a:cxn>
                </a:cxnLst>
                <a:rect l="l" t="t" r="r" b="b"/>
                <a:pathLst>
                  <a:path w="89281" h="66548">
                    <a:moveTo>
                      <a:pt x="68644" y="0"/>
                    </a:moveTo>
                    <a:lnTo>
                      <a:pt x="0" y="66548"/>
                    </a:lnTo>
                    <a:lnTo>
                      <a:pt x="20574" y="66548"/>
                    </a:lnTo>
                    <a:lnTo>
                      <a:pt x="89281"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91" name="Freeform: Shape 90">
                <a:extLst>
                  <a:ext uri="{FF2B5EF4-FFF2-40B4-BE49-F238E27FC236}">
                    <a16:creationId xmlns:a16="http://schemas.microsoft.com/office/drawing/2014/main" id="{B6C6C0CD-A604-438E-8D88-066E333C2977}"/>
                  </a:ext>
                </a:extLst>
              </p:cNvPr>
              <p:cNvSpPr/>
              <p:nvPr/>
            </p:nvSpPr>
            <p:spPr>
              <a:xfrm>
                <a:off x="8522271"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5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5"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92" name="Freeform: Shape 91">
                <a:extLst>
                  <a:ext uri="{FF2B5EF4-FFF2-40B4-BE49-F238E27FC236}">
                    <a16:creationId xmlns:a16="http://schemas.microsoft.com/office/drawing/2014/main" id="{8D479109-6DB0-49C3-AB38-D55B446F8F86}"/>
                  </a:ext>
                </a:extLst>
              </p:cNvPr>
              <p:cNvSpPr/>
              <p:nvPr/>
            </p:nvSpPr>
            <p:spPr>
              <a:xfrm>
                <a:off x="8693975"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93" name="Freeform: Shape 92">
                <a:extLst>
                  <a:ext uri="{FF2B5EF4-FFF2-40B4-BE49-F238E27FC236}">
                    <a16:creationId xmlns:a16="http://schemas.microsoft.com/office/drawing/2014/main" id="{6E62C9AB-022D-489B-A496-77D465DD7ED0}"/>
                  </a:ext>
                </a:extLst>
              </p:cNvPr>
              <p:cNvSpPr/>
              <p:nvPr/>
            </p:nvSpPr>
            <p:spPr>
              <a:xfrm>
                <a:off x="8821610" y="508000"/>
                <a:ext cx="6350" cy="6350"/>
              </a:xfrm>
              <a:custGeom>
                <a:avLst/>
                <a:gdLst>
                  <a:gd name="connsiteX0" fmla="*/ 0 w 6350"/>
                  <a:gd name="connsiteY0" fmla="*/ 0 h 6350"/>
                  <a:gd name="connsiteX1" fmla="*/ 0 w 6350"/>
                  <a:gd name="connsiteY1" fmla="*/ 0 h 6350"/>
                  <a:gd name="connsiteX2" fmla="*/ 0 w 6350"/>
                  <a:gd name="connsiteY2" fmla="*/ 0 h 6350"/>
                </a:gdLst>
                <a:ahLst/>
                <a:cxnLst>
                  <a:cxn ang="0">
                    <a:pos x="connsiteX0" y="connsiteY0"/>
                  </a:cxn>
                  <a:cxn ang="0">
                    <a:pos x="connsiteX1" y="connsiteY1"/>
                  </a:cxn>
                  <a:cxn ang="0">
                    <a:pos x="connsiteX2" y="connsiteY2"/>
                  </a:cxn>
                </a:cxnLst>
                <a:rect l="l" t="t" r="r" b="b"/>
                <a:pathLst>
                  <a:path w="6350" h="6350">
                    <a:moveTo>
                      <a:pt x="0" y="0"/>
                    </a:moveTo>
                    <a:lnTo>
                      <a:pt x="0" y="0"/>
                    </a:lnTo>
                    <a:lnTo>
                      <a:pt x="0"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94" name="Freeform: Shape 93">
                <a:extLst>
                  <a:ext uri="{FF2B5EF4-FFF2-40B4-BE49-F238E27FC236}">
                    <a16:creationId xmlns:a16="http://schemas.microsoft.com/office/drawing/2014/main" id="{51DEDD2C-6313-4BBA-BF2C-B48404513035}"/>
                  </a:ext>
                </a:extLst>
              </p:cNvPr>
              <p:cNvSpPr/>
              <p:nvPr/>
            </p:nvSpPr>
            <p:spPr>
              <a:xfrm>
                <a:off x="8564816" y="441451"/>
                <a:ext cx="90868" cy="66548"/>
              </a:xfrm>
              <a:custGeom>
                <a:avLst/>
                <a:gdLst>
                  <a:gd name="connsiteX0" fmla="*/ 68707 w 90868"/>
                  <a:gd name="connsiteY0" fmla="*/ 0 h 66548"/>
                  <a:gd name="connsiteX1" fmla="*/ 0 w 90868"/>
                  <a:gd name="connsiteY1" fmla="*/ 66548 h 66548"/>
                  <a:gd name="connsiteX2" fmla="*/ 22161 w 90868"/>
                  <a:gd name="connsiteY2" fmla="*/ 66548 h 66548"/>
                  <a:gd name="connsiteX3" fmla="*/ 90868 w 90868"/>
                  <a:gd name="connsiteY3" fmla="*/ 0 h 66548"/>
                </a:gdLst>
                <a:ahLst/>
                <a:cxnLst>
                  <a:cxn ang="0">
                    <a:pos x="connsiteX0" y="connsiteY0"/>
                  </a:cxn>
                  <a:cxn ang="0">
                    <a:pos x="connsiteX1" y="connsiteY1"/>
                  </a:cxn>
                  <a:cxn ang="0">
                    <a:pos x="connsiteX2" y="connsiteY2"/>
                  </a:cxn>
                  <a:cxn ang="0">
                    <a:pos x="connsiteX3" y="connsiteY3"/>
                  </a:cxn>
                </a:cxnLst>
                <a:rect l="l" t="t" r="r" b="b"/>
                <a:pathLst>
                  <a:path w="90868" h="66548">
                    <a:moveTo>
                      <a:pt x="68707" y="0"/>
                    </a:moveTo>
                    <a:lnTo>
                      <a:pt x="0" y="66548"/>
                    </a:lnTo>
                    <a:lnTo>
                      <a:pt x="22161" y="66548"/>
                    </a:lnTo>
                    <a:lnTo>
                      <a:pt x="90868"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95" name="Freeform: Shape 94">
                <a:extLst>
                  <a:ext uri="{FF2B5EF4-FFF2-40B4-BE49-F238E27FC236}">
                    <a16:creationId xmlns:a16="http://schemas.microsoft.com/office/drawing/2014/main" id="{63547A99-99CF-40B0-AC54-A09C351E7EBD}"/>
                  </a:ext>
                </a:extLst>
              </p:cNvPr>
              <p:cNvSpPr/>
              <p:nvPr/>
            </p:nvSpPr>
            <p:spPr>
              <a:xfrm>
                <a:off x="8651430"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96" name="Freeform: Shape 95">
                <a:extLst>
                  <a:ext uri="{FF2B5EF4-FFF2-40B4-BE49-F238E27FC236}">
                    <a16:creationId xmlns:a16="http://schemas.microsoft.com/office/drawing/2014/main" id="{62E9619F-2DC2-45F2-9CE3-8D7A1DB7F9D6}"/>
                  </a:ext>
                </a:extLst>
              </p:cNvPr>
              <p:cNvSpPr/>
              <p:nvPr/>
            </p:nvSpPr>
            <p:spPr>
              <a:xfrm>
                <a:off x="8608885"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5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5"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97" name="Freeform: Shape 96">
                <a:extLst>
                  <a:ext uri="{FF2B5EF4-FFF2-40B4-BE49-F238E27FC236}">
                    <a16:creationId xmlns:a16="http://schemas.microsoft.com/office/drawing/2014/main" id="{445EA573-CE75-4E5A-BEDB-226A1D190A61}"/>
                  </a:ext>
                </a:extLst>
              </p:cNvPr>
              <p:cNvSpPr/>
              <p:nvPr/>
            </p:nvSpPr>
            <p:spPr>
              <a:xfrm>
                <a:off x="8096757"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5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5"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98" name="Freeform: Shape 97">
                <a:extLst>
                  <a:ext uri="{FF2B5EF4-FFF2-40B4-BE49-F238E27FC236}">
                    <a16:creationId xmlns:a16="http://schemas.microsoft.com/office/drawing/2014/main" id="{F8B37F39-FCE2-44C2-8BB7-DD3FF3CE5B27}"/>
                  </a:ext>
                </a:extLst>
              </p:cNvPr>
              <p:cNvSpPr/>
              <p:nvPr/>
            </p:nvSpPr>
            <p:spPr>
              <a:xfrm>
                <a:off x="8011668"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99" name="Freeform: Shape 98">
                <a:extLst>
                  <a:ext uri="{FF2B5EF4-FFF2-40B4-BE49-F238E27FC236}">
                    <a16:creationId xmlns:a16="http://schemas.microsoft.com/office/drawing/2014/main" id="{6BC8E02B-2403-4B3B-A133-633F63B8440D}"/>
                  </a:ext>
                </a:extLst>
              </p:cNvPr>
              <p:cNvSpPr/>
              <p:nvPr/>
            </p:nvSpPr>
            <p:spPr>
              <a:xfrm>
                <a:off x="8054213"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100" name="Freeform: Shape 99">
                <a:extLst>
                  <a:ext uri="{FF2B5EF4-FFF2-40B4-BE49-F238E27FC236}">
                    <a16:creationId xmlns:a16="http://schemas.microsoft.com/office/drawing/2014/main" id="{5E94E02B-5111-4986-B1CF-C6ECAD973AEC}"/>
                  </a:ext>
                </a:extLst>
              </p:cNvPr>
              <p:cNvSpPr/>
              <p:nvPr/>
            </p:nvSpPr>
            <p:spPr>
              <a:xfrm>
                <a:off x="7969122"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5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5"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101" name="Freeform: Shape 100">
                <a:extLst>
                  <a:ext uri="{FF2B5EF4-FFF2-40B4-BE49-F238E27FC236}">
                    <a16:creationId xmlns:a16="http://schemas.microsoft.com/office/drawing/2014/main" id="{85358E97-752A-4307-AD31-797C559E7A78}"/>
                  </a:ext>
                </a:extLst>
              </p:cNvPr>
              <p:cNvSpPr/>
              <p:nvPr/>
            </p:nvSpPr>
            <p:spPr>
              <a:xfrm>
                <a:off x="7926578"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grpSp>
        <p:grpSp>
          <p:nvGrpSpPr>
            <p:cNvPr id="66" name="Group 65">
              <a:extLst>
                <a:ext uri="{FF2B5EF4-FFF2-40B4-BE49-F238E27FC236}">
                  <a16:creationId xmlns:a16="http://schemas.microsoft.com/office/drawing/2014/main" id="{A548A88A-6E68-4D76-9B4D-430B1580BD5C}"/>
                </a:ext>
              </a:extLst>
            </p:cNvPr>
            <p:cNvGrpSpPr/>
            <p:nvPr userDrawn="1"/>
          </p:nvGrpSpPr>
          <p:grpSpPr>
            <a:xfrm rot="10800000">
              <a:off x="5862067" y="2566874"/>
              <a:ext cx="73151" cy="522033"/>
              <a:chOff x="5390750" y="3681616"/>
              <a:chExt cx="73151" cy="522033"/>
            </a:xfrm>
          </p:grpSpPr>
          <p:sp>
            <p:nvSpPr>
              <p:cNvPr id="75" name="Freeform: Shape 74">
                <a:extLst>
                  <a:ext uri="{FF2B5EF4-FFF2-40B4-BE49-F238E27FC236}">
                    <a16:creationId xmlns:a16="http://schemas.microsoft.com/office/drawing/2014/main" id="{47C3934B-FC7E-4798-9FC8-5815079C7AFD}"/>
                  </a:ext>
                </a:extLst>
              </p:cNvPr>
              <p:cNvSpPr/>
              <p:nvPr/>
            </p:nvSpPr>
            <p:spPr>
              <a:xfrm rot="16200000" flipH="1">
                <a:off x="5405100" y="3681616"/>
                <a:ext cx="43688" cy="43687"/>
              </a:xfrm>
              <a:custGeom>
                <a:avLst/>
                <a:gdLst>
                  <a:gd name="connsiteX0" fmla="*/ 0 w 43688"/>
                  <a:gd name="connsiteY0" fmla="*/ 0 h 43687"/>
                  <a:gd name="connsiteX1" fmla="*/ 43688 w 43688"/>
                  <a:gd name="connsiteY1" fmla="*/ 0 h 43687"/>
                  <a:gd name="connsiteX2" fmla="*/ 43688 w 43688"/>
                  <a:gd name="connsiteY2" fmla="*/ 43688 h 43687"/>
                  <a:gd name="connsiteX3" fmla="*/ 0 w 43688"/>
                  <a:gd name="connsiteY3" fmla="*/ 43688 h 43687"/>
                </a:gdLst>
                <a:ahLst/>
                <a:cxnLst>
                  <a:cxn ang="0">
                    <a:pos x="connsiteX0" y="connsiteY0"/>
                  </a:cxn>
                  <a:cxn ang="0">
                    <a:pos x="connsiteX1" y="connsiteY1"/>
                  </a:cxn>
                  <a:cxn ang="0">
                    <a:pos x="connsiteX2" y="connsiteY2"/>
                  </a:cxn>
                  <a:cxn ang="0">
                    <a:pos x="connsiteX3" y="connsiteY3"/>
                  </a:cxn>
                </a:cxnLst>
                <a:rect l="l" t="t" r="r" b="b"/>
                <a:pathLst>
                  <a:path w="43688" h="43687">
                    <a:moveTo>
                      <a:pt x="0" y="0"/>
                    </a:moveTo>
                    <a:lnTo>
                      <a:pt x="43688" y="0"/>
                    </a:lnTo>
                    <a:lnTo>
                      <a:pt x="43688" y="43688"/>
                    </a:lnTo>
                    <a:lnTo>
                      <a:pt x="0" y="43688"/>
                    </a:lnTo>
                    <a:close/>
                  </a:path>
                </a:pathLst>
              </a:custGeom>
              <a:noFill/>
              <a:ln w="3175" cap="flat">
                <a:solidFill>
                  <a:schemeClr val="bg1">
                    <a:lumMod val="50000"/>
                  </a:schemeClr>
                </a:solid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76" name="Freeform: Shape 75">
                <a:extLst>
                  <a:ext uri="{FF2B5EF4-FFF2-40B4-BE49-F238E27FC236}">
                    <a16:creationId xmlns:a16="http://schemas.microsoft.com/office/drawing/2014/main" id="{3EEEEC10-DB2A-437F-9301-EE9524E1169A}"/>
                  </a:ext>
                </a:extLst>
              </p:cNvPr>
              <p:cNvSpPr/>
              <p:nvPr/>
            </p:nvSpPr>
            <p:spPr>
              <a:xfrm rot="16200000" flipH="1">
                <a:off x="5426469" y="4081062"/>
                <a:ext cx="4381" cy="41656"/>
              </a:xfrm>
              <a:custGeom>
                <a:avLst/>
                <a:gdLst>
                  <a:gd name="connsiteX0" fmla="*/ 0 w 4381"/>
                  <a:gd name="connsiteY0" fmla="*/ 0 h 41656"/>
                  <a:gd name="connsiteX1" fmla="*/ 4381 w 4381"/>
                  <a:gd name="connsiteY1" fmla="*/ 0 h 41656"/>
                  <a:gd name="connsiteX2" fmla="*/ 4381 w 4381"/>
                  <a:gd name="connsiteY2" fmla="*/ 41656 h 41656"/>
                  <a:gd name="connsiteX3" fmla="*/ 0 w 4381"/>
                  <a:gd name="connsiteY3" fmla="*/ 41656 h 41656"/>
                </a:gdLst>
                <a:ahLst/>
                <a:cxnLst>
                  <a:cxn ang="0">
                    <a:pos x="connsiteX0" y="connsiteY0"/>
                  </a:cxn>
                  <a:cxn ang="0">
                    <a:pos x="connsiteX1" y="connsiteY1"/>
                  </a:cxn>
                  <a:cxn ang="0">
                    <a:pos x="connsiteX2" y="connsiteY2"/>
                  </a:cxn>
                  <a:cxn ang="0">
                    <a:pos x="connsiteX3" y="connsiteY3"/>
                  </a:cxn>
                </a:cxnLst>
                <a:rect l="l" t="t" r="r" b="b"/>
                <a:pathLst>
                  <a:path w="4381" h="41656">
                    <a:moveTo>
                      <a:pt x="0" y="0"/>
                    </a:moveTo>
                    <a:lnTo>
                      <a:pt x="4381" y="0"/>
                    </a:lnTo>
                    <a:lnTo>
                      <a:pt x="4381" y="41656"/>
                    </a:lnTo>
                    <a:lnTo>
                      <a:pt x="0" y="41656"/>
                    </a:lnTo>
                    <a:close/>
                  </a:path>
                </a:pathLst>
              </a:custGeom>
              <a:solidFill>
                <a:schemeClr val="bg1">
                  <a:lumMod val="50000"/>
                </a:schemeClr>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77" name="Freeform: Shape 76">
                <a:extLst>
                  <a:ext uri="{FF2B5EF4-FFF2-40B4-BE49-F238E27FC236}">
                    <a16:creationId xmlns:a16="http://schemas.microsoft.com/office/drawing/2014/main" id="{BD273B99-3244-412A-A286-CD68527AF4BF}"/>
                  </a:ext>
                </a:extLst>
              </p:cNvPr>
              <p:cNvSpPr/>
              <p:nvPr/>
            </p:nvSpPr>
            <p:spPr>
              <a:xfrm rot="16200000" flipH="1">
                <a:off x="5426469" y="4021394"/>
                <a:ext cx="4381" cy="41656"/>
              </a:xfrm>
              <a:custGeom>
                <a:avLst/>
                <a:gdLst>
                  <a:gd name="connsiteX0" fmla="*/ 0 w 4381"/>
                  <a:gd name="connsiteY0" fmla="*/ 0 h 41656"/>
                  <a:gd name="connsiteX1" fmla="*/ 4381 w 4381"/>
                  <a:gd name="connsiteY1" fmla="*/ 0 h 41656"/>
                  <a:gd name="connsiteX2" fmla="*/ 4381 w 4381"/>
                  <a:gd name="connsiteY2" fmla="*/ 41656 h 41656"/>
                  <a:gd name="connsiteX3" fmla="*/ 0 w 4381"/>
                  <a:gd name="connsiteY3" fmla="*/ 41656 h 41656"/>
                </a:gdLst>
                <a:ahLst/>
                <a:cxnLst>
                  <a:cxn ang="0">
                    <a:pos x="connsiteX0" y="connsiteY0"/>
                  </a:cxn>
                  <a:cxn ang="0">
                    <a:pos x="connsiteX1" y="connsiteY1"/>
                  </a:cxn>
                  <a:cxn ang="0">
                    <a:pos x="connsiteX2" y="connsiteY2"/>
                  </a:cxn>
                  <a:cxn ang="0">
                    <a:pos x="connsiteX3" y="connsiteY3"/>
                  </a:cxn>
                </a:cxnLst>
                <a:rect l="l" t="t" r="r" b="b"/>
                <a:pathLst>
                  <a:path w="4381" h="41656">
                    <a:moveTo>
                      <a:pt x="0" y="0"/>
                    </a:moveTo>
                    <a:lnTo>
                      <a:pt x="4381" y="0"/>
                    </a:lnTo>
                    <a:lnTo>
                      <a:pt x="4381" y="41656"/>
                    </a:lnTo>
                    <a:lnTo>
                      <a:pt x="0" y="41656"/>
                    </a:lnTo>
                    <a:close/>
                  </a:path>
                </a:pathLst>
              </a:custGeom>
              <a:solidFill>
                <a:schemeClr val="bg1">
                  <a:lumMod val="50000"/>
                </a:schemeClr>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78" name="Freeform: Shape 77">
                <a:extLst>
                  <a:ext uri="{FF2B5EF4-FFF2-40B4-BE49-F238E27FC236}">
                    <a16:creationId xmlns:a16="http://schemas.microsoft.com/office/drawing/2014/main" id="{962260D8-582A-41BA-B192-0F95A122BE14}"/>
                  </a:ext>
                </a:extLst>
              </p:cNvPr>
              <p:cNvSpPr/>
              <p:nvPr/>
            </p:nvSpPr>
            <p:spPr>
              <a:xfrm rot="16200000" flipH="1">
                <a:off x="5426469" y="3902056"/>
                <a:ext cx="4381" cy="41656"/>
              </a:xfrm>
              <a:custGeom>
                <a:avLst/>
                <a:gdLst>
                  <a:gd name="connsiteX0" fmla="*/ 0 w 4381"/>
                  <a:gd name="connsiteY0" fmla="*/ 0 h 41656"/>
                  <a:gd name="connsiteX1" fmla="*/ 4381 w 4381"/>
                  <a:gd name="connsiteY1" fmla="*/ 0 h 41656"/>
                  <a:gd name="connsiteX2" fmla="*/ 4381 w 4381"/>
                  <a:gd name="connsiteY2" fmla="*/ 41656 h 41656"/>
                  <a:gd name="connsiteX3" fmla="*/ 0 w 4381"/>
                  <a:gd name="connsiteY3" fmla="*/ 41656 h 41656"/>
                </a:gdLst>
                <a:ahLst/>
                <a:cxnLst>
                  <a:cxn ang="0">
                    <a:pos x="connsiteX0" y="connsiteY0"/>
                  </a:cxn>
                  <a:cxn ang="0">
                    <a:pos x="connsiteX1" y="connsiteY1"/>
                  </a:cxn>
                  <a:cxn ang="0">
                    <a:pos x="connsiteX2" y="connsiteY2"/>
                  </a:cxn>
                  <a:cxn ang="0">
                    <a:pos x="connsiteX3" y="connsiteY3"/>
                  </a:cxn>
                </a:cxnLst>
                <a:rect l="l" t="t" r="r" b="b"/>
                <a:pathLst>
                  <a:path w="4381" h="41656">
                    <a:moveTo>
                      <a:pt x="0" y="0"/>
                    </a:moveTo>
                    <a:lnTo>
                      <a:pt x="4381" y="0"/>
                    </a:lnTo>
                    <a:lnTo>
                      <a:pt x="4381" y="41656"/>
                    </a:lnTo>
                    <a:lnTo>
                      <a:pt x="0" y="41656"/>
                    </a:lnTo>
                    <a:close/>
                  </a:path>
                </a:pathLst>
              </a:custGeom>
              <a:solidFill>
                <a:schemeClr val="bg1">
                  <a:lumMod val="50000"/>
                </a:schemeClr>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79" name="Freeform: Shape 78">
                <a:extLst>
                  <a:ext uri="{FF2B5EF4-FFF2-40B4-BE49-F238E27FC236}">
                    <a16:creationId xmlns:a16="http://schemas.microsoft.com/office/drawing/2014/main" id="{51548AC6-032C-491B-AE9E-EC2BFBF35AF7}"/>
                  </a:ext>
                </a:extLst>
              </p:cNvPr>
              <p:cNvSpPr/>
              <p:nvPr/>
            </p:nvSpPr>
            <p:spPr>
              <a:xfrm rot="10800000" flipH="1">
                <a:off x="5407069" y="4165549"/>
                <a:ext cx="42418" cy="38100"/>
              </a:xfrm>
              <a:custGeom>
                <a:avLst/>
                <a:gdLst>
                  <a:gd name="connsiteX0" fmla="*/ 0 w 42418"/>
                  <a:gd name="connsiteY0" fmla="*/ 0 h 38100"/>
                  <a:gd name="connsiteX1" fmla="*/ 42418 w 42418"/>
                  <a:gd name="connsiteY1" fmla="*/ 0 h 38100"/>
                  <a:gd name="connsiteX2" fmla="*/ 42418 w 42418"/>
                  <a:gd name="connsiteY2" fmla="*/ 38100 h 38100"/>
                  <a:gd name="connsiteX3" fmla="*/ 0 w 42418"/>
                  <a:gd name="connsiteY3" fmla="*/ 38100 h 38100"/>
                </a:gdLst>
                <a:ahLst/>
                <a:cxnLst>
                  <a:cxn ang="0">
                    <a:pos x="connsiteX0" y="connsiteY0"/>
                  </a:cxn>
                  <a:cxn ang="0">
                    <a:pos x="connsiteX1" y="connsiteY1"/>
                  </a:cxn>
                  <a:cxn ang="0">
                    <a:pos x="connsiteX2" y="connsiteY2"/>
                  </a:cxn>
                  <a:cxn ang="0">
                    <a:pos x="connsiteX3" y="connsiteY3"/>
                  </a:cxn>
                </a:cxnLst>
                <a:rect l="l" t="t" r="r" b="b"/>
                <a:pathLst>
                  <a:path w="42418" h="38100">
                    <a:moveTo>
                      <a:pt x="0" y="0"/>
                    </a:moveTo>
                    <a:lnTo>
                      <a:pt x="42418" y="0"/>
                    </a:lnTo>
                    <a:lnTo>
                      <a:pt x="42418" y="38100"/>
                    </a:lnTo>
                    <a:lnTo>
                      <a:pt x="0" y="38100"/>
                    </a:lnTo>
                    <a:close/>
                  </a:path>
                </a:pathLst>
              </a:custGeom>
              <a:solidFill>
                <a:schemeClr val="bg1">
                  <a:lumMod val="50000"/>
                </a:schemeClr>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80" name="Freeform: Shape 79">
                <a:extLst>
                  <a:ext uri="{FF2B5EF4-FFF2-40B4-BE49-F238E27FC236}">
                    <a16:creationId xmlns:a16="http://schemas.microsoft.com/office/drawing/2014/main" id="{CD562180-9EE5-4589-897E-1D6821097E15}"/>
                  </a:ext>
                </a:extLst>
              </p:cNvPr>
              <p:cNvSpPr/>
              <p:nvPr/>
            </p:nvSpPr>
            <p:spPr>
              <a:xfrm rot="16200000" flipH="1">
                <a:off x="5407387" y="3776295"/>
                <a:ext cx="39878" cy="73151"/>
              </a:xfrm>
              <a:custGeom>
                <a:avLst/>
                <a:gdLst>
                  <a:gd name="connsiteX0" fmla="*/ 39878 w 39878"/>
                  <a:gd name="connsiteY0" fmla="*/ 38671 h 73151"/>
                  <a:gd name="connsiteX1" fmla="*/ 2413 w 39878"/>
                  <a:gd name="connsiteY1" fmla="*/ 73152 h 73151"/>
                  <a:gd name="connsiteX2" fmla="*/ 0 w 39878"/>
                  <a:gd name="connsiteY2" fmla="*/ 69913 h 73151"/>
                  <a:gd name="connsiteX3" fmla="*/ 36131 w 39878"/>
                  <a:gd name="connsiteY3" fmla="*/ 36576 h 73151"/>
                  <a:gd name="connsiteX4" fmla="*/ 0 w 39878"/>
                  <a:gd name="connsiteY4" fmla="*/ 3238 h 73151"/>
                  <a:gd name="connsiteX5" fmla="*/ 2413 w 39878"/>
                  <a:gd name="connsiteY5" fmla="*/ 0 h 73151"/>
                  <a:gd name="connsiteX6" fmla="*/ 39878 w 39878"/>
                  <a:gd name="connsiteY6" fmla="*/ 34481 h 73151"/>
                  <a:gd name="connsiteX7" fmla="*/ 39878 w 39878"/>
                  <a:gd name="connsiteY7" fmla="*/ 38671 h 731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878" h="73151">
                    <a:moveTo>
                      <a:pt x="39878" y="38671"/>
                    </a:moveTo>
                    <a:lnTo>
                      <a:pt x="2413" y="73152"/>
                    </a:lnTo>
                    <a:lnTo>
                      <a:pt x="0" y="69913"/>
                    </a:lnTo>
                    <a:lnTo>
                      <a:pt x="36131" y="36576"/>
                    </a:lnTo>
                    <a:lnTo>
                      <a:pt x="0" y="3238"/>
                    </a:lnTo>
                    <a:lnTo>
                      <a:pt x="2413" y="0"/>
                    </a:lnTo>
                    <a:lnTo>
                      <a:pt x="39878" y="34481"/>
                    </a:lnTo>
                    <a:lnTo>
                      <a:pt x="39878" y="38671"/>
                    </a:lnTo>
                    <a:close/>
                  </a:path>
                </a:pathLst>
              </a:custGeom>
              <a:solidFill>
                <a:schemeClr val="bg1">
                  <a:lumMod val="50000"/>
                </a:schemeClr>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81" name="Freeform: Shape 80">
                <a:extLst>
                  <a:ext uri="{FF2B5EF4-FFF2-40B4-BE49-F238E27FC236}">
                    <a16:creationId xmlns:a16="http://schemas.microsoft.com/office/drawing/2014/main" id="{E1BCD94F-7B45-4C14-A6E5-ED070F82587D}"/>
                  </a:ext>
                </a:extLst>
              </p:cNvPr>
              <p:cNvSpPr/>
              <p:nvPr/>
            </p:nvSpPr>
            <p:spPr>
              <a:xfrm rot="16200000" flipH="1">
                <a:off x="5426469" y="3961725"/>
                <a:ext cx="4381" cy="41656"/>
              </a:xfrm>
              <a:custGeom>
                <a:avLst/>
                <a:gdLst>
                  <a:gd name="connsiteX0" fmla="*/ 0 w 4381"/>
                  <a:gd name="connsiteY0" fmla="*/ 0 h 41656"/>
                  <a:gd name="connsiteX1" fmla="*/ 4381 w 4381"/>
                  <a:gd name="connsiteY1" fmla="*/ 0 h 41656"/>
                  <a:gd name="connsiteX2" fmla="*/ 4381 w 4381"/>
                  <a:gd name="connsiteY2" fmla="*/ 41656 h 41656"/>
                  <a:gd name="connsiteX3" fmla="*/ 0 w 4381"/>
                  <a:gd name="connsiteY3" fmla="*/ 41656 h 41656"/>
                </a:gdLst>
                <a:ahLst/>
                <a:cxnLst>
                  <a:cxn ang="0">
                    <a:pos x="connsiteX0" y="connsiteY0"/>
                  </a:cxn>
                  <a:cxn ang="0">
                    <a:pos x="connsiteX1" y="connsiteY1"/>
                  </a:cxn>
                  <a:cxn ang="0">
                    <a:pos x="connsiteX2" y="connsiteY2"/>
                  </a:cxn>
                  <a:cxn ang="0">
                    <a:pos x="connsiteX3" y="connsiteY3"/>
                  </a:cxn>
                </a:cxnLst>
                <a:rect l="l" t="t" r="r" b="b"/>
                <a:pathLst>
                  <a:path w="4381" h="41656">
                    <a:moveTo>
                      <a:pt x="0" y="0"/>
                    </a:moveTo>
                    <a:lnTo>
                      <a:pt x="4381" y="0"/>
                    </a:lnTo>
                    <a:lnTo>
                      <a:pt x="4381" y="41656"/>
                    </a:lnTo>
                    <a:lnTo>
                      <a:pt x="0" y="41656"/>
                    </a:lnTo>
                    <a:close/>
                  </a:path>
                </a:pathLst>
              </a:custGeom>
              <a:solidFill>
                <a:schemeClr val="bg1">
                  <a:lumMod val="50000"/>
                </a:schemeClr>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grpSp>
      </p:grpSp>
      <p:sp>
        <p:nvSpPr>
          <p:cNvPr id="104" name="Text Placeholder 103">
            <a:extLst>
              <a:ext uri="{FF2B5EF4-FFF2-40B4-BE49-F238E27FC236}">
                <a16:creationId xmlns:a16="http://schemas.microsoft.com/office/drawing/2014/main" id="{3F92D13C-3F81-42E4-AB3C-F61BBBD79BBD}"/>
              </a:ext>
            </a:extLst>
          </p:cNvPr>
          <p:cNvSpPr>
            <a:spLocks noGrp="1"/>
          </p:cNvSpPr>
          <p:nvPr userDrawn="1">
            <p:ph type="body" sz="quarter" idx="26" hasCustomPrompt="1"/>
          </p:nvPr>
        </p:nvSpPr>
        <p:spPr>
          <a:xfrm>
            <a:off x="306495" y="4725035"/>
            <a:ext cx="2967229" cy="1035050"/>
          </a:xfrm>
        </p:spPr>
        <p:txBody>
          <a:bodyPr anchor="ctr" anchorCtr="0"/>
          <a:lstStyle>
            <a:lvl1pPr marL="0" indent="0" algn="l">
              <a:spcBef>
                <a:spcPts val="0"/>
              </a:spcBef>
              <a:buFontTx/>
              <a:buNone/>
              <a:defRPr>
                <a:solidFill>
                  <a:schemeClr val="bg1"/>
                </a:solidFill>
              </a:defRPr>
            </a:lvl1pPr>
            <a:lvl2pPr marL="414337" indent="0">
              <a:buFontTx/>
              <a:buNone/>
              <a:defRPr>
                <a:solidFill>
                  <a:schemeClr val="bg1"/>
                </a:solidFill>
              </a:defRPr>
            </a:lvl2pPr>
            <a:lvl3pPr marL="762000" indent="0">
              <a:buFontTx/>
              <a:buNone/>
              <a:defRPr>
                <a:solidFill>
                  <a:schemeClr val="bg1"/>
                </a:solidFill>
              </a:defRPr>
            </a:lvl3pPr>
            <a:lvl4pPr marL="1101725" indent="0">
              <a:buFontTx/>
              <a:buNone/>
              <a:defRPr>
                <a:solidFill>
                  <a:schemeClr val="bg1"/>
                </a:solidFill>
              </a:defRPr>
            </a:lvl4pPr>
            <a:lvl5pPr marL="1417637" indent="0">
              <a:buFontTx/>
              <a:buNone/>
              <a:defRPr>
                <a:solidFill>
                  <a:schemeClr val="bg1"/>
                </a:solidFill>
              </a:defRPr>
            </a:lvl5pPr>
          </a:lstStyle>
          <a:p>
            <a:pPr lvl="0"/>
            <a:r>
              <a:rPr lang="en-US" dirty="0"/>
              <a:t>Case Study 2</a:t>
            </a:r>
          </a:p>
        </p:txBody>
      </p:sp>
      <p:sp>
        <p:nvSpPr>
          <p:cNvPr id="21" name="Text Placeholder 20">
            <a:extLst>
              <a:ext uri="{FF2B5EF4-FFF2-40B4-BE49-F238E27FC236}">
                <a16:creationId xmlns:a16="http://schemas.microsoft.com/office/drawing/2014/main" id="{A8E0F22E-03D5-4502-8E42-6A2026C39BC5}"/>
              </a:ext>
            </a:extLst>
          </p:cNvPr>
          <p:cNvSpPr>
            <a:spLocks noGrp="1"/>
          </p:cNvSpPr>
          <p:nvPr userDrawn="1">
            <p:ph type="body" sz="quarter" idx="27" hasCustomPrompt="1"/>
          </p:nvPr>
        </p:nvSpPr>
        <p:spPr>
          <a:xfrm>
            <a:off x="3671009" y="5036185"/>
            <a:ext cx="1472491" cy="723900"/>
          </a:xfrm>
        </p:spPr>
        <p:txBody>
          <a:bodyPr anchor="ctr" anchorCtr="0"/>
          <a:lstStyle>
            <a:lvl1pPr marL="0" indent="0" algn="ctr">
              <a:buFontTx/>
              <a:buNone/>
              <a:defRPr sz="1400">
                <a:solidFill>
                  <a:schemeClr val="tx1"/>
                </a:solidFill>
              </a:defRPr>
            </a:lvl1pPr>
          </a:lstStyle>
          <a:p>
            <a:pPr lvl="0"/>
            <a:r>
              <a:rPr lang="en-US" dirty="0"/>
              <a:t>Paste logo</a:t>
            </a:r>
          </a:p>
        </p:txBody>
      </p:sp>
      <p:sp>
        <p:nvSpPr>
          <p:cNvPr id="5" name="Text Placeholder 4">
            <a:extLst>
              <a:ext uri="{FF2B5EF4-FFF2-40B4-BE49-F238E27FC236}">
                <a16:creationId xmlns:a16="http://schemas.microsoft.com/office/drawing/2014/main" id="{4AF8F5CE-15BE-4435-9208-3EFF81A3836F}"/>
              </a:ext>
            </a:extLst>
          </p:cNvPr>
          <p:cNvSpPr>
            <a:spLocks noGrp="1"/>
          </p:cNvSpPr>
          <p:nvPr>
            <p:ph type="body" sz="quarter" idx="28"/>
          </p:nvPr>
        </p:nvSpPr>
        <p:spPr>
          <a:xfrm>
            <a:off x="6261100" y="1485898"/>
            <a:ext cx="5486400" cy="4982692"/>
          </a:xfrm>
        </p:spPr>
        <p:txBody>
          <a:bodyPr vert="horz" lIns="0" tIns="0" rIns="0" bIns="0" rtlCol="0">
            <a:noAutofit/>
          </a:bodyPr>
          <a:lstStyle>
            <a:lvl1pPr>
              <a:defRPr lang="en-US" dirty="0"/>
            </a:lvl1pPr>
            <a:lvl2pPr>
              <a:defRPr/>
            </a:lvl2pPr>
            <a:lvl3pPr>
              <a:defRPr/>
            </a:lvl3pPr>
          </a:lstStyle>
          <a:p>
            <a:pPr lvl="0"/>
            <a:r>
              <a:rPr lang="en-US"/>
              <a:t>Click to edit Master text styles</a:t>
            </a:r>
          </a:p>
        </p:txBody>
      </p:sp>
      <p:sp>
        <p:nvSpPr>
          <p:cNvPr id="106" name="Freeform: Shape 105">
            <a:extLst>
              <a:ext uri="{FF2B5EF4-FFF2-40B4-BE49-F238E27FC236}">
                <a16:creationId xmlns:a16="http://schemas.microsoft.com/office/drawing/2014/main" id="{12BF1681-5E87-48F4-BB8F-930B0A275A4C}"/>
              </a:ext>
            </a:extLst>
          </p:cNvPr>
          <p:cNvSpPr/>
          <p:nvPr userDrawn="1"/>
        </p:nvSpPr>
        <p:spPr>
          <a:xfrm>
            <a:off x="10586568" y="2762"/>
            <a:ext cx="702181" cy="675861"/>
          </a:xfrm>
          <a:custGeom>
            <a:avLst/>
            <a:gdLst>
              <a:gd name="connsiteX0" fmla="*/ 219875 w 702181"/>
              <a:gd name="connsiteY0" fmla="*/ 0 h 675861"/>
              <a:gd name="connsiteX1" fmla="*/ 570965 w 702181"/>
              <a:gd name="connsiteY1" fmla="*/ 0 h 675861"/>
              <a:gd name="connsiteX2" fmla="*/ 702181 w 702181"/>
              <a:gd name="connsiteY2" fmla="*/ 183874 h 675861"/>
              <a:gd name="connsiteX3" fmla="*/ 351091 w 702181"/>
              <a:gd name="connsiteY3" fmla="*/ 675861 h 675861"/>
              <a:gd name="connsiteX4" fmla="*/ 0 w 702181"/>
              <a:gd name="connsiteY4" fmla="*/ 675861 h 675861"/>
              <a:gd name="connsiteX5" fmla="*/ 351091 w 702181"/>
              <a:gd name="connsiteY5" fmla="*/ 183874 h 675861"/>
              <a:gd name="connsiteX6" fmla="*/ 219875 w 702181"/>
              <a:gd name="connsiteY6" fmla="*/ 0 h 6758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02181" h="675861">
                <a:moveTo>
                  <a:pt x="219875" y="0"/>
                </a:moveTo>
                <a:lnTo>
                  <a:pt x="570965" y="0"/>
                </a:lnTo>
                <a:lnTo>
                  <a:pt x="702181" y="183874"/>
                </a:lnTo>
                <a:lnTo>
                  <a:pt x="351091" y="675861"/>
                </a:lnTo>
                <a:lnTo>
                  <a:pt x="0" y="675861"/>
                </a:lnTo>
                <a:lnTo>
                  <a:pt x="351091" y="183874"/>
                </a:lnTo>
                <a:lnTo>
                  <a:pt x="219875" y="0"/>
                </a:lnTo>
                <a:close/>
              </a:path>
            </a:pathLst>
          </a:custGeom>
          <a:solidFill>
            <a:srgbClr val="C8C9C7">
              <a:alpha val="14000"/>
            </a:srgbClr>
          </a:solid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90000"/>
              </a:lnSpc>
              <a:spcBef>
                <a:spcPts val="80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PTCRaleway"/>
              <a:ea typeface="+mn-ea"/>
              <a:cs typeface="+mn-cs"/>
            </a:endParaRPr>
          </a:p>
        </p:txBody>
      </p:sp>
      <p:sp>
        <p:nvSpPr>
          <p:cNvPr id="107" name="Freeform: Shape 106">
            <a:extLst>
              <a:ext uri="{FF2B5EF4-FFF2-40B4-BE49-F238E27FC236}">
                <a16:creationId xmlns:a16="http://schemas.microsoft.com/office/drawing/2014/main" id="{674CC12C-C60C-4438-8830-61A7F083129B}"/>
              </a:ext>
            </a:extLst>
          </p:cNvPr>
          <p:cNvSpPr/>
          <p:nvPr userDrawn="1"/>
        </p:nvSpPr>
        <p:spPr>
          <a:xfrm>
            <a:off x="11072375" y="2762"/>
            <a:ext cx="702181" cy="675861"/>
          </a:xfrm>
          <a:custGeom>
            <a:avLst/>
            <a:gdLst>
              <a:gd name="connsiteX0" fmla="*/ 219875 w 702181"/>
              <a:gd name="connsiteY0" fmla="*/ 0 h 675861"/>
              <a:gd name="connsiteX1" fmla="*/ 570965 w 702181"/>
              <a:gd name="connsiteY1" fmla="*/ 0 h 675861"/>
              <a:gd name="connsiteX2" fmla="*/ 702181 w 702181"/>
              <a:gd name="connsiteY2" fmla="*/ 183874 h 675861"/>
              <a:gd name="connsiteX3" fmla="*/ 351091 w 702181"/>
              <a:gd name="connsiteY3" fmla="*/ 675861 h 675861"/>
              <a:gd name="connsiteX4" fmla="*/ 0 w 702181"/>
              <a:gd name="connsiteY4" fmla="*/ 675861 h 675861"/>
              <a:gd name="connsiteX5" fmla="*/ 351091 w 702181"/>
              <a:gd name="connsiteY5" fmla="*/ 183874 h 675861"/>
              <a:gd name="connsiteX6" fmla="*/ 219875 w 702181"/>
              <a:gd name="connsiteY6" fmla="*/ 0 h 6758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02181" h="675861">
                <a:moveTo>
                  <a:pt x="219875" y="0"/>
                </a:moveTo>
                <a:lnTo>
                  <a:pt x="570965" y="0"/>
                </a:lnTo>
                <a:lnTo>
                  <a:pt x="702181" y="183874"/>
                </a:lnTo>
                <a:lnTo>
                  <a:pt x="351091" y="675861"/>
                </a:lnTo>
                <a:lnTo>
                  <a:pt x="0" y="675861"/>
                </a:lnTo>
                <a:lnTo>
                  <a:pt x="351091" y="183874"/>
                </a:lnTo>
                <a:lnTo>
                  <a:pt x="219875" y="0"/>
                </a:lnTo>
                <a:close/>
              </a:path>
            </a:pathLst>
          </a:custGeom>
          <a:solidFill>
            <a:srgbClr val="C8C9C7">
              <a:alpha val="20000"/>
            </a:srgbClr>
          </a:solid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90000"/>
              </a:lnSpc>
              <a:spcBef>
                <a:spcPts val="80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PTCRaleway"/>
              <a:ea typeface="+mn-ea"/>
              <a:cs typeface="+mn-cs"/>
            </a:endParaRPr>
          </a:p>
        </p:txBody>
      </p:sp>
      <p:grpSp>
        <p:nvGrpSpPr>
          <p:cNvPr id="108" name="Group 107">
            <a:extLst>
              <a:ext uri="{FF2B5EF4-FFF2-40B4-BE49-F238E27FC236}">
                <a16:creationId xmlns:a16="http://schemas.microsoft.com/office/drawing/2014/main" id="{03EEE2BC-2B99-4632-A83A-DD89FA9D29E3}"/>
              </a:ext>
            </a:extLst>
          </p:cNvPr>
          <p:cNvGrpSpPr/>
          <p:nvPr userDrawn="1"/>
        </p:nvGrpSpPr>
        <p:grpSpPr>
          <a:xfrm>
            <a:off x="11042268" y="241617"/>
            <a:ext cx="932562" cy="679259"/>
            <a:chOff x="11042268" y="267017"/>
            <a:chExt cx="932562" cy="679259"/>
          </a:xfrm>
        </p:grpSpPr>
        <p:grpSp>
          <p:nvGrpSpPr>
            <p:cNvPr id="109" name="Graphic 42">
              <a:extLst>
                <a:ext uri="{FF2B5EF4-FFF2-40B4-BE49-F238E27FC236}">
                  <a16:creationId xmlns:a16="http://schemas.microsoft.com/office/drawing/2014/main" id="{E76A6C60-6E89-4365-A3C1-42F195574F4C}"/>
                </a:ext>
              </a:extLst>
            </p:cNvPr>
            <p:cNvGrpSpPr/>
            <p:nvPr/>
          </p:nvGrpSpPr>
          <p:grpSpPr>
            <a:xfrm flipV="1">
              <a:off x="11042268" y="267017"/>
              <a:ext cx="907034" cy="112903"/>
              <a:chOff x="10978768" y="6357873"/>
              <a:chExt cx="907034" cy="112903"/>
            </a:xfrm>
            <a:solidFill>
              <a:srgbClr val="B8B7B9"/>
            </a:solidFill>
          </p:grpSpPr>
          <p:sp>
            <p:nvSpPr>
              <p:cNvPr id="119" name="Freeform: Shape 118">
                <a:extLst>
                  <a:ext uri="{FF2B5EF4-FFF2-40B4-BE49-F238E27FC236}">
                    <a16:creationId xmlns:a16="http://schemas.microsoft.com/office/drawing/2014/main" id="{67C0CA8D-313C-4845-86EF-1047A8E2AC83}"/>
                  </a:ext>
                </a:extLst>
              </p:cNvPr>
              <p:cNvSpPr/>
              <p:nvPr/>
            </p:nvSpPr>
            <p:spPr>
              <a:xfrm>
                <a:off x="10978768" y="6393878"/>
                <a:ext cx="16447" cy="76898"/>
              </a:xfrm>
              <a:custGeom>
                <a:avLst/>
                <a:gdLst>
                  <a:gd name="connsiteX0" fmla="*/ 0 w 16447"/>
                  <a:gd name="connsiteY0" fmla="*/ 76899 h 76898"/>
                  <a:gd name="connsiteX1" fmla="*/ 0 w 16447"/>
                  <a:gd name="connsiteY1" fmla="*/ 0 h 76898"/>
                  <a:gd name="connsiteX2" fmla="*/ 16447 w 16447"/>
                  <a:gd name="connsiteY2" fmla="*/ 0 h 76898"/>
                  <a:gd name="connsiteX3" fmla="*/ 16447 w 16447"/>
                  <a:gd name="connsiteY3" fmla="*/ 76899 h 76898"/>
                  <a:gd name="connsiteX4" fmla="*/ 0 w 16447"/>
                  <a:gd name="connsiteY4" fmla="*/ 76899 h 768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447" h="76898">
                    <a:moveTo>
                      <a:pt x="0" y="76899"/>
                    </a:moveTo>
                    <a:lnTo>
                      <a:pt x="0" y="0"/>
                    </a:lnTo>
                    <a:lnTo>
                      <a:pt x="16447" y="0"/>
                    </a:lnTo>
                    <a:lnTo>
                      <a:pt x="16447" y="76899"/>
                    </a:lnTo>
                    <a:lnTo>
                      <a:pt x="0" y="76899"/>
                    </a:lnTo>
                    <a:close/>
                  </a:path>
                </a:pathLst>
              </a:custGeom>
              <a:solidFill>
                <a:srgbClr val="B8B7B9"/>
              </a:solidFill>
              <a:ln w="6350"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D4647"/>
                  </a:solidFill>
                  <a:effectLst/>
                  <a:uLnTx/>
                  <a:uFillTx/>
                </a:endParaRPr>
              </a:p>
            </p:txBody>
          </p:sp>
          <p:sp>
            <p:nvSpPr>
              <p:cNvPr id="120" name="Freeform: Shape 119">
                <a:extLst>
                  <a:ext uri="{FF2B5EF4-FFF2-40B4-BE49-F238E27FC236}">
                    <a16:creationId xmlns:a16="http://schemas.microsoft.com/office/drawing/2014/main" id="{AF64CE54-ED77-4075-ACED-CA3F5CE9FE6F}"/>
                  </a:ext>
                </a:extLst>
              </p:cNvPr>
              <p:cNvSpPr/>
              <p:nvPr/>
            </p:nvSpPr>
            <p:spPr>
              <a:xfrm>
                <a:off x="11041824" y="6393878"/>
                <a:ext cx="16446" cy="76898"/>
              </a:xfrm>
              <a:custGeom>
                <a:avLst/>
                <a:gdLst>
                  <a:gd name="connsiteX0" fmla="*/ 0 w 16446"/>
                  <a:gd name="connsiteY0" fmla="*/ 76899 h 76898"/>
                  <a:gd name="connsiteX1" fmla="*/ 0 w 16446"/>
                  <a:gd name="connsiteY1" fmla="*/ 0 h 76898"/>
                  <a:gd name="connsiteX2" fmla="*/ 16446 w 16446"/>
                  <a:gd name="connsiteY2" fmla="*/ 0 h 76898"/>
                  <a:gd name="connsiteX3" fmla="*/ 16446 w 16446"/>
                  <a:gd name="connsiteY3" fmla="*/ 76899 h 76898"/>
                  <a:gd name="connsiteX4" fmla="*/ 0 w 16446"/>
                  <a:gd name="connsiteY4" fmla="*/ 76899 h 768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446" h="76898">
                    <a:moveTo>
                      <a:pt x="0" y="76899"/>
                    </a:moveTo>
                    <a:lnTo>
                      <a:pt x="0" y="0"/>
                    </a:lnTo>
                    <a:lnTo>
                      <a:pt x="16446" y="0"/>
                    </a:lnTo>
                    <a:lnTo>
                      <a:pt x="16446" y="76899"/>
                    </a:lnTo>
                    <a:lnTo>
                      <a:pt x="0" y="76899"/>
                    </a:lnTo>
                    <a:close/>
                  </a:path>
                </a:pathLst>
              </a:custGeom>
              <a:solidFill>
                <a:srgbClr val="B8B7B9"/>
              </a:solidFill>
              <a:ln w="6350"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D4647"/>
                  </a:solidFill>
                  <a:effectLst/>
                  <a:uLnTx/>
                  <a:uFillTx/>
                </a:endParaRPr>
              </a:p>
            </p:txBody>
          </p:sp>
          <p:sp>
            <p:nvSpPr>
              <p:cNvPr id="121" name="Freeform: Shape 120">
                <a:extLst>
                  <a:ext uri="{FF2B5EF4-FFF2-40B4-BE49-F238E27FC236}">
                    <a16:creationId xmlns:a16="http://schemas.microsoft.com/office/drawing/2014/main" id="{6DA7B07E-0952-4FD7-9BDE-A2A769039CAE}"/>
                  </a:ext>
                </a:extLst>
              </p:cNvPr>
              <p:cNvSpPr/>
              <p:nvPr/>
            </p:nvSpPr>
            <p:spPr>
              <a:xfrm>
                <a:off x="11104880" y="6393878"/>
                <a:ext cx="16446" cy="76898"/>
              </a:xfrm>
              <a:custGeom>
                <a:avLst/>
                <a:gdLst>
                  <a:gd name="connsiteX0" fmla="*/ 0 w 16446"/>
                  <a:gd name="connsiteY0" fmla="*/ 76899 h 76898"/>
                  <a:gd name="connsiteX1" fmla="*/ 0 w 16446"/>
                  <a:gd name="connsiteY1" fmla="*/ 0 h 76898"/>
                  <a:gd name="connsiteX2" fmla="*/ 16446 w 16446"/>
                  <a:gd name="connsiteY2" fmla="*/ 0 h 76898"/>
                  <a:gd name="connsiteX3" fmla="*/ 16446 w 16446"/>
                  <a:gd name="connsiteY3" fmla="*/ 76899 h 76898"/>
                  <a:gd name="connsiteX4" fmla="*/ 0 w 16446"/>
                  <a:gd name="connsiteY4" fmla="*/ 76899 h 768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446" h="76898">
                    <a:moveTo>
                      <a:pt x="0" y="76899"/>
                    </a:moveTo>
                    <a:lnTo>
                      <a:pt x="0" y="0"/>
                    </a:lnTo>
                    <a:lnTo>
                      <a:pt x="16446" y="0"/>
                    </a:lnTo>
                    <a:lnTo>
                      <a:pt x="16446" y="76899"/>
                    </a:lnTo>
                    <a:lnTo>
                      <a:pt x="0" y="76899"/>
                    </a:lnTo>
                    <a:close/>
                  </a:path>
                </a:pathLst>
              </a:custGeom>
              <a:solidFill>
                <a:srgbClr val="B8B7B9"/>
              </a:solidFill>
              <a:ln w="6350"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D4647"/>
                  </a:solidFill>
                  <a:effectLst/>
                  <a:uLnTx/>
                  <a:uFillTx/>
                </a:endParaRPr>
              </a:p>
            </p:txBody>
          </p:sp>
          <p:sp>
            <p:nvSpPr>
              <p:cNvPr id="122" name="Freeform: Shape 121">
                <a:extLst>
                  <a:ext uri="{FF2B5EF4-FFF2-40B4-BE49-F238E27FC236}">
                    <a16:creationId xmlns:a16="http://schemas.microsoft.com/office/drawing/2014/main" id="{77097653-2DA5-4ACE-B2CC-9A42B4A8D3FD}"/>
                  </a:ext>
                </a:extLst>
              </p:cNvPr>
              <p:cNvSpPr/>
              <p:nvPr/>
            </p:nvSpPr>
            <p:spPr>
              <a:xfrm>
                <a:off x="11167998" y="6357873"/>
                <a:ext cx="16382" cy="112903"/>
              </a:xfrm>
              <a:custGeom>
                <a:avLst/>
                <a:gdLst>
                  <a:gd name="connsiteX0" fmla="*/ 0 w 16382"/>
                  <a:gd name="connsiteY0" fmla="*/ 112903 h 112903"/>
                  <a:gd name="connsiteX1" fmla="*/ 0 w 16382"/>
                  <a:gd name="connsiteY1" fmla="*/ 0 h 112903"/>
                  <a:gd name="connsiteX2" fmla="*/ 16383 w 16382"/>
                  <a:gd name="connsiteY2" fmla="*/ 0 h 112903"/>
                  <a:gd name="connsiteX3" fmla="*/ 16383 w 16382"/>
                  <a:gd name="connsiteY3" fmla="*/ 112903 h 112903"/>
                  <a:gd name="connsiteX4" fmla="*/ 0 w 16382"/>
                  <a:gd name="connsiteY4" fmla="*/ 112903 h 1129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382" h="112903">
                    <a:moveTo>
                      <a:pt x="0" y="112903"/>
                    </a:moveTo>
                    <a:lnTo>
                      <a:pt x="0" y="0"/>
                    </a:lnTo>
                    <a:lnTo>
                      <a:pt x="16383" y="0"/>
                    </a:lnTo>
                    <a:lnTo>
                      <a:pt x="16383" y="112903"/>
                    </a:lnTo>
                    <a:lnTo>
                      <a:pt x="0" y="112903"/>
                    </a:lnTo>
                    <a:close/>
                  </a:path>
                </a:pathLst>
              </a:custGeom>
              <a:solidFill>
                <a:srgbClr val="B8B7B9"/>
              </a:solidFill>
              <a:ln w="6350"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D4647"/>
                  </a:solidFill>
                  <a:effectLst/>
                  <a:uLnTx/>
                  <a:uFillTx/>
                </a:endParaRPr>
              </a:p>
            </p:txBody>
          </p:sp>
          <p:sp>
            <p:nvSpPr>
              <p:cNvPr id="123" name="Freeform: Shape 122">
                <a:extLst>
                  <a:ext uri="{FF2B5EF4-FFF2-40B4-BE49-F238E27FC236}">
                    <a16:creationId xmlns:a16="http://schemas.microsoft.com/office/drawing/2014/main" id="{0C49EC7A-9A79-4570-8318-E8BA608BB9F0}"/>
                  </a:ext>
                </a:extLst>
              </p:cNvPr>
              <p:cNvSpPr/>
              <p:nvPr/>
            </p:nvSpPr>
            <p:spPr>
              <a:xfrm>
                <a:off x="11233594" y="6393878"/>
                <a:ext cx="16447" cy="76898"/>
              </a:xfrm>
              <a:custGeom>
                <a:avLst/>
                <a:gdLst>
                  <a:gd name="connsiteX0" fmla="*/ 0 w 16447"/>
                  <a:gd name="connsiteY0" fmla="*/ 76899 h 76898"/>
                  <a:gd name="connsiteX1" fmla="*/ 0 w 16447"/>
                  <a:gd name="connsiteY1" fmla="*/ 0 h 76898"/>
                  <a:gd name="connsiteX2" fmla="*/ 16447 w 16447"/>
                  <a:gd name="connsiteY2" fmla="*/ 0 h 76898"/>
                  <a:gd name="connsiteX3" fmla="*/ 16447 w 16447"/>
                  <a:gd name="connsiteY3" fmla="*/ 76899 h 76898"/>
                  <a:gd name="connsiteX4" fmla="*/ 0 w 16447"/>
                  <a:gd name="connsiteY4" fmla="*/ 76899 h 768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447" h="76898">
                    <a:moveTo>
                      <a:pt x="0" y="76899"/>
                    </a:moveTo>
                    <a:lnTo>
                      <a:pt x="0" y="0"/>
                    </a:lnTo>
                    <a:lnTo>
                      <a:pt x="16447" y="0"/>
                    </a:lnTo>
                    <a:lnTo>
                      <a:pt x="16447" y="76899"/>
                    </a:lnTo>
                    <a:lnTo>
                      <a:pt x="0" y="76899"/>
                    </a:lnTo>
                    <a:close/>
                  </a:path>
                </a:pathLst>
              </a:custGeom>
              <a:solidFill>
                <a:srgbClr val="B8B7B9"/>
              </a:solidFill>
              <a:ln w="6350"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D4647"/>
                  </a:solidFill>
                  <a:effectLst/>
                  <a:uLnTx/>
                  <a:uFillTx/>
                </a:endParaRPr>
              </a:p>
            </p:txBody>
          </p:sp>
          <p:sp>
            <p:nvSpPr>
              <p:cNvPr id="124" name="Freeform: Shape 123">
                <a:extLst>
                  <a:ext uri="{FF2B5EF4-FFF2-40B4-BE49-F238E27FC236}">
                    <a16:creationId xmlns:a16="http://schemas.microsoft.com/office/drawing/2014/main" id="{5FB48482-AACF-4BC4-9288-09D9E7DF7984}"/>
                  </a:ext>
                </a:extLst>
              </p:cNvPr>
              <p:cNvSpPr/>
              <p:nvPr/>
            </p:nvSpPr>
            <p:spPr>
              <a:xfrm>
                <a:off x="11488419" y="6393878"/>
                <a:ext cx="16447" cy="76898"/>
              </a:xfrm>
              <a:custGeom>
                <a:avLst/>
                <a:gdLst>
                  <a:gd name="connsiteX0" fmla="*/ 0 w 16447"/>
                  <a:gd name="connsiteY0" fmla="*/ 76899 h 76898"/>
                  <a:gd name="connsiteX1" fmla="*/ 0 w 16447"/>
                  <a:gd name="connsiteY1" fmla="*/ 0 h 76898"/>
                  <a:gd name="connsiteX2" fmla="*/ 16447 w 16447"/>
                  <a:gd name="connsiteY2" fmla="*/ 0 h 76898"/>
                  <a:gd name="connsiteX3" fmla="*/ 16447 w 16447"/>
                  <a:gd name="connsiteY3" fmla="*/ 76899 h 76898"/>
                  <a:gd name="connsiteX4" fmla="*/ 0 w 16447"/>
                  <a:gd name="connsiteY4" fmla="*/ 76899 h 768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447" h="76898">
                    <a:moveTo>
                      <a:pt x="0" y="76899"/>
                    </a:moveTo>
                    <a:lnTo>
                      <a:pt x="0" y="0"/>
                    </a:lnTo>
                    <a:lnTo>
                      <a:pt x="16447" y="0"/>
                    </a:lnTo>
                    <a:lnTo>
                      <a:pt x="16447" y="76899"/>
                    </a:lnTo>
                    <a:lnTo>
                      <a:pt x="0" y="76899"/>
                    </a:lnTo>
                    <a:close/>
                  </a:path>
                </a:pathLst>
              </a:custGeom>
              <a:solidFill>
                <a:srgbClr val="B8B7B9"/>
              </a:solidFill>
              <a:ln w="6350"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D4647"/>
                  </a:solidFill>
                  <a:effectLst/>
                  <a:uLnTx/>
                  <a:uFillTx/>
                </a:endParaRPr>
              </a:p>
            </p:txBody>
          </p:sp>
          <p:sp>
            <p:nvSpPr>
              <p:cNvPr id="125" name="Freeform: Shape 124">
                <a:extLst>
                  <a:ext uri="{FF2B5EF4-FFF2-40B4-BE49-F238E27FC236}">
                    <a16:creationId xmlns:a16="http://schemas.microsoft.com/office/drawing/2014/main" id="{68C32904-67D0-4E06-BBAC-025737180B02}"/>
                  </a:ext>
                </a:extLst>
              </p:cNvPr>
              <p:cNvSpPr/>
              <p:nvPr/>
            </p:nvSpPr>
            <p:spPr>
              <a:xfrm>
                <a:off x="11743245" y="6393878"/>
                <a:ext cx="16447" cy="76898"/>
              </a:xfrm>
              <a:custGeom>
                <a:avLst/>
                <a:gdLst>
                  <a:gd name="connsiteX0" fmla="*/ 0 w 16447"/>
                  <a:gd name="connsiteY0" fmla="*/ 76899 h 76898"/>
                  <a:gd name="connsiteX1" fmla="*/ 0 w 16447"/>
                  <a:gd name="connsiteY1" fmla="*/ 0 h 76898"/>
                  <a:gd name="connsiteX2" fmla="*/ 16447 w 16447"/>
                  <a:gd name="connsiteY2" fmla="*/ 0 h 76898"/>
                  <a:gd name="connsiteX3" fmla="*/ 16447 w 16447"/>
                  <a:gd name="connsiteY3" fmla="*/ 76899 h 76898"/>
                  <a:gd name="connsiteX4" fmla="*/ 0 w 16447"/>
                  <a:gd name="connsiteY4" fmla="*/ 76899 h 768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447" h="76898">
                    <a:moveTo>
                      <a:pt x="0" y="76899"/>
                    </a:moveTo>
                    <a:lnTo>
                      <a:pt x="0" y="0"/>
                    </a:lnTo>
                    <a:lnTo>
                      <a:pt x="16447" y="0"/>
                    </a:lnTo>
                    <a:lnTo>
                      <a:pt x="16447" y="76899"/>
                    </a:lnTo>
                    <a:lnTo>
                      <a:pt x="0" y="76899"/>
                    </a:lnTo>
                    <a:close/>
                  </a:path>
                </a:pathLst>
              </a:custGeom>
              <a:solidFill>
                <a:srgbClr val="B8B7B9"/>
              </a:solidFill>
              <a:ln w="6350"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D4647"/>
                  </a:solidFill>
                  <a:effectLst/>
                  <a:uLnTx/>
                  <a:uFillTx/>
                </a:endParaRPr>
              </a:p>
            </p:txBody>
          </p:sp>
          <p:sp>
            <p:nvSpPr>
              <p:cNvPr id="126" name="Freeform: Shape 125">
                <a:extLst>
                  <a:ext uri="{FF2B5EF4-FFF2-40B4-BE49-F238E27FC236}">
                    <a16:creationId xmlns:a16="http://schemas.microsoft.com/office/drawing/2014/main" id="{421B5C89-AA28-473C-8F7B-D759C1A5B39B}"/>
                  </a:ext>
                </a:extLst>
              </p:cNvPr>
              <p:cNvSpPr/>
              <p:nvPr/>
            </p:nvSpPr>
            <p:spPr>
              <a:xfrm>
                <a:off x="11296650" y="6393878"/>
                <a:ext cx="16446" cy="76898"/>
              </a:xfrm>
              <a:custGeom>
                <a:avLst/>
                <a:gdLst>
                  <a:gd name="connsiteX0" fmla="*/ 0 w 16446"/>
                  <a:gd name="connsiteY0" fmla="*/ 76899 h 76898"/>
                  <a:gd name="connsiteX1" fmla="*/ 0 w 16446"/>
                  <a:gd name="connsiteY1" fmla="*/ 0 h 76898"/>
                  <a:gd name="connsiteX2" fmla="*/ 16446 w 16446"/>
                  <a:gd name="connsiteY2" fmla="*/ 0 h 76898"/>
                  <a:gd name="connsiteX3" fmla="*/ 16446 w 16446"/>
                  <a:gd name="connsiteY3" fmla="*/ 76899 h 76898"/>
                  <a:gd name="connsiteX4" fmla="*/ 0 w 16446"/>
                  <a:gd name="connsiteY4" fmla="*/ 76899 h 768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446" h="76898">
                    <a:moveTo>
                      <a:pt x="0" y="76899"/>
                    </a:moveTo>
                    <a:lnTo>
                      <a:pt x="0" y="0"/>
                    </a:lnTo>
                    <a:lnTo>
                      <a:pt x="16446" y="0"/>
                    </a:lnTo>
                    <a:lnTo>
                      <a:pt x="16446" y="76899"/>
                    </a:lnTo>
                    <a:lnTo>
                      <a:pt x="0" y="76899"/>
                    </a:lnTo>
                    <a:close/>
                  </a:path>
                </a:pathLst>
              </a:custGeom>
              <a:solidFill>
                <a:srgbClr val="B8B7B9"/>
              </a:solidFill>
              <a:ln w="6350"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D4647"/>
                  </a:solidFill>
                  <a:effectLst/>
                  <a:uLnTx/>
                  <a:uFillTx/>
                </a:endParaRPr>
              </a:p>
            </p:txBody>
          </p:sp>
          <p:sp>
            <p:nvSpPr>
              <p:cNvPr id="127" name="Freeform: Shape 126">
                <a:extLst>
                  <a:ext uri="{FF2B5EF4-FFF2-40B4-BE49-F238E27FC236}">
                    <a16:creationId xmlns:a16="http://schemas.microsoft.com/office/drawing/2014/main" id="{0DBC857E-F462-4263-85B2-6214B6F0B4FE}"/>
                  </a:ext>
                </a:extLst>
              </p:cNvPr>
              <p:cNvSpPr/>
              <p:nvPr/>
            </p:nvSpPr>
            <p:spPr>
              <a:xfrm>
                <a:off x="11551475" y="6393878"/>
                <a:ext cx="16446" cy="76898"/>
              </a:xfrm>
              <a:custGeom>
                <a:avLst/>
                <a:gdLst>
                  <a:gd name="connsiteX0" fmla="*/ 0 w 16446"/>
                  <a:gd name="connsiteY0" fmla="*/ 76899 h 76898"/>
                  <a:gd name="connsiteX1" fmla="*/ 0 w 16446"/>
                  <a:gd name="connsiteY1" fmla="*/ 0 h 76898"/>
                  <a:gd name="connsiteX2" fmla="*/ 16446 w 16446"/>
                  <a:gd name="connsiteY2" fmla="*/ 0 h 76898"/>
                  <a:gd name="connsiteX3" fmla="*/ 16446 w 16446"/>
                  <a:gd name="connsiteY3" fmla="*/ 76899 h 76898"/>
                  <a:gd name="connsiteX4" fmla="*/ 0 w 16446"/>
                  <a:gd name="connsiteY4" fmla="*/ 76899 h 768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446" h="76898">
                    <a:moveTo>
                      <a:pt x="0" y="76899"/>
                    </a:moveTo>
                    <a:lnTo>
                      <a:pt x="0" y="0"/>
                    </a:lnTo>
                    <a:lnTo>
                      <a:pt x="16446" y="0"/>
                    </a:lnTo>
                    <a:lnTo>
                      <a:pt x="16446" y="76899"/>
                    </a:lnTo>
                    <a:lnTo>
                      <a:pt x="0" y="76899"/>
                    </a:lnTo>
                    <a:close/>
                  </a:path>
                </a:pathLst>
              </a:custGeom>
              <a:solidFill>
                <a:srgbClr val="B8B7B9"/>
              </a:solidFill>
              <a:ln w="6350"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D4647"/>
                  </a:solidFill>
                  <a:effectLst/>
                  <a:uLnTx/>
                  <a:uFillTx/>
                </a:endParaRPr>
              </a:p>
            </p:txBody>
          </p:sp>
          <p:sp>
            <p:nvSpPr>
              <p:cNvPr id="128" name="Freeform: Shape 127">
                <a:extLst>
                  <a:ext uri="{FF2B5EF4-FFF2-40B4-BE49-F238E27FC236}">
                    <a16:creationId xmlns:a16="http://schemas.microsoft.com/office/drawing/2014/main" id="{CFC9C795-F1B6-44DE-B10D-68D87D61C85D}"/>
                  </a:ext>
                </a:extLst>
              </p:cNvPr>
              <p:cNvSpPr/>
              <p:nvPr/>
            </p:nvSpPr>
            <p:spPr>
              <a:xfrm>
                <a:off x="11806301" y="6393878"/>
                <a:ext cx="16446" cy="76898"/>
              </a:xfrm>
              <a:custGeom>
                <a:avLst/>
                <a:gdLst>
                  <a:gd name="connsiteX0" fmla="*/ 0 w 16446"/>
                  <a:gd name="connsiteY0" fmla="*/ 76899 h 76898"/>
                  <a:gd name="connsiteX1" fmla="*/ 0 w 16446"/>
                  <a:gd name="connsiteY1" fmla="*/ 0 h 76898"/>
                  <a:gd name="connsiteX2" fmla="*/ 16446 w 16446"/>
                  <a:gd name="connsiteY2" fmla="*/ 0 h 76898"/>
                  <a:gd name="connsiteX3" fmla="*/ 16446 w 16446"/>
                  <a:gd name="connsiteY3" fmla="*/ 76899 h 76898"/>
                  <a:gd name="connsiteX4" fmla="*/ 0 w 16446"/>
                  <a:gd name="connsiteY4" fmla="*/ 76899 h 768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446" h="76898">
                    <a:moveTo>
                      <a:pt x="0" y="76899"/>
                    </a:moveTo>
                    <a:lnTo>
                      <a:pt x="0" y="0"/>
                    </a:lnTo>
                    <a:lnTo>
                      <a:pt x="16446" y="0"/>
                    </a:lnTo>
                    <a:lnTo>
                      <a:pt x="16446" y="76899"/>
                    </a:lnTo>
                    <a:lnTo>
                      <a:pt x="0" y="76899"/>
                    </a:lnTo>
                    <a:close/>
                  </a:path>
                </a:pathLst>
              </a:custGeom>
              <a:solidFill>
                <a:srgbClr val="B8B7B9"/>
              </a:solidFill>
              <a:ln w="6350"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D4647"/>
                  </a:solidFill>
                  <a:effectLst/>
                  <a:uLnTx/>
                  <a:uFillTx/>
                </a:endParaRPr>
              </a:p>
            </p:txBody>
          </p:sp>
          <p:sp>
            <p:nvSpPr>
              <p:cNvPr id="129" name="Freeform: Shape 128">
                <a:extLst>
                  <a:ext uri="{FF2B5EF4-FFF2-40B4-BE49-F238E27FC236}">
                    <a16:creationId xmlns:a16="http://schemas.microsoft.com/office/drawing/2014/main" id="{4A08CF7B-D6F3-4333-8784-B71DC9575F62}"/>
                  </a:ext>
                </a:extLst>
              </p:cNvPr>
              <p:cNvSpPr/>
              <p:nvPr/>
            </p:nvSpPr>
            <p:spPr>
              <a:xfrm>
                <a:off x="11359705" y="6393878"/>
                <a:ext cx="16446" cy="76898"/>
              </a:xfrm>
              <a:custGeom>
                <a:avLst/>
                <a:gdLst>
                  <a:gd name="connsiteX0" fmla="*/ 0 w 16446"/>
                  <a:gd name="connsiteY0" fmla="*/ 76899 h 76898"/>
                  <a:gd name="connsiteX1" fmla="*/ 0 w 16446"/>
                  <a:gd name="connsiteY1" fmla="*/ 0 h 76898"/>
                  <a:gd name="connsiteX2" fmla="*/ 16446 w 16446"/>
                  <a:gd name="connsiteY2" fmla="*/ 0 h 76898"/>
                  <a:gd name="connsiteX3" fmla="*/ 16446 w 16446"/>
                  <a:gd name="connsiteY3" fmla="*/ 76899 h 76898"/>
                  <a:gd name="connsiteX4" fmla="*/ 0 w 16446"/>
                  <a:gd name="connsiteY4" fmla="*/ 76899 h 768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446" h="76898">
                    <a:moveTo>
                      <a:pt x="0" y="76899"/>
                    </a:moveTo>
                    <a:lnTo>
                      <a:pt x="0" y="0"/>
                    </a:lnTo>
                    <a:lnTo>
                      <a:pt x="16446" y="0"/>
                    </a:lnTo>
                    <a:lnTo>
                      <a:pt x="16446" y="76899"/>
                    </a:lnTo>
                    <a:lnTo>
                      <a:pt x="0" y="76899"/>
                    </a:lnTo>
                    <a:close/>
                  </a:path>
                </a:pathLst>
              </a:custGeom>
              <a:solidFill>
                <a:srgbClr val="B8B7B9"/>
              </a:solidFill>
              <a:ln w="6350"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D4647"/>
                  </a:solidFill>
                  <a:effectLst/>
                  <a:uLnTx/>
                  <a:uFillTx/>
                </a:endParaRPr>
              </a:p>
            </p:txBody>
          </p:sp>
          <p:sp>
            <p:nvSpPr>
              <p:cNvPr id="130" name="Freeform: Shape 129">
                <a:extLst>
                  <a:ext uri="{FF2B5EF4-FFF2-40B4-BE49-F238E27FC236}">
                    <a16:creationId xmlns:a16="http://schemas.microsoft.com/office/drawing/2014/main" id="{DA6A7EE1-E9B0-4B1A-9723-5853878F85AB}"/>
                  </a:ext>
                </a:extLst>
              </p:cNvPr>
              <p:cNvSpPr/>
              <p:nvPr/>
            </p:nvSpPr>
            <p:spPr>
              <a:xfrm>
                <a:off x="11614594" y="6393878"/>
                <a:ext cx="16383" cy="76898"/>
              </a:xfrm>
              <a:custGeom>
                <a:avLst/>
                <a:gdLst>
                  <a:gd name="connsiteX0" fmla="*/ 0 w 16383"/>
                  <a:gd name="connsiteY0" fmla="*/ 76899 h 76898"/>
                  <a:gd name="connsiteX1" fmla="*/ 0 w 16383"/>
                  <a:gd name="connsiteY1" fmla="*/ 0 h 76898"/>
                  <a:gd name="connsiteX2" fmla="*/ 16383 w 16383"/>
                  <a:gd name="connsiteY2" fmla="*/ 0 h 76898"/>
                  <a:gd name="connsiteX3" fmla="*/ 16383 w 16383"/>
                  <a:gd name="connsiteY3" fmla="*/ 76899 h 76898"/>
                  <a:gd name="connsiteX4" fmla="*/ 0 w 16383"/>
                  <a:gd name="connsiteY4" fmla="*/ 76899 h 768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383" h="76898">
                    <a:moveTo>
                      <a:pt x="0" y="76899"/>
                    </a:moveTo>
                    <a:lnTo>
                      <a:pt x="0" y="0"/>
                    </a:lnTo>
                    <a:lnTo>
                      <a:pt x="16383" y="0"/>
                    </a:lnTo>
                    <a:lnTo>
                      <a:pt x="16383" y="76899"/>
                    </a:lnTo>
                    <a:lnTo>
                      <a:pt x="0" y="76899"/>
                    </a:lnTo>
                    <a:close/>
                  </a:path>
                </a:pathLst>
              </a:custGeom>
              <a:solidFill>
                <a:srgbClr val="B8B7B9"/>
              </a:solidFill>
              <a:ln w="6350"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D4647"/>
                  </a:solidFill>
                  <a:effectLst/>
                  <a:uLnTx/>
                  <a:uFillTx/>
                </a:endParaRPr>
              </a:p>
            </p:txBody>
          </p:sp>
          <p:sp>
            <p:nvSpPr>
              <p:cNvPr id="131" name="Freeform: Shape 130">
                <a:extLst>
                  <a:ext uri="{FF2B5EF4-FFF2-40B4-BE49-F238E27FC236}">
                    <a16:creationId xmlns:a16="http://schemas.microsoft.com/office/drawing/2014/main" id="{6C00DB74-DF2C-455E-9131-78BBAC11DDD6}"/>
                  </a:ext>
                </a:extLst>
              </p:cNvPr>
              <p:cNvSpPr/>
              <p:nvPr/>
            </p:nvSpPr>
            <p:spPr>
              <a:xfrm>
                <a:off x="11869419" y="6393878"/>
                <a:ext cx="16383" cy="76898"/>
              </a:xfrm>
              <a:custGeom>
                <a:avLst/>
                <a:gdLst>
                  <a:gd name="connsiteX0" fmla="*/ 0 w 16383"/>
                  <a:gd name="connsiteY0" fmla="*/ 76899 h 76898"/>
                  <a:gd name="connsiteX1" fmla="*/ 0 w 16383"/>
                  <a:gd name="connsiteY1" fmla="*/ 0 h 76898"/>
                  <a:gd name="connsiteX2" fmla="*/ 16383 w 16383"/>
                  <a:gd name="connsiteY2" fmla="*/ 0 h 76898"/>
                  <a:gd name="connsiteX3" fmla="*/ 16383 w 16383"/>
                  <a:gd name="connsiteY3" fmla="*/ 76899 h 76898"/>
                  <a:gd name="connsiteX4" fmla="*/ 0 w 16383"/>
                  <a:gd name="connsiteY4" fmla="*/ 76899 h 768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383" h="76898">
                    <a:moveTo>
                      <a:pt x="0" y="76899"/>
                    </a:moveTo>
                    <a:lnTo>
                      <a:pt x="0" y="0"/>
                    </a:lnTo>
                    <a:lnTo>
                      <a:pt x="16383" y="0"/>
                    </a:lnTo>
                    <a:lnTo>
                      <a:pt x="16383" y="76899"/>
                    </a:lnTo>
                    <a:lnTo>
                      <a:pt x="0" y="76899"/>
                    </a:lnTo>
                    <a:close/>
                  </a:path>
                </a:pathLst>
              </a:custGeom>
              <a:solidFill>
                <a:srgbClr val="B8B7B9"/>
              </a:solidFill>
              <a:ln w="6350"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D4647"/>
                  </a:solidFill>
                  <a:effectLst/>
                  <a:uLnTx/>
                  <a:uFillTx/>
                </a:endParaRPr>
              </a:p>
            </p:txBody>
          </p:sp>
          <p:sp>
            <p:nvSpPr>
              <p:cNvPr id="132" name="Freeform: Shape 131">
                <a:extLst>
                  <a:ext uri="{FF2B5EF4-FFF2-40B4-BE49-F238E27FC236}">
                    <a16:creationId xmlns:a16="http://schemas.microsoft.com/office/drawing/2014/main" id="{9ED12EEE-34E1-4CAC-8D66-0F40E8AD5757}"/>
                  </a:ext>
                </a:extLst>
              </p:cNvPr>
              <p:cNvSpPr/>
              <p:nvPr/>
            </p:nvSpPr>
            <p:spPr>
              <a:xfrm>
                <a:off x="11422824" y="6357873"/>
                <a:ext cx="16382" cy="112903"/>
              </a:xfrm>
              <a:custGeom>
                <a:avLst/>
                <a:gdLst>
                  <a:gd name="connsiteX0" fmla="*/ 0 w 16382"/>
                  <a:gd name="connsiteY0" fmla="*/ 112903 h 112903"/>
                  <a:gd name="connsiteX1" fmla="*/ 0 w 16382"/>
                  <a:gd name="connsiteY1" fmla="*/ 0 h 112903"/>
                  <a:gd name="connsiteX2" fmla="*/ 16383 w 16382"/>
                  <a:gd name="connsiteY2" fmla="*/ 0 h 112903"/>
                  <a:gd name="connsiteX3" fmla="*/ 16383 w 16382"/>
                  <a:gd name="connsiteY3" fmla="*/ 112903 h 112903"/>
                  <a:gd name="connsiteX4" fmla="*/ 0 w 16382"/>
                  <a:gd name="connsiteY4" fmla="*/ 112903 h 1129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382" h="112903">
                    <a:moveTo>
                      <a:pt x="0" y="112903"/>
                    </a:moveTo>
                    <a:lnTo>
                      <a:pt x="0" y="0"/>
                    </a:lnTo>
                    <a:lnTo>
                      <a:pt x="16383" y="0"/>
                    </a:lnTo>
                    <a:lnTo>
                      <a:pt x="16383" y="112903"/>
                    </a:lnTo>
                    <a:lnTo>
                      <a:pt x="0" y="112903"/>
                    </a:lnTo>
                    <a:close/>
                  </a:path>
                </a:pathLst>
              </a:custGeom>
              <a:solidFill>
                <a:srgbClr val="B8B7B9"/>
              </a:solidFill>
              <a:ln w="6350"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D4647"/>
                  </a:solidFill>
                  <a:effectLst/>
                  <a:uLnTx/>
                  <a:uFillTx/>
                </a:endParaRPr>
              </a:p>
            </p:txBody>
          </p:sp>
          <p:sp>
            <p:nvSpPr>
              <p:cNvPr id="133" name="Freeform: Shape 132">
                <a:extLst>
                  <a:ext uri="{FF2B5EF4-FFF2-40B4-BE49-F238E27FC236}">
                    <a16:creationId xmlns:a16="http://schemas.microsoft.com/office/drawing/2014/main" id="{A205E000-3581-46C7-915B-CCCF2678643B}"/>
                  </a:ext>
                </a:extLst>
              </p:cNvPr>
              <p:cNvSpPr/>
              <p:nvPr/>
            </p:nvSpPr>
            <p:spPr>
              <a:xfrm>
                <a:off x="11677650" y="6357873"/>
                <a:ext cx="16446" cy="112903"/>
              </a:xfrm>
              <a:custGeom>
                <a:avLst/>
                <a:gdLst>
                  <a:gd name="connsiteX0" fmla="*/ 0 w 16446"/>
                  <a:gd name="connsiteY0" fmla="*/ 112903 h 112903"/>
                  <a:gd name="connsiteX1" fmla="*/ 0 w 16446"/>
                  <a:gd name="connsiteY1" fmla="*/ 0 h 112903"/>
                  <a:gd name="connsiteX2" fmla="*/ 16446 w 16446"/>
                  <a:gd name="connsiteY2" fmla="*/ 0 h 112903"/>
                  <a:gd name="connsiteX3" fmla="*/ 16446 w 16446"/>
                  <a:gd name="connsiteY3" fmla="*/ 112903 h 112903"/>
                  <a:gd name="connsiteX4" fmla="*/ 0 w 16446"/>
                  <a:gd name="connsiteY4" fmla="*/ 112903 h 1129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446" h="112903">
                    <a:moveTo>
                      <a:pt x="0" y="112903"/>
                    </a:moveTo>
                    <a:lnTo>
                      <a:pt x="0" y="0"/>
                    </a:lnTo>
                    <a:lnTo>
                      <a:pt x="16446" y="0"/>
                    </a:lnTo>
                    <a:lnTo>
                      <a:pt x="16446" y="112903"/>
                    </a:lnTo>
                    <a:lnTo>
                      <a:pt x="0" y="112903"/>
                    </a:lnTo>
                    <a:close/>
                  </a:path>
                </a:pathLst>
              </a:custGeom>
              <a:solidFill>
                <a:srgbClr val="B8B7B9"/>
              </a:solidFill>
              <a:ln w="6350"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D4647"/>
                  </a:solidFill>
                  <a:effectLst/>
                  <a:uLnTx/>
                  <a:uFillTx/>
                </a:endParaRPr>
              </a:p>
            </p:txBody>
          </p:sp>
        </p:grpSp>
        <p:sp>
          <p:nvSpPr>
            <p:cNvPr id="110" name="Freeform: Shape 109">
              <a:extLst>
                <a:ext uri="{FF2B5EF4-FFF2-40B4-BE49-F238E27FC236}">
                  <a16:creationId xmlns:a16="http://schemas.microsoft.com/office/drawing/2014/main" id="{7F1A424A-2730-4831-9060-FE6AB9BB7850}"/>
                </a:ext>
              </a:extLst>
            </p:cNvPr>
            <p:cNvSpPr/>
            <p:nvPr/>
          </p:nvSpPr>
          <p:spPr>
            <a:xfrm rot="5400000" flipV="1">
              <a:off x="11916016" y="424307"/>
              <a:ext cx="43688" cy="43687"/>
            </a:xfrm>
            <a:custGeom>
              <a:avLst/>
              <a:gdLst>
                <a:gd name="connsiteX0" fmla="*/ 0 w 43688"/>
                <a:gd name="connsiteY0" fmla="*/ 0 h 43687"/>
                <a:gd name="connsiteX1" fmla="*/ 43688 w 43688"/>
                <a:gd name="connsiteY1" fmla="*/ 0 h 43687"/>
                <a:gd name="connsiteX2" fmla="*/ 43688 w 43688"/>
                <a:gd name="connsiteY2" fmla="*/ 43688 h 43687"/>
                <a:gd name="connsiteX3" fmla="*/ 0 w 43688"/>
                <a:gd name="connsiteY3" fmla="*/ 43688 h 43687"/>
              </a:gdLst>
              <a:ahLst/>
              <a:cxnLst>
                <a:cxn ang="0">
                  <a:pos x="connsiteX0" y="connsiteY0"/>
                </a:cxn>
                <a:cxn ang="0">
                  <a:pos x="connsiteX1" y="connsiteY1"/>
                </a:cxn>
                <a:cxn ang="0">
                  <a:pos x="connsiteX2" y="connsiteY2"/>
                </a:cxn>
                <a:cxn ang="0">
                  <a:pos x="connsiteX3" y="connsiteY3"/>
                </a:cxn>
              </a:cxnLst>
              <a:rect l="l" t="t" r="r" b="b"/>
              <a:pathLst>
                <a:path w="43688" h="43687">
                  <a:moveTo>
                    <a:pt x="0" y="0"/>
                  </a:moveTo>
                  <a:lnTo>
                    <a:pt x="43688" y="0"/>
                  </a:lnTo>
                  <a:lnTo>
                    <a:pt x="43688" y="43688"/>
                  </a:lnTo>
                  <a:lnTo>
                    <a:pt x="0" y="43688"/>
                  </a:lnTo>
                  <a:close/>
                </a:path>
              </a:pathLst>
            </a:custGeom>
            <a:noFill/>
            <a:ln w="3175" cap="flat">
              <a:solidFill>
                <a:srgbClr val="FFFFFF">
                  <a:lumMod val="50000"/>
                </a:srgbClr>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D4647"/>
                </a:solidFill>
                <a:effectLst/>
                <a:uLnTx/>
                <a:uFillTx/>
              </a:endParaRPr>
            </a:p>
          </p:txBody>
        </p:sp>
        <p:grpSp>
          <p:nvGrpSpPr>
            <p:cNvPr id="111" name="Graphic 42">
              <a:extLst>
                <a:ext uri="{FF2B5EF4-FFF2-40B4-BE49-F238E27FC236}">
                  <a16:creationId xmlns:a16="http://schemas.microsoft.com/office/drawing/2014/main" id="{2344140C-36F0-464F-AE12-58F3BCA89893}"/>
                </a:ext>
              </a:extLst>
            </p:cNvPr>
            <p:cNvGrpSpPr/>
            <p:nvPr/>
          </p:nvGrpSpPr>
          <p:grpSpPr>
            <a:xfrm flipV="1">
              <a:off x="11901678" y="535622"/>
              <a:ext cx="73152" cy="410654"/>
              <a:chOff x="11838178" y="5791517"/>
              <a:chExt cx="73152" cy="410654"/>
            </a:xfrm>
            <a:solidFill>
              <a:srgbClr val="FFFFFF">
                <a:lumMod val="50000"/>
              </a:srgbClr>
            </a:solidFill>
          </p:grpSpPr>
          <p:grpSp>
            <p:nvGrpSpPr>
              <p:cNvPr id="112" name="Graphic 42">
                <a:extLst>
                  <a:ext uri="{FF2B5EF4-FFF2-40B4-BE49-F238E27FC236}">
                    <a16:creationId xmlns:a16="http://schemas.microsoft.com/office/drawing/2014/main" id="{9CF2C3B3-748B-4990-B09F-4A636EC5FC77}"/>
                  </a:ext>
                </a:extLst>
              </p:cNvPr>
              <p:cNvGrpSpPr/>
              <p:nvPr/>
            </p:nvGrpSpPr>
            <p:grpSpPr>
              <a:xfrm>
                <a:off x="11854497" y="5791517"/>
                <a:ext cx="42418" cy="282892"/>
                <a:chOff x="11854497" y="5791517"/>
                <a:chExt cx="42418" cy="282892"/>
              </a:xfrm>
              <a:grpFill/>
            </p:grpSpPr>
            <p:sp>
              <p:nvSpPr>
                <p:cNvPr id="114" name="Freeform: Shape 113">
                  <a:extLst>
                    <a:ext uri="{FF2B5EF4-FFF2-40B4-BE49-F238E27FC236}">
                      <a16:creationId xmlns:a16="http://schemas.microsoft.com/office/drawing/2014/main" id="{8B06F421-C117-4A14-A338-7536C1E1084E}"/>
                    </a:ext>
                  </a:extLst>
                </p:cNvPr>
                <p:cNvSpPr/>
                <p:nvPr/>
              </p:nvSpPr>
              <p:spPr>
                <a:xfrm>
                  <a:off x="11855259" y="5891022"/>
                  <a:ext cx="41655" cy="4381"/>
                </a:xfrm>
                <a:custGeom>
                  <a:avLst/>
                  <a:gdLst>
                    <a:gd name="connsiteX0" fmla="*/ 0 w 41655"/>
                    <a:gd name="connsiteY0" fmla="*/ 0 h 4381"/>
                    <a:gd name="connsiteX1" fmla="*/ 41656 w 41655"/>
                    <a:gd name="connsiteY1" fmla="*/ 0 h 4381"/>
                    <a:gd name="connsiteX2" fmla="*/ 41656 w 41655"/>
                    <a:gd name="connsiteY2" fmla="*/ 4381 h 4381"/>
                    <a:gd name="connsiteX3" fmla="*/ 0 w 41655"/>
                    <a:gd name="connsiteY3" fmla="*/ 4381 h 4381"/>
                  </a:gdLst>
                  <a:ahLst/>
                  <a:cxnLst>
                    <a:cxn ang="0">
                      <a:pos x="connsiteX0" y="connsiteY0"/>
                    </a:cxn>
                    <a:cxn ang="0">
                      <a:pos x="connsiteX1" y="connsiteY1"/>
                    </a:cxn>
                    <a:cxn ang="0">
                      <a:pos x="connsiteX2" y="connsiteY2"/>
                    </a:cxn>
                    <a:cxn ang="0">
                      <a:pos x="connsiteX3" y="connsiteY3"/>
                    </a:cxn>
                  </a:cxnLst>
                  <a:rect l="l" t="t" r="r" b="b"/>
                  <a:pathLst>
                    <a:path w="41655" h="4381">
                      <a:moveTo>
                        <a:pt x="0" y="0"/>
                      </a:moveTo>
                      <a:lnTo>
                        <a:pt x="41656" y="0"/>
                      </a:lnTo>
                      <a:lnTo>
                        <a:pt x="41656" y="4381"/>
                      </a:lnTo>
                      <a:lnTo>
                        <a:pt x="0" y="4381"/>
                      </a:lnTo>
                      <a:close/>
                    </a:path>
                  </a:pathLst>
                </a:custGeom>
                <a:grpFill/>
                <a:ln w="6350"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D4647"/>
                    </a:solidFill>
                    <a:effectLst/>
                    <a:uLnTx/>
                    <a:uFillTx/>
                  </a:endParaRPr>
                </a:p>
              </p:txBody>
            </p:sp>
            <p:sp>
              <p:nvSpPr>
                <p:cNvPr id="115" name="Freeform: Shape 114">
                  <a:extLst>
                    <a:ext uri="{FF2B5EF4-FFF2-40B4-BE49-F238E27FC236}">
                      <a16:creationId xmlns:a16="http://schemas.microsoft.com/office/drawing/2014/main" id="{0B451100-FFA2-495A-8825-2C61DEEF1E15}"/>
                    </a:ext>
                  </a:extLst>
                </p:cNvPr>
                <p:cNvSpPr/>
                <p:nvPr/>
              </p:nvSpPr>
              <p:spPr>
                <a:xfrm>
                  <a:off x="11855259" y="5955538"/>
                  <a:ext cx="41655" cy="4381"/>
                </a:xfrm>
                <a:custGeom>
                  <a:avLst/>
                  <a:gdLst>
                    <a:gd name="connsiteX0" fmla="*/ 0 w 41655"/>
                    <a:gd name="connsiteY0" fmla="*/ 0 h 4381"/>
                    <a:gd name="connsiteX1" fmla="*/ 41656 w 41655"/>
                    <a:gd name="connsiteY1" fmla="*/ 0 h 4381"/>
                    <a:gd name="connsiteX2" fmla="*/ 41656 w 41655"/>
                    <a:gd name="connsiteY2" fmla="*/ 4382 h 4381"/>
                    <a:gd name="connsiteX3" fmla="*/ 0 w 41655"/>
                    <a:gd name="connsiteY3" fmla="*/ 4382 h 4381"/>
                  </a:gdLst>
                  <a:ahLst/>
                  <a:cxnLst>
                    <a:cxn ang="0">
                      <a:pos x="connsiteX0" y="connsiteY0"/>
                    </a:cxn>
                    <a:cxn ang="0">
                      <a:pos x="connsiteX1" y="connsiteY1"/>
                    </a:cxn>
                    <a:cxn ang="0">
                      <a:pos x="connsiteX2" y="connsiteY2"/>
                    </a:cxn>
                    <a:cxn ang="0">
                      <a:pos x="connsiteX3" y="connsiteY3"/>
                    </a:cxn>
                  </a:cxnLst>
                  <a:rect l="l" t="t" r="r" b="b"/>
                  <a:pathLst>
                    <a:path w="41655" h="4381">
                      <a:moveTo>
                        <a:pt x="0" y="0"/>
                      </a:moveTo>
                      <a:lnTo>
                        <a:pt x="41656" y="0"/>
                      </a:lnTo>
                      <a:lnTo>
                        <a:pt x="41656" y="4382"/>
                      </a:lnTo>
                      <a:lnTo>
                        <a:pt x="0" y="4382"/>
                      </a:lnTo>
                      <a:close/>
                    </a:path>
                  </a:pathLst>
                </a:custGeom>
                <a:grpFill/>
                <a:ln w="6350"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D4647"/>
                    </a:solidFill>
                    <a:effectLst/>
                    <a:uLnTx/>
                    <a:uFillTx/>
                  </a:endParaRPr>
                </a:p>
              </p:txBody>
            </p:sp>
            <p:sp>
              <p:nvSpPr>
                <p:cNvPr id="116" name="Freeform: Shape 115">
                  <a:extLst>
                    <a:ext uri="{FF2B5EF4-FFF2-40B4-BE49-F238E27FC236}">
                      <a16:creationId xmlns:a16="http://schemas.microsoft.com/office/drawing/2014/main" id="{DA6027BA-5487-4D06-B6CE-DA1AE19ADBD8}"/>
                    </a:ext>
                  </a:extLst>
                </p:cNvPr>
                <p:cNvSpPr/>
                <p:nvPr/>
              </p:nvSpPr>
              <p:spPr>
                <a:xfrm>
                  <a:off x="11855259" y="6011545"/>
                  <a:ext cx="41655" cy="4381"/>
                </a:xfrm>
                <a:custGeom>
                  <a:avLst/>
                  <a:gdLst>
                    <a:gd name="connsiteX0" fmla="*/ 0 w 41655"/>
                    <a:gd name="connsiteY0" fmla="*/ 0 h 4381"/>
                    <a:gd name="connsiteX1" fmla="*/ 41656 w 41655"/>
                    <a:gd name="connsiteY1" fmla="*/ 0 h 4381"/>
                    <a:gd name="connsiteX2" fmla="*/ 41656 w 41655"/>
                    <a:gd name="connsiteY2" fmla="*/ 4382 h 4381"/>
                    <a:gd name="connsiteX3" fmla="*/ 0 w 41655"/>
                    <a:gd name="connsiteY3" fmla="*/ 4382 h 4381"/>
                  </a:gdLst>
                  <a:ahLst/>
                  <a:cxnLst>
                    <a:cxn ang="0">
                      <a:pos x="connsiteX0" y="connsiteY0"/>
                    </a:cxn>
                    <a:cxn ang="0">
                      <a:pos x="connsiteX1" y="connsiteY1"/>
                    </a:cxn>
                    <a:cxn ang="0">
                      <a:pos x="connsiteX2" y="connsiteY2"/>
                    </a:cxn>
                    <a:cxn ang="0">
                      <a:pos x="connsiteX3" y="connsiteY3"/>
                    </a:cxn>
                  </a:cxnLst>
                  <a:rect l="l" t="t" r="r" b="b"/>
                  <a:pathLst>
                    <a:path w="41655" h="4381">
                      <a:moveTo>
                        <a:pt x="0" y="0"/>
                      </a:moveTo>
                      <a:lnTo>
                        <a:pt x="41656" y="0"/>
                      </a:lnTo>
                      <a:lnTo>
                        <a:pt x="41656" y="4382"/>
                      </a:lnTo>
                      <a:lnTo>
                        <a:pt x="0" y="4382"/>
                      </a:lnTo>
                      <a:close/>
                    </a:path>
                  </a:pathLst>
                </a:custGeom>
                <a:grpFill/>
                <a:ln w="6350"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D4647"/>
                    </a:solidFill>
                    <a:effectLst/>
                    <a:uLnTx/>
                    <a:uFillTx/>
                  </a:endParaRPr>
                </a:p>
              </p:txBody>
            </p:sp>
            <p:sp>
              <p:nvSpPr>
                <p:cNvPr id="117" name="Freeform: Shape 116">
                  <a:extLst>
                    <a:ext uri="{FF2B5EF4-FFF2-40B4-BE49-F238E27FC236}">
                      <a16:creationId xmlns:a16="http://schemas.microsoft.com/office/drawing/2014/main" id="{7F6CB4AE-5D33-40E8-A7A5-A3809695ABA8}"/>
                    </a:ext>
                  </a:extLst>
                </p:cNvPr>
                <p:cNvSpPr/>
                <p:nvPr/>
              </p:nvSpPr>
              <p:spPr>
                <a:xfrm>
                  <a:off x="11855259" y="6070028"/>
                  <a:ext cx="41655" cy="4381"/>
                </a:xfrm>
                <a:custGeom>
                  <a:avLst/>
                  <a:gdLst>
                    <a:gd name="connsiteX0" fmla="*/ 0 w 41655"/>
                    <a:gd name="connsiteY0" fmla="*/ 0 h 4381"/>
                    <a:gd name="connsiteX1" fmla="*/ 41656 w 41655"/>
                    <a:gd name="connsiteY1" fmla="*/ 0 h 4381"/>
                    <a:gd name="connsiteX2" fmla="*/ 41656 w 41655"/>
                    <a:gd name="connsiteY2" fmla="*/ 4381 h 4381"/>
                    <a:gd name="connsiteX3" fmla="*/ 0 w 41655"/>
                    <a:gd name="connsiteY3" fmla="*/ 4381 h 4381"/>
                  </a:gdLst>
                  <a:ahLst/>
                  <a:cxnLst>
                    <a:cxn ang="0">
                      <a:pos x="connsiteX0" y="connsiteY0"/>
                    </a:cxn>
                    <a:cxn ang="0">
                      <a:pos x="connsiteX1" y="connsiteY1"/>
                    </a:cxn>
                    <a:cxn ang="0">
                      <a:pos x="connsiteX2" y="connsiteY2"/>
                    </a:cxn>
                    <a:cxn ang="0">
                      <a:pos x="connsiteX3" y="connsiteY3"/>
                    </a:cxn>
                  </a:cxnLst>
                  <a:rect l="l" t="t" r="r" b="b"/>
                  <a:pathLst>
                    <a:path w="41655" h="4381">
                      <a:moveTo>
                        <a:pt x="0" y="0"/>
                      </a:moveTo>
                      <a:lnTo>
                        <a:pt x="41656" y="0"/>
                      </a:lnTo>
                      <a:lnTo>
                        <a:pt x="41656" y="4381"/>
                      </a:lnTo>
                      <a:lnTo>
                        <a:pt x="0" y="4381"/>
                      </a:lnTo>
                      <a:close/>
                    </a:path>
                  </a:pathLst>
                </a:custGeom>
                <a:grpFill/>
                <a:ln w="6350"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D4647"/>
                    </a:solidFill>
                    <a:effectLst/>
                    <a:uLnTx/>
                    <a:uFillTx/>
                  </a:endParaRPr>
                </a:p>
              </p:txBody>
            </p:sp>
            <p:sp>
              <p:nvSpPr>
                <p:cNvPr id="118" name="Freeform: Shape 117">
                  <a:extLst>
                    <a:ext uri="{FF2B5EF4-FFF2-40B4-BE49-F238E27FC236}">
                      <a16:creationId xmlns:a16="http://schemas.microsoft.com/office/drawing/2014/main" id="{0A7FC485-A152-4C62-B4BC-2C67739D0C0C}"/>
                    </a:ext>
                  </a:extLst>
                </p:cNvPr>
                <p:cNvSpPr/>
                <p:nvPr/>
              </p:nvSpPr>
              <p:spPr>
                <a:xfrm>
                  <a:off x="11854497" y="5791517"/>
                  <a:ext cx="42418" cy="38100"/>
                </a:xfrm>
                <a:custGeom>
                  <a:avLst/>
                  <a:gdLst>
                    <a:gd name="connsiteX0" fmla="*/ 0 w 42418"/>
                    <a:gd name="connsiteY0" fmla="*/ 0 h 38100"/>
                    <a:gd name="connsiteX1" fmla="*/ 42418 w 42418"/>
                    <a:gd name="connsiteY1" fmla="*/ 0 h 38100"/>
                    <a:gd name="connsiteX2" fmla="*/ 42418 w 42418"/>
                    <a:gd name="connsiteY2" fmla="*/ 38100 h 38100"/>
                    <a:gd name="connsiteX3" fmla="*/ 0 w 42418"/>
                    <a:gd name="connsiteY3" fmla="*/ 38100 h 38100"/>
                  </a:gdLst>
                  <a:ahLst/>
                  <a:cxnLst>
                    <a:cxn ang="0">
                      <a:pos x="connsiteX0" y="connsiteY0"/>
                    </a:cxn>
                    <a:cxn ang="0">
                      <a:pos x="connsiteX1" y="connsiteY1"/>
                    </a:cxn>
                    <a:cxn ang="0">
                      <a:pos x="connsiteX2" y="connsiteY2"/>
                    </a:cxn>
                    <a:cxn ang="0">
                      <a:pos x="connsiteX3" y="connsiteY3"/>
                    </a:cxn>
                  </a:cxnLst>
                  <a:rect l="l" t="t" r="r" b="b"/>
                  <a:pathLst>
                    <a:path w="42418" h="38100">
                      <a:moveTo>
                        <a:pt x="0" y="0"/>
                      </a:moveTo>
                      <a:lnTo>
                        <a:pt x="42418" y="0"/>
                      </a:lnTo>
                      <a:lnTo>
                        <a:pt x="42418" y="38100"/>
                      </a:lnTo>
                      <a:lnTo>
                        <a:pt x="0" y="38100"/>
                      </a:lnTo>
                      <a:close/>
                    </a:path>
                  </a:pathLst>
                </a:custGeom>
                <a:solidFill>
                  <a:srgbClr val="C8C9C7"/>
                </a:solidFill>
                <a:ln w="6350"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D4647"/>
                    </a:solidFill>
                    <a:effectLst/>
                    <a:uLnTx/>
                    <a:uFillTx/>
                  </a:endParaRPr>
                </a:p>
              </p:txBody>
            </p:sp>
          </p:grpSp>
          <p:sp>
            <p:nvSpPr>
              <p:cNvPr id="113" name="Freeform: Shape 112">
                <a:extLst>
                  <a:ext uri="{FF2B5EF4-FFF2-40B4-BE49-F238E27FC236}">
                    <a16:creationId xmlns:a16="http://schemas.microsoft.com/office/drawing/2014/main" id="{189B2A7E-1137-438B-B25A-C73A7989BFD3}"/>
                  </a:ext>
                </a:extLst>
              </p:cNvPr>
              <p:cNvSpPr/>
              <p:nvPr/>
            </p:nvSpPr>
            <p:spPr>
              <a:xfrm>
                <a:off x="11838178" y="6162294"/>
                <a:ext cx="73152" cy="39877"/>
              </a:xfrm>
              <a:custGeom>
                <a:avLst/>
                <a:gdLst>
                  <a:gd name="connsiteX0" fmla="*/ 38671 w 73152"/>
                  <a:gd name="connsiteY0" fmla="*/ 0 h 39877"/>
                  <a:gd name="connsiteX1" fmla="*/ 73152 w 73152"/>
                  <a:gd name="connsiteY1" fmla="*/ 37465 h 39877"/>
                  <a:gd name="connsiteX2" fmla="*/ 69914 w 73152"/>
                  <a:gd name="connsiteY2" fmla="*/ 39878 h 39877"/>
                  <a:gd name="connsiteX3" fmla="*/ 36576 w 73152"/>
                  <a:gd name="connsiteY3" fmla="*/ 3747 h 39877"/>
                  <a:gd name="connsiteX4" fmla="*/ 3239 w 73152"/>
                  <a:gd name="connsiteY4" fmla="*/ 39878 h 39877"/>
                  <a:gd name="connsiteX5" fmla="*/ 0 w 73152"/>
                  <a:gd name="connsiteY5" fmla="*/ 37465 h 39877"/>
                  <a:gd name="connsiteX6" fmla="*/ 34480 w 73152"/>
                  <a:gd name="connsiteY6" fmla="*/ 0 h 39877"/>
                  <a:gd name="connsiteX7" fmla="*/ 38671 w 73152"/>
                  <a:gd name="connsiteY7" fmla="*/ 0 h 398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3152" h="39877">
                    <a:moveTo>
                      <a:pt x="38671" y="0"/>
                    </a:moveTo>
                    <a:lnTo>
                      <a:pt x="73152" y="37465"/>
                    </a:lnTo>
                    <a:lnTo>
                      <a:pt x="69914" y="39878"/>
                    </a:lnTo>
                    <a:lnTo>
                      <a:pt x="36576" y="3747"/>
                    </a:lnTo>
                    <a:lnTo>
                      <a:pt x="3239" y="39878"/>
                    </a:lnTo>
                    <a:lnTo>
                      <a:pt x="0" y="37465"/>
                    </a:lnTo>
                    <a:lnTo>
                      <a:pt x="34480" y="0"/>
                    </a:lnTo>
                    <a:lnTo>
                      <a:pt x="38671" y="0"/>
                    </a:lnTo>
                    <a:close/>
                  </a:path>
                </a:pathLst>
              </a:custGeom>
              <a:grpFill/>
              <a:ln w="6350" cap="flat">
                <a:solidFill>
                  <a:srgbClr val="CFD0CE"/>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D4647"/>
                  </a:solidFill>
                  <a:effectLst/>
                  <a:uLnTx/>
                  <a:uFillTx/>
                </a:endParaRPr>
              </a:p>
            </p:txBody>
          </p:sp>
        </p:grpSp>
      </p:grpSp>
      <p:sp>
        <p:nvSpPr>
          <p:cNvPr id="134" name="Rectangle 6">
            <a:extLst>
              <a:ext uri="{FF2B5EF4-FFF2-40B4-BE49-F238E27FC236}">
                <a16:creationId xmlns:a16="http://schemas.microsoft.com/office/drawing/2014/main" id="{9A684274-C089-4AB2-BFEC-75EED3280300}"/>
              </a:ext>
            </a:extLst>
          </p:cNvPr>
          <p:cNvSpPr txBox="1">
            <a:spLocks noChangeArrowheads="1"/>
          </p:cNvSpPr>
          <p:nvPr userDrawn="1"/>
        </p:nvSpPr>
        <p:spPr bwMode="ltGray">
          <a:xfrm>
            <a:off x="10363200" y="203016"/>
            <a:ext cx="592666" cy="13849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defRPr sz="700"/>
            </a:lvl1pPr>
          </a:lstStyle>
          <a:p>
            <a:pPr marL="0" marR="0" lvl="0" indent="0" algn="r" defTabSz="914400" eaLnBrk="0" fontAlgn="base" latinLnBrk="0" hangingPunct="0">
              <a:lnSpc>
                <a:spcPct val="100000"/>
              </a:lnSpc>
              <a:spcBef>
                <a:spcPct val="0"/>
              </a:spcBef>
              <a:spcAft>
                <a:spcPct val="0"/>
              </a:spcAft>
              <a:buClrTx/>
              <a:buSzTx/>
              <a:buFontTx/>
              <a:buNone/>
              <a:tabLst/>
              <a:defRPr/>
            </a:pPr>
            <a:fld id="{8D7874BA-B114-4D1F-A449-70AD1C45E88A}" type="slidenum">
              <a:rPr kumimoji="0" lang="en-US" sz="900" b="0" i="0" u="none" strike="noStrike" kern="0" cap="none" spc="0" normalizeH="0" baseline="0" noProof="0" smtClean="0">
                <a:ln>
                  <a:noFill/>
                </a:ln>
                <a:solidFill>
                  <a:srgbClr val="B8B7B9"/>
                </a:solidFill>
                <a:effectLst/>
                <a:uLnTx/>
                <a:uFillTx/>
                <a:ea typeface="MS PGothic" pitchFamily="34" charset="-128"/>
              </a:rPr>
              <a:pPr marL="0" marR="0" lvl="0" indent="0" algn="r" defTabSz="914400" eaLnBrk="0" fontAlgn="base" latinLnBrk="0" hangingPunct="0">
                <a:lnSpc>
                  <a:spcPct val="100000"/>
                </a:lnSpc>
                <a:spcBef>
                  <a:spcPct val="0"/>
                </a:spcBef>
                <a:spcAft>
                  <a:spcPct val="0"/>
                </a:spcAft>
                <a:buClrTx/>
                <a:buSzTx/>
                <a:buFontTx/>
                <a:buNone/>
                <a:tabLst/>
                <a:defRPr/>
              </a:pPr>
              <a:t>‹#›</a:t>
            </a:fld>
            <a:endParaRPr kumimoji="0" lang="en-US" sz="900" b="0" i="0" u="none" strike="noStrike" kern="0" cap="none" spc="0" normalizeH="0" baseline="0" noProof="0" dirty="0">
              <a:ln>
                <a:noFill/>
              </a:ln>
              <a:solidFill>
                <a:srgbClr val="B8B7B9"/>
              </a:solidFill>
              <a:effectLst/>
              <a:uLnTx/>
              <a:uFillTx/>
              <a:ea typeface="MS PGothic" pitchFamily="34" charset="-128"/>
            </a:endParaRPr>
          </a:p>
        </p:txBody>
      </p:sp>
      <p:sp>
        <p:nvSpPr>
          <p:cNvPr id="135" name="Freeform: Shape 134">
            <a:extLst>
              <a:ext uri="{FF2B5EF4-FFF2-40B4-BE49-F238E27FC236}">
                <a16:creationId xmlns:a16="http://schemas.microsoft.com/office/drawing/2014/main" id="{0B736019-6C3D-4676-A1FB-36A31E7875B4}"/>
              </a:ext>
            </a:extLst>
          </p:cNvPr>
          <p:cNvSpPr/>
          <p:nvPr userDrawn="1"/>
        </p:nvSpPr>
        <p:spPr>
          <a:xfrm>
            <a:off x="10100761" y="2762"/>
            <a:ext cx="702181" cy="675861"/>
          </a:xfrm>
          <a:custGeom>
            <a:avLst/>
            <a:gdLst>
              <a:gd name="connsiteX0" fmla="*/ 219875 w 702181"/>
              <a:gd name="connsiteY0" fmla="*/ 0 h 675861"/>
              <a:gd name="connsiteX1" fmla="*/ 570965 w 702181"/>
              <a:gd name="connsiteY1" fmla="*/ 0 h 675861"/>
              <a:gd name="connsiteX2" fmla="*/ 702181 w 702181"/>
              <a:gd name="connsiteY2" fmla="*/ 183874 h 675861"/>
              <a:gd name="connsiteX3" fmla="*/ 351091 w 702181"/>
              <a:gd name="connsiteY3" fmla="*/ 675861 h 675861"/>
              <a:gd name="connsiteX4" fmla="*/ 0 w 702181"/>
              <a:gd name="connsiteY4" fmla="*/ 675861 h 675861"/>
              <a:gd name="connsiteX5" fmla="*/ 351091 w 702181"/>
              <a:gd name="connsiteY5" fmla="*/ 183874 h 675861"/>
              <a:gd name="connsiteX6" fmla="*/ 219875 w 702181"/>
              <a:gd name="connsiteY6" fmla="*/ 0 h 6758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02181" h="675861">
                <a:moveTo>
                  <a:pt x="219875" y="0"/>
                </a:moveTo>
                <a:lnTo>
                  <a:pt x="570965" y="0"/>
                </a:lnTo>
                <a:lnTo>
                  <a:pt x="702181" y="183874"/>
                </a:lnTo>
                <a:lnTo>
                  <a:pt x="351091" y="675861"/>
                </a:lnTo>
                <a:lnTo>
                  <a:pt x="0" y="675861"/>
                </a:lnTo>
                <a:lnTo>
                  <a:pt x="351091" y="183874"/>
                </a:lnTo>
                <a:lnTo>
                  <a:pt x="219875" y="0"/>
                </a:lnTo>
                <a:close/>
              </a:path>
            </a:pathLst>
          </a:custGeom>
          <a:solidFill>
            <a:srgbClr val="C8C9C7">
              <a:alpha val="9000"/>
            </a:srgbClr>
          </a:solid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90000"/>
              </a:lnSpc>
              <a:spcBef>
                <a:spcPts val="80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PTCRaleway"/>
              <a:ea typeface="+mn-ea"/>
              <a:cs typeface="+mn-cs"/>
            </a:endParaRPr>
          </a:p>
        </p:txBody>
      </p:sp>
    </p:spTree>
    <p:extLst>
      <p:ext uri="{BB962C8B-B14F-4D97-AF65-F5344CB8AC3E}">
        <p14:creationId xmlns:p14="http://schemas.microsoft.com/office/powerpoint/2010/main" val="13206951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Icons w 3 Content">
    <p:spTree>
      <p:nvGrpSpPr>
        <p:cNvPr id="1" name=""/>
        <p:cNvGrpSpPr/>
        <p:nvPr/>
      </p:nvGrpSpPr>
      <p:grpSpPr>
        <a:xfrm>
          <a:off x="0" y="0"/>
          <a:ext cx="0" cy="0"/>
          <a:chOff x="0" y="0"/>
          <a:chExt cx="0" cy="0"/>
        </a:xfrm>
      </p:grpSpPr>
      <p:graphicFrame>
        <p:nvGraphicFramePr>
          <p:cNvPr id="41" name="Object 40" hidden="1">
            <a:extLst>
              <a:ext uri="{FF2B5EF4-FFF2-40B4-BE49-F238E27FC236}">
                <a16:creationId xmlns:a16="http://schemas.microsoft.com/office/drawing/2014/main" id="{917EBC3C-F2FD-4799-BA0A-65D895E6360A}"/>
              </a:ext>
            </a:extLst>
          </p:cNvPr>
          <p:cNvGraphicFramePr>
            <a:graphicFrameLocks noChangeAspect="1"/>
          </p:cNvGraphicFramePr>
          <p:nvPr>
            <p:custDataLst>
              <p:tags r:id="rId1"/>
            </p:custDataLst>
            <p:extLst>
              <p:ext uri="{D42A27DB-BD31-4B8C-83A1-F6EECF244321}">
                <p14:modId xmlns:p14="http://schemas.microsoft.com/office/powerpoint/2010/main" val="4183687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41" name="Object 40" hidden="1">
                        <a:extLst>
                          <a:ext uri="{FF2B5EF4-FFF2-40B4-BE49-F238E27FC236}">
                            <a16:creationId xmlns:a16="http://schemas.microsoft.com/office/drawing/2014/main" id="{917EBC3C-F2FD-4799-BA0A-65D895E6360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0" name="Rectangle 39" hidden="1">
            <a:extLst>
              <a:ext uri="{FF2B5EF4-FFF2-40B4-BE49-F238E27FC236}">
                <a16:creationId xmlns:a16="http://schemas.microsoft.com/office/drawing/2014/main" id="{2510D0F0-12AD-45C1-9B94-28859223557D}"/>
              </a:ext>
            </a:extLst>
          </p:cNvPr>
          <p:cNvSpPr/>
          <p:nvPr>
            <p:custDataLst>
              <p:tags r:id="rId2"/>
            </p:custDataLst>
          </p:nvPr>
        </p:nvSpPr>
        <p:spPr>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lnSpc>
                <a:spcPct val="90000"/>
              </a:lnSpc>
              <a:spcBef>
                <a:spcPts val="800"/>
              </a:spcBef>
            </a:pPr>
            <a:endParaRPr lang="en-US" sz="3200" b="0" i="0" baseline="0" dirty="0">
              <a:solidFill>
                <a:schemeClr val="bg1"/>
              </a:solidFill>
              <a:latin typeface="PTCRaleway" panose="020B0503030101060003" pitchFamily="34" charset="0"/>
              <a:ea typeface="+mj-ea"/>
              <a:cs typeface="+mj-cs"/>
              <a:sym typeface="Century Gothic" panose="020B0502020202020204" pitchFamily="34" charset="0"/>
            </a:endParaRPr>
          </a:p>
        </p:txBody>
      </p:sp>
      <p:sp>
        <p:nvSpPr>
          <p:cNvPr id="2" name="Title 1">
            <a:extLst>
              <a:ext uri="{FF2B5EF4-FFF2-40B4-BE49-F238E27FC236}">
                <a16:creationId xmlns:a16="http://schemas.microsoft.com/office/drawing/2014/main" id="{03ABE548-101B-4EAC-8CB7-BBD49E60436D}"/>
              </a:ext>
            </a:extLst>
          </p:cNvPr>
          <p:cNvSpPr>
            <a:spLocks noGrp="1"/>
          </p:cNvSpPr>
          <p:nvPr>
            <p:ph type="title" hasCustomPrompt="1"/>
          </p:nvPr>
        </p:nvSpPr>
        <p:spPr/>
        <p:txBody>
          <a:bodyPr/>
          <a:lstStyle/>
          <a:p>
            <a:r>
              <a:rPr lang="en-US" dirty="0"/>
              <a:t>add title – keep it brief</a:t>
            </a:r>
          </a:p>
        </p:txBody>
      </p:sp>
      <p:sp>
        <p:nvSpPr>
          <p:cNvPr id="33" name="Text Placeholder 32">
            <a:extLst>
              <a:ext uri="{FF2B5EF4-FFF2-40B4-BE49-F238E27FC236}">
                <a16:creationId xmlns:a16="http://schemas.microsoft.com/office/drawing/2014/main" id="{80B84918-AECE-4E9D-811A-C362EB2F227E}"/>
              </a:ext>
            </a:extLst>
          </p:cNvPr>
          <p:cNvSpPr>
            <a:spLocks noGrp="1"/>
          </p:cNvSpPr>
          <p:nvPr>
            <p:ph type="body" sz="quarter" idx="28" hasCustomPrompt="1"/>
          </p:nvPr>
        </p:nvSpPr>
        <p:spPr>
          <a:xfrm>
            <a:off x="665480" y="2862992"/>
            <a:ext cx="2834640" cy="235449"/>
          </a:xfrm>
        </p:spPr>
        <p:txBody>
          <a:bodyPr anchor="ctr" anchorCtr="0">
            <a:spAutoFit/>
          </a:bodyPr>
          <a:lstStyle>
            <a:lvl1pPr marL="0" indent="0" algn="ctr">
              <a:lnSpc>
                <a:spcPct val="85000"/>
              </a:lnSpc>
              <a:spcBef>
                <a:spcPts val="0"/>
              </a:spcBef>
              <a:buFontTx/>
              <a:buNone/>
              <a:defRPr sz="1800" b="1">
                <a:solidFill>
                  <a:schemeClr val="tx1"/>
                </a:solidFill>
              </a:defRPr>
            </a:lvl1pPr>
          </a:lstStyle>
          <a:p>
            <a:pPr lvl="0"/>
            <a:r>
              <a:rPr lang="en-US" dirty="0"/>
              <a:t>Add title</a:t>
            </a:r>
          </a:p>
        </p:txBody>
      </p:sp>
      <p:sp>
        <p:nvSpPr>
          <p:cNvPr id="35" name="Text Placeholder 34">
            <a:extLst>
              <a:ext uri="{FF2B5EF4-FFF2-40B4-BE49-F238E27FC236}">
                <a16:creationId xmlns:a16="http://schemas.microsoft.com/office/drawing/2014/main" id="{CFDD1C55-CC28-4EF8-AC55-64EE2B45BE57}"/>
              </a:ext>
            </a:extLst>
          </p:cNvPr>
          <p:cNvSpPr>
            <a:spLocks noGrp="1"/>
          </p:cNvSpPr>
          <p:nvPr>
            <p:ph type="body" sz="quarter" idx="29" hasCustomPrompt="1"/>
          </p:nvPr>
        </p:nvSpPr>
        <p:spPr>
          <a:xfrm>
            <a:off x="665163" y="4830063"/>
            <a:ext cx="2835275" cy="502920"/>
          </a:xfrm>
        </p:spPr>
        <p:txBody>
          <a:bodyPr>
            <a:spAutoFit/>
          </a:bodyPr>
          <a:lstStyle>
            <a:lvl1pPr marL="285750" indent="-285750" algn="ctr">
              <a:spcBef>
                <a:spcPts val="600"/>
              </a:spcBef>
              <a:buFontTx/>
              <a:buNone/>
              <a:defRPr sz="1600"/>
            </a:lvl1pPr>
            <a:lvl2pPr marL="386674" indent="0" algn="ctr">
              <a:buFontTx/>
              <a:buNone/>
              <a:defRPr sz="1600"/>
            </a:lvl2pPr>
            <a:lvl3pPr marL="704088" indent="0" algn="ctr">
              <a:buFontTx/>
              <a:buNone/>
              <a:defRPr sz="1600"/>
            </a:lvl3pPr>
            <a:lvl4pPr marL="987552" indent="0" algn="ctr">
              <a:buFontTx/>
              <a:buNone/>
              <a:defRPr sz="1600"/>
            </a:lvl4pPr>
            <a:lvl5pPr marL="1261872" indent="0" algn="ctr">
              <a:buFontTx/>
              <a:buNone/>
              <a:defRPr sz="1600"/>
            </a:lvl5pPr>
          </a:lstStyle>
          <a:p>
            <a:pPr marL="0" marR="0" lvl="0" indent="0" algn="ctr" defTabSz="914400" fontAlgn="auto">
              <a:lnSpc>
                <a:spcPct val="100000"/>
              </a:lnSpc>
              <a:spcBef>
                <a:spcPts val="0"/>
              </a:spcBef>
              <a:spcAft>
                <a:spcPts val="0"/>
              </a:spcAft>
              <a:buClrTx/>
              <a:buSzTx/>
              <a:buFontTx/>
              <a:buNone/>
              <a:tabLst/>
            </a:pPr>
            <a:r>
              <a:rPr lang="en-US" dirty="0"/>
              <a:t>Add a short paragraph – not too long – or a bulleted list</a:t>
            </a:r>
          </a:p>
        </p:txBody>
      </p:sp>
      <p:sp>
        <p:nvSpPr>
          <p:cNvPr id="36" name="Text Placeholder 32">
            <a:extLst>
              <a:ext uri="{FF2B5EF4-FFF2-40B4-BE49-F238E27FC236}">
                <a16:creationId xmlns:a16="http://schemas.microsoft.com/office/drawing/2014/main" id="{CDE670DD-0AD0-49A7-BBB7-6E14E24C352B}"/>
              </a:ext>
            </a:extLst>
          </p:cNvPr>
          <p:cNvSpPr>
            <a:spLocks noGrp="1"/>
          </p:cNvSpPr>
          <p:nvPr>
            <p:ph type="body" sz="quarter" idx="30" hasCustomPrompt="1"/>
          </p:nvPr>
        </p:nvSpPr>
        <p:spPr>
          <a:xfrm>
            <a:off x="4696308" y="2862992"/>
            <a:ext cx="2834640" cy="235449"/>
          </a:xfrm>
        </p:spPr>
        <p:txBody>
          <a:bodyPr anchor="ctr" anchorCtr="0">
            <a:spAutoFit/>
          </a:bodyPr>
          <a:lstStyle>
            <a:lvl1pPr marL="0" indent="0" algn="ctr">
              <a:lnSpc>
                <a:spcPct val="85000"/>
              </a:lnSpc>
              <a:spcBef>
                <a:spcPts val="0"/>
              </a:spcBef>
              <a:buFontTx/>
              <a:buNone/>
              <a:defRPr sz="1800" b="1">
                <a:solidFill>
                  <a:schemeClr val="tx1"/>
                </a:solidFill>
              </a:defRPr>
            </a:lvl1pPr>
          </a:lstStyle>
          <a:p>
            <a:pPr lvl="0"/>
            <a:r>
              <a:rPr lang="en-US" dirty="0"/>
              <a:t>Add title</a:t>
            </a:r>
          </a:p>
        </p:txBody>
      </p:sp>
      <p:sp>
        <p:nvSpPr>
          <p:cNvPr id="37" name="Text Placeholder 34">
            <a:extLst>
              <a:ext uri="{FF2B5EF4-FFF2-40B4-BE49-F238E27FC236}">
                <a16:creationId xmlns:a16="http://schemas.microsoft.com/office/drawing/2014/main" id="{FC9DE6F9-8E54-4D72-AB42-FB47C6AFD250}"/>
              </a:ext>
            </a:extLst>
          </p:cNvPr>
          <p:cNvSpPr>
            <a:spLocks noGrp="1"/>
          </p:cNvSpPr>
          <p:nvPr>
            <p:ph type="body" sz="quarter" idx="31" hasCustomPrompt="1"/>
          </p:nvPr>
        </p:nvSpPr>
        <p:spPr>
          <a:xfrm>
            <a:off x="4695991" y="4830063"/>
            <a:ext cx="2835275" cy="502920"/>
          </a:xfrm>
        </p:spPr>
        <p:txBody>
          <a:bodyPr>
            <a:spAutoFit/>
          </a:bodyPr>
          <a:lstStyle>
            <a:lvl1pPr marL="285750" indent="-285750" algn="ctr">
              <a:spcBef>
                <a:spcPts val="600"/>
              </a:spcBef>
              <a:buFontTx/>
              <a:buNone/>
              <a:defRPr sz="1600"/>
            </a:lvl1pPr>
            <a:lvl2pPr marL="386674" indent="0" algn="ctr">
              <a:buFontTx/>
              <a:buNone/>
              <a:defRPr sz="1600"/>
            </a:lvl2pPr>
            <a:lvl3pPr marL="704088" indent="0" algn="ctr">
              <a:buFontTx/>
              <a:buNone/>
              <a:defRPr sz="1600"/>
            </a:lvl3pPr>
            <a:lvl4pPr marL="987552" indent="0" algn="ctr">
              <a:buFontTx/>
              <a:buNone/>
              <a:defRPr sz="1600"/>
            </a:lvl4pPr>
            <a:lvl5pPr marL="1261872" indent="0" algn="ctr">
              <a:buFontTx/>
              <a:buNone/>
              <a:defRPr sz="1600"/>
            </a:lvl5pPr>
          </a:lstStyle>
          <a:p>
            <a:pPr marL="0" marR="0" lvl="0" indent="0" algn="ctr" defTabSz="914400" fontAlgn="auto">
              <a:lnSpc>
                <a:spcPct val="100000"/>
              </a:lnSpc>
              <a:spcBef>
                <a:spcPts val="0"/>
              </a:spcBef>
              <a:spcAft>
                <a:spcPts val="0"/>
              </a:spcAft>
              <a:buClrTx/>
              <a:buSzTx/>
              <a:buFontTx/>
              <a:buNone/>
              <a:tabLst/>
            </a:pPr>
            <a:r>
              <a:rPr lang="en-US" dirty="0"/>
              <a:t>Add a short paragraph – not too long – or a bulleted list</a:t>
            </a:r>
          </a:p>
        </p:txBody>
      </p:sp>
      <p:sp>
        <p:nvSpPr>
          <p:cNvPr id="38" name="Text Placeholder 32">
            <a:extLst>
              <a:ext uri="{FF2B5EF4-FFF2-40B4-BE49-F238E27FC236}">
                <a16:creationId xmlns:a16="http://schemas.microsoft.com/office/drawing/2014/main" id="{3183D2B9-482A-44BB-9D5F-DBFE89D19F85}"/>
              </a:ext>
            </a:extLst>
          </p:cNvPr>
          <p:cNvSpPr>
            <a:spLocks noGrp="1"/>
          </p:cNvSpPr>
          <p:nvPr>
            <p:ph type="body" sz="quarter" idx="32" hasCustomPrompt="1"/>
          </p:nvPr>
        </p:nvSpPr>
        <p:spPr>
          <a:xfrm>
            <a:off x="8727756" y="2862992"/>
            <a:ext cx="2834640" cy="235449"/>
          </a:xfrm>
        </p:spPr>
        <p:txBody>
          <a:bodyPr anchor="ctr" anchorCtr="0">
            <a:spAutoFit/>
          </a:bodyPr>
          <a:lstStyle>
            <a:lvl1pPr marL="0" indent="0" algn="ctr">
              <a:lnSpc>
                <a:spcPct val="85000"/>
              </a:lnSpc>
              <a:spcBef>
                <a:spcPts val="0"/>
              </a:spcBef>
              <a:buFontTx/>
              <a:buNone/>
              <a:defRPr sz="1800" b="1">
                <a:solidFill>
                  <a:schemeClr val="tx1"/>
                </a:solidFill>
              </a:defRPr>
            </a:lvl1pPr>
          </a:lstStyle>
          <a:p>
            <a:pPr lvl="0"/>
            <a:r>
              <a:rPr lang="en-US" dirty="0"/>
              <a:t>Add title</a:t>
            </a:r>
          </a:p>
        </p:txBody>
      </p:sp>
      <p:sp>
        <p:nvSpPr>
          <p:cNvPr id="39" name="Text Placeholder 34">
            <a:extLst>
              <a:ext uri="{FF2B5EF4-FFF2-40B4-BE49-F238E27FC236}">
                <a16:creationId xmlns:a16="http://schemas.microsoft.com/office/drawing/2014/main" id="{775FB311-5594-4514-9EFB-DF05142A6E8E}"/>
              </a:ext>
            </a:extLst>
          </p:cNvPr>
          <p:cNvSpPr>
            <a:spLocks noGrp="1"/>
          </p:cNvSpPr>
          <p:nvPr>
            <p:ph type="body" sz="quarter" idx="33" hasCustomPrompt="1"/>
          </p:nvPr>
        </p:nvSpPr>
        <p:spPr>
          <a:xfrm>
            <a:off x="8727439" y="4830063"/>
            <a:ext cx="2835275" cy="502920"/>
          </a:xfrm>
        </p:spPr>
        <p:txBody>
          <a:bodyPr>
            <a:spAutoFit/>
          </a:bodyPr>
          <a:lstStyle>
            <a:lvl1pPr marL="285750" indent="-285750" algn="ctr">
              <a:spcBef>
                <a:spcPts val="600"/>
              </a:spcBef>
              <a:buFontTx/>
              <a:buNone/>
              <a:defRPr sz="1600"/>
            </a:lvl1pPr>
            <a:lvl2pPr marL="386674" indent="0" algn="ctr">
              <a:buFontTx/>
              <a:buNone/>
              <a:defRPr sz="1600"/>
            </a:lvl2pPr>
            <a:lvl3pPr marL="704088" indent="0" algn="ctr">
              <a:buFontTx/>
              <a:buNone/>
              <a:defRPr sz="1600"/>
            </a:lvl3pPr>
            <a:lvl4pPr marL="987552" indent="0" algn="ctr">
              <a:buFontTx/>
              <a:buNone/>
              <a:defRPr sz="1600"/>
            </a:lvl4pPr>
            <a:lvl5pPr marL="1261872" indent="0" algn="ctr">
              <a:buFontTx/>
              <a:buNone/>
              <a:defRPr sz="1600"/>
            </a:lvl5pPr>
          </a:lstStyle>
          <a:p>
            <a:pPr marL="0" marR="0" lvl="0" indent="0" algn="ctr" defTabSz="914400" fontAlgn="auto">
              <a:lnSpc>
                <a:spcPct val="100000"/>
              </a:lnSpc>
              <a:spcBef>
                <a:spcPts val="0"/>
              </a:spcBef>
              <a:spcAft>
                <a:spcPts val="0"/>
              </a:spcAft>
              <a:buClrTx/>
              <a:buSzTx/>
              <a:buFontTx/>
              <a:buNone/>
              <a:tabLst/>
            </a:pPr>
            <a:r>
              <a:rPr lang="en-US" dirty="0"/>
              <a:t>Add a short paragraph – not too long – or a bulleted list</a:t>
            </a:r>
          </a:p>
        </p:txBody>
      </p:sp>
      <p:sp>
        <p:nvSpPr>
          <p:cNvPr id="20" name="Picture Placeholder 6">
            <a:extLst>
              <a:ext uri="{FF2B5EF4-FFF2-40B4-BE49-F238E27FC236}">
                <a16:creationId xmlns:a16="http://schemas.microsoft.com/office/drawing/2014/main" id="{8D4CC7BD-E27E-4EE8-A7DB-4AC115B1C01D}"/>
              </a:ext>
            </a:extLst>
          </p:cNvPr>
          <p:cNvSpPr>
            <a:spLocks noGrp="1"/>
          </p:cNvSpPr>
          <p:nvPr>
            <p:ph type="pic" sz="quarter" idx="39" hasCustomPrompt="1"/>
          </p:nvPr>
        </p:nvSpPr>
        <p:spPr>
          <a:xfrm>
            <a:off x="1775092" y="3754367"/>
            <a:ext cx="615416" cy="365760"/>
          </a:xfrm>
        </p:spPr>
        <p:txBody>
          <a:bodyPr/>
          <a:lstStyle>
            <a:lvl1pPr marL="0" indent="0" algn="ctr">
              <a:buFontTx/>
              <a:buNone/>
              <a:defRPr sz="800" b="1">
                <a:solidFill>
                  <a:schemeClr val="accent3"/>
                </a:solidFill>
              </a:defRPr>
            </a:lvl1pPr>
          </a:lstStyle>
          <a:p>
            <a:r>
              <a:rPr lang="en-US" dirty="0"/>
              <a:t>Paste icon from PTC PPT Library</a:t>
            </a:r>
          </a:p>
        </p:txBody>
      </p:sp>
      <p:sp>
        <p:nvSpPr>
          <p:cNvPr id="21" name="Picture Placeholder 6">
            <a:extLst>
              <a:ext uri="{FF2B5EF4-FFF2-40B4-BE49-F238E27FC236}">
                <a16:creationId xmlns:a16="http://schemas.microsoft.com/office/drawing/2014/main" id="{F8AD2306-5A92-4FC0-BFA9-0F7016A6CDAB}"/>
              </a:ext>
            </a:extLst>
          </p:cNvPr>
          <p:cNvSpPr>
            <a:spLocks noGrp="1"/>
          </p:cNvSpPr>
          <p:nvPr>
            <p:ph type="pic" sz="quarter" idx="40" hasCustomPrompt="1"/>
          </p:nvPr>
        </p:nvSpPr>
        <p:spPr>
          <a:xfrm>
            <a:off x="5805920" y="3754367"/>
            <a:ext cx="615416" cy="365760"/>
          </a:xfrm>
        </p:spPr>
        <p:txBody>
          <a:bodyPr/>
          <a:lstStyle>
            <a:lvl1pPr marL="0" indent="0" algn="ctr">
              <a:buFontTx/>
              <a:buNone/>
              <a:defRPr sz="800" b="1">
                <a:solidFill>
                  <a:schemeClr val="accent3"/>
                </a:solidFill>
              </a:defRPr>
            </a:lvl1pPr>
          </a:lstStyle>
          <a:p>
            <a:r>
              <a:rPr lang="en-US" dirty="0"/>
              <a:t>Paste icon from PTC PPT Library</a:t>
            </a:r>
          </a:p>
        </p:txBody>
      </p:sp>
      <p:sp>
        <p:nvSpPr>
          <p:cNvPr id="22" name="Picture Placeholder 6">
            <a:extLst>
              <a:ext uri="{FF2B5EF4-FFF2-40B4-BE49-F238E27FC236}">
                <a16:creationId xmlns:a16="http://schemas.microsoft.com/office/drawing/2014/main" id="{B0D23108-9BEB-4E78-980F-330123D90595}"/>
              </a:ext>
            </a:extLst>
          </p:cNvPr>
          <p:cNvSpPr>
            <a:spLocks noGrp="1"/>
          </p:cNvSpPr>
          <p:nvPr>
            <p:ph type="pic" sz="quarter" idx="41" hasCustomPrompt="1"/>
          </p:nvPr>
        </p:nvSpPr>
        <p:spPr>
          <a:xfrm>
            <a:off x="9837368" y="3754367"/>
            <a:ext cx="615416" cy="365760"/>
          </a:xfrm>
        </p:spPr>
        <p:txBody>
          <a:bodyPr/>
          <a:lstStyle>
            <a:lvl1pPr marL="0" indent="0" algn="ctr">
              <a:buFontTx/>
              <a:buNone/>
              <a:defRPr sz="800" b="1">
                <a:solidFill>
                  <a:schemeClr val="accent3"/>
                </a:solidFill>
              </a:defRPr>
            </a:lvl1pPr>
          </a:lstStyle>
          <a:p>
            <a:r>
              <a:rPr lang="en-US" dirty="0"/>
              <a:t>Paste icon from PTC PPT Library</a:t>
            </a:r>
          </a:p>
        </p:txBody>
      </p:sp>
      <p:sp>
        <p:nvSpPr>
          <p:cNvPr id="4" name="Text Placeholder 3">
            <a:extLst>
              <a:ext uri="{FF2B5EF4-FFF2-40B4-BE49-F238E27FC236}">
                <a16:creationId xmlns:a16="http://schemas.microsoft.com/office/drawing/2014/main" id="{D8559386-9143-433E-8318-1171FD2EFC88}"/>
              </a:ext>
            </a:extLst>
          </p:cNvPr>
          <p:cNvSpPr>
            <a:spLocks noGrp="1"/>
          </p:cNvSpPr>
          <p:nvPr>
            <p:ph type="body" sz="quarter" idx="42" hasCustomPrompt="1"/>
          </p:nvPr>
        </p:nvSpPr>
        <p:spPr>
          <a:xfrm>
            <a:off x="1158240" y="1691640"/>
            <a:ext cx="9875520" cy="304699"/>
          </a:xfrm>
          <a:noFill/>
        </p:spPr>
        <p:txBody>
          <a:bodyPr vert="horz" lIns="0" tIns="0" rIns="0" bIns="0" rtlCol="0" anchor="ctr" anchorCtr="0">
            <a:spAutoFit/>
          </a:bodyPr>
          <a:lstStyle>
            <a:lvl1pPr marL="0" indent="0" algn="ctr">
              <a:buFontTx/>
              <a:buNone/>
              <a:defRPr lang="en-US" sz="2200" dirty="0"/>
            </a:lvl1pPr>
          </a:lstStyle>
          <a:p>
            <a:pPr lvl="0"/>
            <a:r>
              <a:rPr lang="en-US" dirty="0"/>
              <a:t>Call out blurb</a:t>
            </a:r>
          </a:p>
        </p:txBody>
      </p:sp>
    </p:spTree>
    <p:extLst>
      <p:ext uri="{BB962C8B-B14F-4D97-AF65-F5344CB8AC3E}">
        <p14:creationId xmlns:p14="http://schemas.microsoft.com/office/powerpoint/2010/main" val="20197724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Icons w 4 Conten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D0DD1B2-3E44-448A-B29D-4BF5525EAF82}"/>
              </a:ext>
            </a:extLst>
          </p:cNvPr>
          <p:cNvGraphicFramePr>
            <a:graphicFrameLocks noChangeAspect="1"/>
          </p:cNvGraphicFramePr>
          <p:nvPr>
            <p:custDataLst>
              <p:tags r:id="rId1"/>
            </p:custDataLst>
            <p:extLst>
              <p:ext uri="{D42A27DB-BD31-4B8C-83A1-F6EECF244321}">
                <p14:modId xmlns:p14="http://schemas.microsoft.com/office/powerpoint/2010/main" val="42925443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4" name="Object 3" hidden="1">
                        <a:extLst>
                          <a:ext uri="{FF2B5EF4-FFF2-40B4-BE49-F238E27FC236}">
                            <a16:creationId xmlns:a16="http://schemas.microsoft.com/office/drawing/2014/main" id="{CD0DD1B2-3E44-448A-B29D-4BF5525EAF8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B3F8CDBA-3DC1-4B48-9D1F-EF614A8FDDB5}"/>
              </a:ext>
            </a:extLst>
          </p:cNvPr>
          <p:cNvSpPr/>
          <p:nvPr>
            <p:custDataLst>
              <p:tags r:id="rId2"/>
            </p:custDataLst>
          </p:nvPr>
        </p:nvSpPr>
        <p:spPr>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lnSpc>
                <a:spcPct val="90000"/>
              </a:lnSpc>
              <a:spcBef>
                <a:spcPts val="800"/>
              </a:spcBef>
            </a:pPr>
            <a:endParaRPr lang="en-US" sz="3200" b="0" i="0" baseline="0" dirty="0">
              <a:solidFill>
                <a:schemeClr val="bg1"/>
              </a:solidFill>
              <a:latin typeface="PTCRaleway" panose="020B0503030101060003" pitchFamily="34" charset="0"/>
              <a:ea typeface="+mj-ea"/>
              <a:cs typeface="+mj-cs"/>
              <a:sym typeface="Century Gothic" panose="020B0502020202020204" pitchFamily="34" charset="0"/>
            </a:endParaRPr>
          </a:p>
        </p:txBody>
      </p:sp>
      <p:sp>
        <p:nvSpPr>
          <p:cNvPr id="2" name="Title 1">
            <a:extLst>
              <a:ext uri="{FF2B5EF4-FFF2-40B4-BE49-F238E27FC236}">
                <a16:creationId xmlns:a16="http://schemas.microsoft.com/office/drawing/2014/main" id="{BF0272BA-DF00-4403-901D-E1E0848AA754}"/>
              </a:ext>
            </a:extLst>
          </p:cNvPr>
          <p:cNvSpPr>
            <a:spLocks noGrp="1"/>
          </p:cNvSpPr>
          <p:nvPr>
            <p:ph type="title" hasCustomPrompt="1"/>
          </p:nvPr>
        </p:nvSpPr>
        <p:spPr/>
        <p:txBody>
          <a:bodyPr/>
          <a:lstStyle/>
          <a:p>
            <a:r>
              <a:rPr lang="en-US" dirty="0"/>
              <a:t>add title – keep it brief</a:t>
            </a:r>
          </a:p>
        </p:txBody>
      </p:sp>
      <p:sp>
        <p:nvSpPr>
          <p:cNvPr id="52" name="Text Placeholder 32">
            <a:extLst>
              <a:ext uri="{FF2B5EF4-FFF2-40B4-BE49-F238E27FC236}">
                <a16:creationId xmlns:a16="http://schemas.microsoft.com/office/drawing/2014/main" id="{490C73DF-CFB4-4B5B-92C8-F90E3A62E77F}"/>
              </a:ext>
            </a:extLst>
          </p:cNvPr>
          <p:cNvSpPr>
            <a:spLocks noGrp="1"/>
          </p:cNvSpPr>
          <p:nvPr>
            <p:ph type="body" sz="quarter" idx="28" hasCustomPrompt="1"/>
          </p:nvPr>
        </p:nvSpPr>
        <p:spPr>
          <a:xfrm>
            <a:off x="696903" y="2864755"/>
            <a:ext cx="1936096" cy="209288"/>
          </a:xfrm>
        </p:spPr>
        <p:txBody>
          <a:bodyPr anchor="ctr" anchorCtr="0">
            <a:spAutoFit/>
          </a:bodyPr>
          <a:lstStyle>
            <a:lvl1pPr marL="0" indent="0" algn="ctr">
              <a:lnSpc>
                <a:spcPct val="85000"/>
              </a:lnSpc>
              <a:spcBef>
                <a:spcPts val="0"/>
              </a:spcBef>
              <a:buFontTx/>
              <a:buNone/>
              <a:defRPr sz="1600" b="1">
                <a:solidFill>
                  <a:schemeClr val="tx1"/>
                </a:solidFill>
              </a:defRPr>
            </a:lvl1pPr>
          </a:lstStyle>
          <a:p>
            <a:pPr lvl="0"/>
            <a:r>
              <a:rPr lang="en-US" dirty="0"/>
              <a:t>Add title</a:t>
            </a:r>
          </a:p>
        </p:txBody>
      </p:sp>
      <p:sp>
        <p:nvSpPr>
          <p:cNvPr id="53" name="Text Placeholder 34">
            <a:extLst>
              <a:ext uri="{FF2B5EF4-FFF2-40B4-BE49-F238E27FC236}">
                <a16:creationId xmlns:a16="http://schemas.microsoft.com/office/drawing/2014/main" id="{FE00311D-162D-450B-AAB4-212D530B9965}"/>
              </a:ext>
            </a:extLst>
          </p:cNvPr>
          <p:cNvSpPr>
            <a:spLocks noGrp="1"/>
          </p:cNvSpPr>
          <p:nvPr>
            <p:ph type="body" sz="quarter" idx="29" hasCustomPrompt="1"/>
          </p:nvPr>
        </p:nvSpPr>
        <p:spPr>
          <a:xfrm>
            <a:off x="696685" y="4784343"/>
            <a:ext cx="1936532" cy="646331"/>
          </a:xfrm>
        </p:spPr>
        <p:txBody>
          <a:bodyPr>
            <a:spAutoFit/>
          </a:bodyPr>
          <a:lstStyle>
            <a:lvl1pPr marL="285750" indent="-285750" algn="ctr">
              <a:spcBef>
                <a:spcPts val="600"/>
              </a:spcBef>
              <a:buFontTx/>
              <a:buNone/>
              <a:defRPr sz="1400"/>
            </a:lvl1pPr>
            <a:lvl2pPr marL="386674" indent="0" algn="ctr">
              <a:buFontTx/>
              <a:buNone/>
              <a:defRPr sz="1600"/>
            </a:lvl2pPr>
            <a:lvl3pPr marL="704088" indent="0" algn="ctr">
              <a:buFontTx/>
              <a:buNone/>
              <a:defRPr sz="1600"/>
            </a:lvl3pPr>
            <a:lvl4pPr marL="987552" indent="0" algn="ctr">
              <a:buFontTx/>
              <a:buNone/>
              <a:defRPr sz="1600"/>
            </a:lvl4pPr>
            <a:lvl5pPr marL="1261872" indent="0" algn="ctr">
              <a:buFontTx/>
              <a:buNone/>
              <a:defRPr sz="1600"/>
            </a:lvl5pPr>
          </a:lstStyle>
          <a:p>
            <a:pPr marL="0" marR="0" lvl="0" indent="0" algn="ctr" defTabSz="914400" fontAlgn="auto">
              <a:lnSpc>
                <a:spcPct val="100000"/>
              </a:lnSpc>
              <a:spcBef>
                <a:spcPts val="0"/>
              </a:spcBef>
              <a:spcAft>
                <a:spcPts val="0"/>
              </a:spcAft>
              <a:buClrTx/>
              <a:buSzTx/>
              <a:buFontTx/>
              <a:buNone/>
              <a:tabLst/>
            </a:pPr>
            <a:r>
              <a:rPr lang="en-US" dirty="0"/>
              <a:t>Add a short paragraph – not too long – or a bulleted list</a:t>
            </a:r>
          </a:p>
        </p:txBody>
      </p:sp>
      <p:sp>
        <p:nvSpPr>
          <p:cNvPr id="58" name="Text Placeholder 32">
            <a:extLst>
              <a:ext uri="{FF2B5EF4-FFF2-40B4-BE49-F238E27FC236}">
                <a16:creationId xmlns:a16="http://schemas.microsoft.com/office/drawing/2014/main" id="{9D12CB28-EBBA-4213-84C3-27EE8E1195B3}"/>
              </a:ext>
            </a:extLst>
          </p:cNvPr>
          <p:cNvSpPr>
            <a:spLocks noGrp="1"/>
          </p:cNvSpPr>
          <p:nvPr>
            <p:ph type="body" sz="quarter" idx="31" hasCustomPrompt="1"/>
          </p:nvPr>
        </p:nvSpPr>
        <p:spPr>
          <a:xfrm>
            <a:off x="3666655" y="2864755"/>
            <a:ext cx="1936096" cy="209288"/>
          </a:xfrm>
        </p:spPr>
        <p:txBody>
          <a:bodyPr anchor="ctr" anchorCtr="0">
            <a:spAutoFit/>
          </a:bodyPr>
          <a:lstStyle>
            <a:lvl1pPr marL="0" indent="0" algn="ctr">
              <a:lnSpc>
                <a:spcPct val="85000"/>
              </a:lnSpc>
              <a:spcBef>
                <a:spcPts val="0"/>
              </a:spcBef>
              <a:buFontTx/>
              <a:buNone/>
              <a:defRPr sz="1600" b="1">
                <a:solidFill>
                  <a:schemeClr val="tx1"/>
                </a:solidFill>
              </a:defRPr>
            </a:lvl1pPr>
          </a:lstStyle>
          <a:p>
            <a:pPr lvl="0"/>
            <a:r>
              <a:rPr lang="en-US" dirty="0"/>
              <a:t>Add title</a:t>
            </a:r>
          </a:p>
        </p:txBody>
      </p:sp>
      <p:sp>
        <p:nvSpPr>
          <p:cNvPr id="59" name="Text Placeholder 34">
            <a:extLst>
              <a:ext uri="{FF2B5EF4-FFF2-40B4-BE49-F238E27FC236}">
                <a16:creationId xmlns:a16="http://schemas.microsoft.com/office/drawing/2014/main" id="{A8089C8B-DB33-4F20-A90E-29D5706AC690}"/>
              </a:ext>
            </a:extLst>
          </p:cNvPr>
          <p:cNvSpPr>
            <a:spLocks noGrp="1"/>
          </p:cNvSpPr>
          <p:nvPr>
            <p:ph type="body" sz="quarter" idx="32" hasCustomPrompt="1"/>
          </p:nvPr>
        </p:nvSpPr>
        <p:spPr>
          <a:xfrm>
            <a:off x="3666437" y="4784343"/>
            <a:ext cx="1936532" cy="646331"/>
          </a:xfrm>
        </p:spPr>
        <p:txBody>
          <a:bodyPr>
            <a:spAutoFit/>
          </a:bodyPr>
          <a:lstStyle>
            <a:lvl1pPr marL="285750" indent="-285750" algn="ctr">
              <a:spcBef>
                <a:spcPts val="600"/>
              </a:spcBef>
              <a:buFontTx/>
              <a:buNone/>
              <a:defRPr sz="1400"/>
            </a:lvl1pPr>
            <a:lvl2pPr marL="386674" indent="0" algn="ctr">
              <a:buFontTx/>
              <a:buNone/>
              <a:defRPr sz="1600"/>
            </a:lvl2pPr>
            <a:lvl3pPr marL="704088" indent="0" algn="ctr">
              <a:buFontTx/>
              <a:buNone/>
              <a:defRPr sz="1600"/>
            </a:lvl3pPr>
            <a:lvl4pPr marL="987552" indent="0" algn="ctr">
              <a:buFontTx/>
              <a:buNone/>
              <a:defRPr sz="1600"/>
            </a:lvl4pPr>
            <a:lvl5pPr marL="1261872" indent="0" algn="ctr">
              <a:buFontTx/>
              <a:buNone/>
              <a:defRPr sz="1600"/>
            </a:lvl5pPr>
          </a:lstStyle>
          <a:p>
            <a:pPr marL="0" marR="0" lvl="0" indent="0" algn="ctr" defTabSz="914400" fontAlgn="auto">
              <a:lnSpc>
                <a:spcPct val="100000"/>
              </a:lnSpc>
              <a:spcBef>
                <a:spcPts val="0"/>
              </a:spcBef>
              <a:spcAft>
                <a:spcPts val="0"/>
              </a:spcAft>
              <a:buClrTx/>
              <a:buSzTx/>
              <a:buFontTx/>
              <a:buNone/>
              <a:tabLst/>
            </a:pPr>
            <a:r>
              <a:rPr lang="en-US" dirty="0"/>
              <a:t>Add a short paragraph – not too long – or a bulleted list</a:t>
            </a:r>
          </a:p>
        </p:txBody>
      </p:sp>
      <p:sp>
        <p:nvSpPr>
          <p:cNvPr id="61" name="Text Placeholder 32">
            <a:extLst>
              <a:ext uri="{FF2B5EF4-FFF2-40B4-BE49-F238E27FC236}">
                <a16:creationId xmlns:a16="http://schemas.microsoft.com/office/drawing/2014/main" id="{16964035-D680-41E2-BCE6-EDBF1662979F}"/>
              </a:ext>
            </a:extLst>
          </p:cNvPr>
          <p:cNvSpPr>
            <a:spLocks noGrp="1"/>
          </p:cNvSpPr>
          <p:nvPr>
            <p:ph type="body" sz="quarter" idx="34" hasCustomPrompt="1"/>
          </p:nvPr>
        </p:nvSpPr>
        <p:spPr>
          <a:xfrm>
            <a:off x="6631277" y="2864755"/>
            <a:ext cx="1936096" cy="209288"/>
          </a:xfrm>
        </p:spPr>
        <p:txBody>
          <a:bodyPr anchor="ctr" anchorCtr="0">
            <a:spAutoFit/>
          </a:bodyPr>
          <a:lstStyle>
            <a:lvl1pPr marL="0" indent="0" algn="ctr">
              <a:lnSpc>
                <a:spcPct val="85000"/>
              </a:lnSpc>
              <a:spcBef>
                <a:spcPts val="0"/>
              </a:spcBef>
              <a:buFontTx/>
              <a:buNone/>
              <a:defRPr sz="1600" b="1">
                <a:solidFill>
                  <a:schemeClr val="tx1"/>
                </a:solidFill>
              </a:defRPr>
            </a:lvl1pPr>
          </a:lstStyle>
          <a:p>
            <a:pPr lvl="0"/>
            <a:r>
              <a:rPr lang="en-US" dirty="0"/>
              <a:t>Add title</a:t>
            </a:r>
          </a:p>
        </p:txBody>
      </p:sp>
      <p:sp>
        <p:nvSpPr>
          <p:cNvPr id="62" name="Text Placeholder 34">
            <a:extLst>
              <a:ext uri="{FF2B5EF4-FFF2-40B4-BE49-F238E27FC236}">
                <a16:creationId xmlns:a16="http://schemas.microsoft.com/office/drawing/2014/main" id="{F7D72ACE-A6E3-49BA-B635-B4FF555C66B6}"/>
              </a:ext>
            </a:extLst>
          </p:cNvPr>
          <p:cNvSpPr>
            <a:spLocks noGrp="1"/>
          </p:cNvSpPr>
          <p:nvPr>
            <p:ph type="body" sz="quarter" idx="35" hasCustomPrompt="1"/>
          </p:nvPr>
        </p:nvSpPr>
        <p:spPr>
          <a:xfrm>
            <a:off x="6631059" y="4784343"/>
            <a:ext cx="1936532" cy="646331"/>
          </a:xfrm>
        </p:spPr>
        <p:txBody>
          <a:bodyPr>
            <a:spAutoFit/>
          </a:bodyPr>
          <a:lstStyle>
            <a:lvl1pPr marL="285750" indent="-285750" algn="ctr">
              <a:spcBef>
                <a:spcPts val="600"/>
              </a:spcBef>
              <a:buFontTx/>
              <a:buNone/>
              <a:defRPr sz="1400"/>
            </a:lvl1pPr>
            <a:lvl2pPr marL="386674" indent="0" algn="ctr">
              <a:buFontTx/>
              <a:buNone/>
              <a:defRPr sz="1600"/>
            </a:lvl2pPr>
            <a:lvl3pPr marL="704088" indent="0" algn="ctr">
              <a:buFontTx/>
              <a:buNone/>
              <a:defRPr sz="1600"/>
            </a:lvl3pPr>
            <a:lvl4pPr marL="987552" indent="0" algn="ctr">
              <a:buFontTx/>
              <a:buNone/>
              <a:defRPr sz="1600"/>
            </a:lvl4pPr>
            <a:lvl5pPr marL="1261872" indent="0" algn="ctr">
              <a:buFontTx/>
              <a:buNone/>
              <a:defRPr sz="1600"/>
            </a:lvl5pPr>
          </a:lstStyle>
          <a:p>
            <a:pPr marL="0" marR="0" lvl="0" indent="0" algn="ctr" defTabSz="914400" fontAlgn="auto">
              <a:lnSpc>
                <a:spcPct val="100000"/>
              </a:lnSpc>
              <a:spcBef>
                <a:spcPts val="0"/>
              </a:spcBef>
              <a:spcAft>
                <a:spcPts val="0"/>
              </a:spcAft>
              <a:buClrTx/>
              <a:buSzTx/>
              <a:buFontTx/>
              <a:buNone/>
              <a:tabLst/>
            </a:pPr>
            <a:r>
              <a:rPr lang="en-US" dirty="0"/>
              <a:t>Add a short paragraph – not too long – or a bulleted list</a:t>
            </a:r>
          </a:p>
        </p:txBody>
      </p:sp>
      <p:sp>
        <p:nvSpPr>
          <p:cNvPr id="64" name="Text Placeholder 32">
            <a:extLst>
              <a:ext uri="{FF2B5EF4-FFF2-40B4-BE49-F238E27FC236}">
                <a16:creationId xmlns:a16="http://schemas.microsoft.com/office/drawing/2014/main" id="{41F1B747-4A09-4131-B94D-7B72FE0ADA1F}"/>
              </a:ext>
            </a:extLst>
          </p:cNvPr>
          <p:cNvSpPr>
            <a:spLocks noGrp="1"/>
          </p:cNvSpPr>
          <p:nvPr>
            <p:ph type="body" sz="quarter" idx="37" hasCustomPrompt="1"/>
          </p:nvPr>
        </p:nvSpPr>
        <p:spPr>
          <a:xfrm>
            <a:off x="9580269" y="2864755"/>
            <a:ext cx="1936096" cy="209288"/>
          </a:xfrm>
        </p:spPr>
        <p:txBody>
          <a:bodyPr anchor="ctr" anchorCtr="0">
            <a:spAutoFit/>
          </a:bodyPr>
          <a:lstStyle>
            <a:lvl1pPr marL="0" indent="0" algn="ctr">
              <a:lnSpc>
                <a:spcPct val="85000"/>
              </a:lnSpc>
              <a:spcBef>
                <a:spcPts val="0"/>
              </a:spcBef>
              <a:buFontTx/>
              <a:buNone/>
              <a:defRPr sz="1600" b="1">
                <a:solidFill>
                  <a:schemeClr val="tx1"/>
                </a:solidFill>
              </a:defRPr>
            </a:lvl1pPr>
          </a:lstStyle>
          <a:p>
            <a:pPr lvl="0"/>
            <a:r>
              <a:rPr lang="en-US" dirty="0"/>
              <a:t>Add title</a:t>
            </a:r>
          </a:p>
        </p:txBody>
      </p:sp>
      <p:sp>
        <p:nvSpPr>
          <p:cNvPr id="65" name="Text Placeholder 34">
            <a:extLst>
              <a:ext uri="{FF2B5EF4-FFF2-40B4-BE49-F238E27FC236}">
                <a16:creationId xmlns:a16="http://schemas.microsoft.com/office/drawing/2014/main" id="{4B4EBABA-E6CB-464F-9FBA-E5F9B03A37E8}"/>
              </a:ext>
            </a:extLst>
          </p:cNvPr>
          <p:cNvSpPr>
            <a:spLocks noGrp="1"/>
          </p:cNvSpPr>
          <p:nvPr>
            <p:ph type="body" sz="quarter" idx="38" hasCustomPrompt="1"/>
          </p:nvPr>
        </p:nvSpPr>
        <p:spPr>
          <a:xfrm>
            <a:off x="9580051" y="4784343"/>
            <a:ext cx="1936532" cy="646331"/>
          </a:xfrm>
        </p:spPr>
        <p:txBody>
          <a:bodyPr>
            <a:spAutoFit/>
          </a:bodyPr>
          <a:lstStyle>
            <a:lvl1pPr marL="285750" indent="-285750" algn="ctr">
              <a:spcBef>
                <a:spcPts val="600"/>
              </a:spcBef>
              <a:buFontTx/>
              <a:buNone/>
              <a:defRPr sz="1400"/>
            </a:lvl1pPr>
            <a:lvl2pPr marL="386674" indent="0" algn="ctr">
              <a:buFontTx/>
              <a:buNone/>
              <a:defRPr sz="1600"/>
            </a:lvl2pPr>
            <a:lvl3pPr marL="704088" indent="0" algn="ctr">
              <a:buFontTx/>
              <a:buNone/>
              <a:defRPr sz="1600"/>
            </a:lvl3pPr>
            <a:lvl4pPr marL="987552" indent="0" algn="ctr">
              <a:buFontTx/>
              <a:buNone/>
              <a:defRPr sz="1600"/>
            </a:lvl4pPr>
            <a:lvl5pPr marL="1261872" indent="0" algn="ctr">
              <a:buFontTx/>
              <a:buNone/>
              <a:defRPr sz="1600"/>
            </a:lvl5pPr>
          </a:lstStyle>
          <a:p>
            <a:pPr marL="0" marR="0" lvl="0" indent="0" algn="ctr" defTabSz="914400" fontAlgn="auto">
              <a:lnSpc>
                <a:spcPct val="100000"/>
              </a:lnSpc>
              <a:spcBef>
                <a:spcPts val="0"/>
              </a:spcBef>
              <a:spcAft>
                <a:spcPts val="0"/>
              </a:spcAft>
              <a:buClrTx/>
              <a:buSzTx/>
              <a:buFontTx/>
              <a:buNone/>
              <a:tabLst/>
            </a:pPr>
            <a:r>
              <a:rPr lang="en-US" dirty="0"/>
              <a:t>Add a short paragraph – not too long – or a bulleted list</a:t>
            </a:r>
          </a:p>
        </p:txBody>
      </p:sp>
      <p:sp>
        <p:nvSpPr>
          <p:cNvPr id="25" name="Picture Placeholder 6">
            <a:extLst>
              <a:ext uri="{FF2B5EF4-FFF2-40B4-BE49-F238E27FC236}">
                <a16:creationId xmlns:a16="http://schemas.microsoft.com/office/drawing/2014/main" id="{1AEB5892-C8FD-4265-8F93-69E01BC959CC}"/>
              </a:ext>
            </a:extLst>
          </p:cNvPr>
          <p:cNvSpPr>
            <a:spLocks noGrp="1"/>
          </p:cNvSpPr>
          <p:nvPr>
            <p:ph type="pic" sz="quarter" idx="39" hasCustomPrompt="1"/>
          </p:nvPr>
        </p:nvSpPr>
        <p:spPr>
          <a:xfrm>
            <a:off x="1357243" y="3730183"/>
            <a:ext cx="615416" cy="365760"/>
          </a:xfrm>
        </p:spPr>
        <p:txBody>
          <a:bodyPr/>
          <a:lstStyle>
            <a:lvl1pPr marL="0" indent="0" algn="ctr">
              <a:buFontTx/>
              <a:buNone/>
              <a:defRPr sz="800" b="1">
                <a:solidFill>
                  <a:schemeClr val="accent3"/>
                </a:solidFill>
              </a:defRPr>
            </a:lvl1pPr>
          </a:lstStyle>
          <a:p>
            <a:r>
              <a:rPr lang="en-US" dirty="0"/>
              <a:t>Paste icon from PTC PPT Library</a:t>
            </a:r>
          </a:p>
        </p:txBody>
      </p:sp>
      <p:sp>
        <p:nvSpPr>
          <p:cNvPr id="26" name="Picture Placeholder 6">
            <a:extLst>
              <a:ext uri="{FF2B5EF4-FFF2-40B4-BE49-F238E27FC236}">
                <a16:creationId xmlns:a16="http://schemas.microsoft.com/office/drawing/2014/main" id="{FA7A40C7-5620-4D59-8DE5-CA304D9A962A}"/>
              </a:ext>
            </a:extLst>
          </p:cNvPr>
          <p:cNvSpPr>
            <a:spLocks noGrp="1"/>
          </p:cNvSpPr>
          <p:nvPr>
            <p:ph type="pic" sz="quarter" idx="40" hasCustomPrompt="1"/>
          </p:nvPr>
        </p:nvSpPr>
        <p:spPr>
          <a:xfrm>
            <a:off x="4326995" y="3730183"/>
            <a:ext cx="615416" cy="365760"/>
          </a:xfrm>
        </p:spPr>
        <p:txBody>
          <a:bodyPr/>
          <a:lstStyle>
            <a:lvl1pPr marL="0" indent="0" algn="ctr">
              <a:buFontTx/>
              <a:buNone/>
              <a:defRPr sz="800" b="1">
                <a:solidFill>
                  <a:schemeClr val="accent3"/>
                </a:solidFill>
              </a:defRPr>
            </a:lvl1pPr>
          </a:lstStyle>
          <a:p>
            <a:r>
              <a:rPr lang="en-US"/>
              <a:t>Paste icon from PTC PPT Library</a:t>
            </a:r>
          </a:p>
        </p:txBody>
      </p:sp>
      <p:sp>
        <p:nvSpPr>
          <p:cNvPr id="27" name="Picture Placeholder 6">
            <a:extLst>
              <a:ext uri="{FF2B5EF4-FFF2-40B4-BE49-F238E27FC236}">
                <a16:creationId xmlns:a16="http://schemas.microsoft.com/office/drawing/2014/main" id="{4F6992F5-14F1-443B-A56F-0DAFD3A17D10}"/>
              </a:ext>
            </a:extLst>
          </p:cNvPr>
          <p:cNvSpPr>
            <a:spLocks noGrp="1"/>
          </p:cNvSpPr>
          <p:nvPr>
            <p:ph type="pic" sz="quarter" idx="36" hasCustomPrompt="1"/>
          </p:nvPr>
        </p:nvSpPr>
        <p:spPr>
          <a:xfrm>
            <a:off x="10240609" y="3730183"/>
            <a:ext cx="615416" cy="365760"/>
          </a:xfrm>
        </p:spPr>
        <p:txBody>
          <a:bodyPr/>
          <a:lstStyle>
            <a:lvl1pPr marL="0" indent="0" algn="ctr">
              <a:buFontTx/>
              <a:buNone/>
              <a:defRPr sz="800" b="1">
                <a:solidFill>
                  <a:schemeClr val="accent3"/>
                </a:solidFill>
              </a:defRPr>
            </a:lvl1pPr>
          </a:lstStyle>
          <a:p>
            <a:r>
              <a:rPr lang="en-US"/>
              <a:t>Paste icon from PTC PPT Library</a:t>
            </a:r>
          </a:p>
        </p:txBody>
      </p:sp>
      <p:sp>
        <p:nvSpPr>
          <p:cNvPr id="28" name="Picture Placeholder 6">
            <a:extLst>
              <a:ext uri="{FF2B5EF4-FFF2-40B4-BE49-F238E27FC236}">
                <a16:creationId xmlns:a16="http://schemas.microsoft.com/office/drawing/2014/main" id="{475F2538-CC6F-47C5-8E22-46B3CA1900DD}"/>
              </a:ext>
            </a:extLst>
          </p:cNvPr>
          <p:cNvSpPr>
            <a:spLocks noGrp="1"/>
          </p:cNvSpPr>
          <p:nvPr>
            <p:ph type="pic" sz="quarter" idx="41" hasCustomPrompt="1"/>
          </p:nvPr>
        </p:nvSpPr>
        <p:spPr>
          <a:xfrm>
            <a:off x="7291617" y="3730183"/>
            <a:ext cx="615416" cy="365760"/>
          </a:xfrm>
        </p:spPr>
        <p:txBody>
          <a:bodyPr/>
          <a:lstStyle>
            <a:lvl1pPr marL="0" indent="0" algn="ctr">
              <a:buFontTx/>
              <a:buNone/>
              <a:defRPr sz="800" b="1">
                <a:solidFill>
                  <a:schemeClr val="accent3"/>
                </a:solidFill>
              </a:defRPr>
            </a:lvl1pPr>
          </a:lstStyle>
          <a:p>
            <a:r>
              <a:rPr lang="en-US"/>
              <a:t>Paste icon from PTC PPT Library</a:t>
            </a:r>
          </a:p>
        </p:txBody>
      </p:sp>
      <p:sp>
        <p:nvSpPr>
          <p:cNvPr id="6" name="Text Placeholder 5">
            <a:extLst>
              <a:ext uri="{FF2B5EF4-FFF2-40B4-BE49-F238E27FC236}">
                <a16:creationId xmlns:a16="http://schemas.microsoft.com/office/drawing/2014/main" id="{F3CCFC8A-0256-42C2-A3A7-09FD853D84AF}"/>
              </a:ext>
            </a:extLst>
          </p:cNvPr>
          <p:cNvSpPr>
            <a:spLocks noGrp="1"/>
          </p:cNvSpPr>
          <p:nvPr userDrawn="1">
            <p:ph type="body" sz="quarter" idx="42" hasCustomPrompt="1"/>
          </p:nvPr>
        </p:nvSpPr>
        <p:spPr>
          <a:xfrm>
            <a:off x="1158240" y="1691640"/>
            <a:ext cx="9875520" cy="304699"/>
          </a:xfrm>
        </p:spPr>
        <p:txBody>
          <a:bodyPr anchor="ctr" anchorCtr="0">
            <a:spAutoFit/>
          </a:bodyPr>
          <a:lstStyle>
            <a:lvl1pPr marL="0" indent="0" algn="ctr">
              <a:buFontTx/>
              <a:buNone/>
              <a:defRPr sz="2200"/>
            </a:lvl1pPr>
          </a:lstStyle>
          <a:p>
            <a:pPr lvl="0"/>
            <a:r>
              <a:rPr lang="en-US" dirty="0"/>
              <a:t>Call out blurb</a:t>
            </a:r>
          </a:p>
        </p:txBody>
      </p:sp>
    </p:spTree>
    <p:extLst>
      <p:ext uri="{BB962C8B-B14F-4D97-AF65-F5344CB8AC3E}">
        <p14:creationId xmlns:p14="http://schemas.microsoft.com/office/powerpoint/2010/main" val="15988684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Icons w 5 Conten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B6A4F4D-6AC9-472A-A2AB-2099BEC9F3BF}"/>
              </a:ext>
            </a:extLst>
          </p:cNvPr>
          <p:cNvGraphicFramePr>
            <a:graphicFrameLocks noChangeAspect="1"/>
          </p:cNvGraphicFramePr>
          <p:nvPr>
            <p:custDataLst>
              <p:tags r:id="rId1"/>
            </p:custDataLst>
            <p:extLst>
              <p:ext uri="{D42A27DB-BD31-4B8C-83A1-F6EECF244321}">
                <p14:modId xmlns:p14="http://schemas.microsoft.com/office/powerpoint/2010/main" val="12351720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4" name="Object 3" hidden="1">
                        <a:extLst>
                          <a:ext uri="{FF2B5EF4-FFF2-40B4-BE49-F238E27FC236}">
                            <a16:creationId xmlns:a16="http://schemas.microsoft.com/office/drawing/2014/main" id="{2B6A4F4D-6AC9-472A-A2AB-2099BEC9F3B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11AB3B7A-7D2B-4440-A050-8E1A9F7ACE42}"/>
              </a:ext>
            </a:extLst>
          </p:cNvPr>
          <p:cNvSpPr/>
          <p:nvPr>
            <p:custDataLst>
              <p:tags r:id="rId2"/>
            </p:custDataLst>
          </p:nvPr>
        </p:nvSpPr>
        <p:spPr>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lnSpc>
                <a:spcPct val="90000"/>
              </a:lnSpc>
              <a:spcBef>
                <a:spcPts val="800"/>
              </a:spcBef>
            </a:pPr>
            <a:endParaRPr lang="en-US" sz="3200" b="0" i="0" baseline="0" dirty="0">
              <a:solidFill>
                <a:schemeClr val="bg1"/>
              </a:solidFill>
              <a:latin typeface="PTCRaleway" panose="020B0503030101060003" pitchFamily="34" charset="0"/>
              <a:ea typeface="+mj-ea"/>
              <a:cs typeface="+mj-cs"/>
              <a:sym typeface="Century Gothic" panose="020B0502020202020204" pitchFamily="34" charset="0"/>
            </a:endParaRPr>
          </a:p>
        </p:txBody>
      </p:sp>
      <p:sp>
        <p:nvSpPr>
          <p:cNvPr id="60" name="Text Placeholder 32">
            <a:extLst>
              <a:ext uri="{FF2B5EF4-FFF2-40B4-BE49-F238E27FC236}">
                <a16:creationId xmlns:a16="http://schemas.microsoft.com/office/drawing/2014/main" id="{20840560-1C1B-4438-8E2A-EB45F76A414B}"/>
              </a:ext>
            </a:extLst>
          </p:cNvPr>
          <p:cNvSpPr>
            <a:spLocks noGrp="1"/>
          </p:cNvSpPr>
          <p:nvPr>
            <p:ph type="body" sz="quarter" idx="28" hasCustomPrompt="1"/>
          </p:nvPr>
        </p:nvSpPr>
        <p:spPr>
          <a:xfrm>
            <a:off x="581112" y="2866929"/>
            <a:ext cx="1600079" cy="209288"/>
          </a:xfrm>
        </p:spPr>
        <p:txBody>
          <a:bodyPr vert="horz" lIns="0" tIns="0" rIns="0" bIns="0" rtlCol="0" anchor="ctr" anchorCtr="0">
            <a:spAutoFit/>
          </a:bodyPr>
          <a:lstStyle>
            <a:lvl1pPr marL="342900" indent="-342900">
              <a:buFontTx/>
              <a:buNone/>
              <a:defRPr lang="en-US" sz="1600" b="1" dirty="0"/>
            </a:lvl1pPr>
          </a:lstStyle>
          <a:p>
            <a:pPr marL="0" lvl="0" indent="0" algn="ctr">
              <a:lnSpc>
                <a:spcPct val="85000"/>
              </a:lnSpc>
              <a:spcBef>
                <a:spcPts val="0"/>
              </a:spcBef>
              <a:buNone/>
            </a:pPr>
            <a:r>
              <a:rPr lang="en-US" dirty="0"/>
              <a:t>Add title</a:t>
            </a:r>
          </a:p>
        </p:txBody>
      </p:sp>
      <p:sp>
        <p:nvSpPr>
          <p:cNvPr id="61" name="Text Placeholder 34">
            <a:extLst>
              <a:ext uri="{FF2B5EF4-FFF2-40B4-BE49-F238E27FC236}">
                <a16:creationId xmlns:a16="http://schemas.microsoft.com/office/drawing/2014/main" id="{22B560B1-F704-4710-8C69-EF14EBFC200A}"/>
              </a:ext>
            </a:extLst>
          </p:cNvPr>
          <p:cNvSpPr>
            <a:spLocks noGrp="1"/>
          </p:cNvSpPr>
          <p:nvPr>
            <p:ph type="body" sz="quarter" idx="29" hasCustomPrompt="1"/>
          </p:nvPr>
        </p:nvSpPr>
        <p:spPr>
          <a:xfrm>
            <a:off x="580931" y="4747766"/>
            <a:ext cx="1600440" cy="553998"/>
          </a:xfrm>
        </p:spPr>
        <p:txBody>
          <a:bodyPr>
            <a:spAutoFit/>
          </a:bodyPr>
          <a:lstStyle>
            <a:lvl1pPr marL="171450" indent="-171450" algn="ctr">
              <a:spcBef>
                <a:spcPts val="600"/>
              </a:spcBef>
              <a:buFontTx/>
              <a:buNone/>
              <a:defRPr sz="1200"/>
            </a:lvl1pPr>
            <a:lvl2pPr marL="386674" indent="0" algn="ctr">
              <a:buFontTx/>
              <a:buNone/>
              <a:defRPr sz="1600"/>
            </a:lvl2pPr>
            <a:lvl3pPr marL="704088" indent="0" algn="ctr">
              <a:buFontTx/>
              <a:buNone/>
              <a:defRPr sz="1600"/>
            </a:lvl3pPr>
            <a:lvl4pPr marL="987552" indent="0" algn="ctr">
              <a:buFontTx/>
              <a:buNone/>
              <a:defRPr sz="1600"/>
            </a:lvl4pPr>
            <a:lvl5pPr marL="1261872" indent="0" algn="ctr">
              <a:buFontTx/>
              <a:buNone/>
              <a:defRPr sz="1600"/>
            </a:lvl5pPr>
          </a:lstStyle>
          <a:p>
            <a:pPr marL="0" marR="0" lvl="0" indent="0" algn="ctr" defTabSz="914400" fontAlgn="auto">
              <a:lnSpc>
                <a:spcPct val="100000"/>
              </a:lnSpc>
              <a:spcBef>
                <a:spcPts val="0"/>
              </a:spcBef>
              <a:spcAft>
                <a:spcPts val="0"/>
              </a:spcAft>
              <a:buClrTx/>
              <a:buSzTx/>
              <a:buFontTx/>
              <a:buNone/>
              <a:tabLst/>
            </a:pPr>
            <a:r>
              <a:rPr lang="en-US" dirty="0"/>
              <a:t>Add a short paragraph – not too long – or a bulleted list</a:t>
            </a:r>
          </a:p>
        </p:txBody>
      </p:sp>
      <p:sp>
        <p:nvSpPr>
          <p:cNvPr id="2" name="Title 1">
            <a:extLst>
              <a:ext uri="{FF2B5EF4-FFF2-40B4-BE49-F238E27FC236}">
                <a16:creationId xmlns:a16="http://schemas.microsoft.com/office/drawing/2014/main" id="{C0D3815E-B933-4FE0-A09F-E868666F8E0A}"/>
              </a:ext>
            </a:extLst>
          </p:cNvPr>
          <p:cNvSpPr>
            <a:spLocks noGrp="1"/>
          </p:cNvSpPr>
          <p:nvPr>
            <p:ph type="title" hasCustomPrompt="1"/>
          </p:nvPr>
        </p:nvSpPr>
        <p:spPr/>
        <p:txBody>
          <a:bodyPr/>
          <a:lstStyle/>
          <a:p>
            <a:r>
              <a:rPr lang="en-US" dirty="0"/>
              <a:t>add title – keep it brief</a:t>
            </a:r>
          </a:p>
        </p:txBody>
      </p:sp>
      <p:sp>
        <p:nvSpPr>
          <p:cNvPr id="62" name="Text Placeholder 32">
            <a:extLst>
              <a:ext uri="{FF2B5EF4-FFF2-40B4-BE49-F238E27FC236}">
                <a16:creationId xmlns:a16="http://schemas.microsoft.com/office/drawing/2014/main" id="{D500394C-3BD7-456E-94D6-9CC3674F8101}"/>
              </a:ext>
            </a:extLst>
          </p:cNvPr>
          <p:cNvSpPr>
            <a:spLocks noGrp="1"/>
          </p:cNvSpPr>
          <p:nvPr>
            <p:ph type="body" sz="quarter" idx="30" hasCustomPrompt="1"/>
          </p:nvPr>
        </p:nvSpPr>
        <p:spPr>
          <a:xfrm>
            <a:off x="2905212" y="2866929"/>
            <a:ext cx="1600079" cy="209288"/>
          </a:xfrm>
        </p:spPr>
        <p:txBody>
          <a:bodyPr vert="horz" lIns="0" tIns="0" rIns="0" bIns="0" rtlCol="0" anchor="ctr" anchorCtr="0">
            <a:spAutoFit/>
          </a:bodyPr>
          <a:lstStyle>
            <a:lvl1pPr marL="342900" indent="-342900">
              <a:buFontTx/>
              <a:buNone/>
              <a:defRPr lang="en-US" sz="1600" b="1" dirty="0"/>
            </a:lvl1pPr>
          </a:lstStyle>
          <a:p>
            <a:pPr marL="0" lvl="0" indent="0" algn="ctr">
              <a:lnSpc>
                <a:spcPct val="85000"/>
              </a:lnSpc>
              <a:spcBef>
                <a:spcPts val="0"/>
              </a:spcBef>
              <a:buNone/>
            </a:pPr>
            <a:r>
              <a:rPr lang="en-US" dirty="0"/>
              <a:t>Add title</a:t>
            </a:r>
          </a:p>
        </p:txBody>
      </p:sp>
      <p:sp>
        <p:nvSpPr>
          <p:cNvPr id="63" name="Text Placeholder 34">
            <a:extLst>
              <a:ext uri="{FF2B5EF4-FFF2-40B4-BE49-F238E27FC236}">
                <a16:creationId xmlns:a16="http://schemas.microsoft.com/office/drawing/2014/main" id="{7B743BCC-ADA1-41CD-AA72-A7C3259B7BF6}"/>
              </a:ext>
            </a:extLst>
          </p:cNvPr>
          <p:cNvSpPr>
            <a:spLocks noGrp="1"/>
          </p:cNvSpPr>
          <p:nvPr>
            <p:ph type="body" sz="quarter" idx="31" hasCustomPrompt="1"/>
          </p:nvPr>
        </p:nvSpPr>
        <p:spPr>
          <a:xfrm>
            <a:off x="2905031" y="4747766"/>
            <a:ext cx="1600440" cy="553998"/>
          </a:xfrm>
        </p:spPr>
        <p:txBody>
          <a:bodyPr>
            <a:spAutoFit/>
          </a:bodyPr>
          <a:lstStyle>
            <a:lvl1pPr marL="171450" indent="-171450" algn="ctr">
              <a:spcBef>
                <a:spcPts val="600"/>
              </a:spcBef>
              <a:buFontTx/>
              <a:buNone/>
              <a:defRPr sz="1200"/>
            </a:lvl1pPr>
            <a:lvl2pPr marL="386674" indent="0" algn="ctr">
              <a:buFontTx/>
              <a:buNone/>
              <a:defRPr sz="1600"/>
            </a:lvl2pPr>
            <a:lvl3pPr marL="704088" indent="0" algn="ctr">
              <a:buFontTx/>
              <a:buNone/>
              <a:defRPr sz="1600"/>
            </a:lvl3pPr>
            <a:lvl4pPr marL="987552" indent="0" algn="ctr">
              <a:buFontTx/>
              <a:buNone/>
              <a:defRPr sz="1600"/>
            </a:lvl4pPr>
            <a:lvl5pPr marL="1261872" indent="0" algn="ctr">
              <a:buFontTx/>
              <a:buNone/>
              <a:defRPr sz="1600"/>
            </a:lvl5pPr>
          </a:lstStyle>
          <a:p>
            <a:pPr marL="0" marR="0" lvl="0" indent="0" algn="ctr" defTabSz="914400" fontAlgn="auto">
              <a:lnSpc>
                <a:spcPct val="100000"/>
              </a:lnSpc>
              <a:spcBef>
                <a:spcPts val="0"/>
              </a:spcBef>
              <a:spcAft>
                <a:spcPts val="0"/>
              </a:spcAft>
              <a:buClrTx/>
              <a:buSzTx/>
              <a:buFontTx/>
              <a:buNone/>
              <a:tabLst/>
            </a:pPr>
            <a:r>
              <a:rPr lang="en-US" dirty="0"/>
              <a:t>Add a short paragraph – not too long – or a bulleted list</a:t>
            </a:r>
          </a:p>
        </p:txBody>
      </p:sp>
      <p:sp>
        <p:nvSpPr>
          <p:cNvPr id="65" name="Text Placeholder 32">
            <a:extLst>
              <a:ext uri="{FF2B5EF4-FFF2-40B4-BE49-F238E27FC236}">
                <a16:creationId xmlns:a16="http://schemas.microsoft.com/office/drawing/2014/main" id="{9CF14A49-B79D-4241-8D6E-A9AF33915456}"/>
              </a:ext>
            </a:extLst>
          </p:cNvPr>
          <p:cNvSpPr>
            <a:spLocks noGrp="1"/>
          </p:cNvSpPr>
          <p:nvPr>
            <p:ph type="body" sz="quarter" idx="33" hasCustomPrompt="1"/>
          </p:nvPr>
        </p:nvSpPr>
        <p:spPr>
          <a:xfrm>
            <a:off x="5153112" y="2866929"/>
            <a:ext cx="1600079" cy="209288"/>
          </a:xfrm>
        </p:spPr>
        <p:txBody>
          <a:bodyPr vert="horz" lIns="0" tIns="0" rIns="0" bIns="0" rtlCol="0" anchor="ctr" anchorCtr="0">
            <a:spAutoFit/>
          </a:bodyPr>
          <a:lstStyle>
            <a:lvl1pPr marL="342900" indent="-342900">
              <a:buFontTx/>
              <a:buNone/>
              <a:defRPr lang="en-US" sz="1600" b="1" dirty="0"/>
            </a:lvl1pPr>
          </a:lstStyle>
          <a:p>
            <a:pPr marL="0" lvl="0" indent="0" algn="ctr">
              <a:lnSpc>
                <a:spcPct val="85000"/>
              </a:lnSpc>
              <a:spcBef>
                <a:spcPts val="0"/>
              </a:spcBef>
              <a:buNone/>
            </a:pPr>
            <a:r>
              <a:rPr lang="en-US" dirty="0"/>
              <a:t>Add title</a:t>
            </a:r>
          </a:p>
        </p:txBody>
      </p:sp>
      <p:sp>
        <p:nvSpPr>
          <p:cNvPr id="66" name="Text Placeholder 34">
            <a:extLst>
              <a:ext uri="{FF2B5EF4-FFF2-40B4-BE49-F238E27FC236}">
                <a16:creationId xmlns:a16="http://schemas.microsoft.com/office/drawing/2014/main" id="{F1158342-69C8-4371-BCD8-53A5098B2405}"/>
              </a:ext>
            </a:extLst>
          </p:cNvPr>
          <p:cNvSpPr>
            <a:spLocks noGrp="1"/>
          </p:cNvSpPr>
          <p:nvPr>
            <p:ph type="body" sz="quarter" idx="34" hasCustomPrompt="1"/>
          </p:nvPr>
        </p:nvSpPr>
        <p:spPr>
          <a:xfrm>
            <a:off x="5152931" y="4747766"/>
            <a:ext cx="1600440" cy="553998"/>
          </a:xfrm>
        </p:spPr>
        <p:txBody>
          <a:bodyPr>
            <a:spAutoFit/>
          </a:bodyPr>
          <a:lstStyle>
            <a:lvl1pPr marL="171450" indent="-171450" algn="ctr">
              <a:spcBef>
                <a:spcPts val="600"/>
              </a:spcBef>
              <a:buFontTx/>
              <a:buNone/>
              <a:defRPr sz="1200"/>
            </a:lvl1pPr>
            <a:lvl2pPr marL="386674" indent="0" algn="ctr">
              <a:buFontTx/>
              <a:buNone/>
              <a:defRPr sz="1600"/>
            </a:lvl2pPr>
            <a:lvl3pPr marL="704088" indent="0" algn="ctr">
              <a:buFontTx/>
              <a:buNone/>
              <a:defRPr sz="1600"/>
            </a:lvl3pPr>
            <a:lvl4pPr marL="987552" indent="0" algn="ctr">
              <a:buFontTx/>
              <a:buNone/>
              <a:defRPr sz="1600"/>
            </a:lvl4pPr>
            <a:lvl5pPr marL="1261872" indent="0" algn="ctr">
              <a:buFontTx/>
              <a:buNone/>
              <a:defRPr sz="1600"/>
            </a:lvl5pPr>
          </a:lstStyle>
          <a:p>
            <a:pPr marL="0" marR="0" lvl="0" indent="0" algn="ctr" defTabSz="914400" fontAlgn="auto">
              <a:lnSpc>
                <a:spcPct val="100000"/>
              </a:lnSpc>
              <a:spcBef>
                <a:spcPts val="0"/>
              </a:spcBef>
              <a:spcAft>
                <a:spcPts val="0"/>
              </a:spcAft>
              <a:buClrTx/>
              <a:buSzTx/>
              <a:buFontTx/>
              <a:buNone/>
              <a:tabLst/>
            </a:pPr>
            <a:r>
              <a:rPr lang="en-US" dirty="0"/>
              <a:t>Add a short paragraph – not too long – or a bulleted list</a:t>
            </a:r>
          </a:p>
        </p:txBody>
      </p:sp>
      <p:sp>
        <p:nvSpPr>
          <p:cNvPr id="68" name="Text Placeholder 32">
            <a:extLst>
              <a:ext uri="{FF2B5EF4-FFF2-40B4-BE49-F238E27FC236}">
                <a16:creationId xmlns:a16="http://schemas.microsoft.com/office/drawing/2014/main" id="{3194E8C5-CF18-4462-8B5C-F283EC3A1D10}"/>
              </a:ext>
            </a:extLst>
          </p:cNvPr>
          <p:cNvSpPr>
            <a:spLocks noGrp="1"/>
          </p:cNvSpPr>
          <p:nvPr>
            <p:ph type="body" sz="quarter" idx="36" hasCustomPrompt="1"/>
          </p:nvPr>
        </p:nvSpPr>
        <p:spPr>
          <a:xfrm>
            <a:off x="7515312" y="2866929"/>
            <a:ext cx="1600079" cy="209288"/>
          </a:xfrm>
        </p:spPr>
        <p:txBody>
          <a:bodyPr vert="horz" lIns="0" tIns="0" rIns="0" bIns="0" rtlCol="0" anchor="ctr" anchorCtr="0">
            <a:spAutoFit/>
          </a:bodyPr>
          <a:lstStyle>
            <a:lvl1pPr marL="342900" indent="-342900">
              <a:buFontTx/>
              <a:buNone/>
              <a:defRPr lang="en-US" sz="1600" b="1" dirty="0"/>
            </a:lvl1pPr>
          </a:lstStyle>
          <a:p>
            <a:pPr marL="0" lvl="0" indent="0" algn="ctr">
              <a:lnSpc>
                <a:spcPct val="85000"/>
              </a:lnSpc>
              <a:spcBef>
                <a:spcPts val="0"/>
              </a:spcBef>
              <a:buNone/>
            </a:pPr>
            <a:r>
              <a:rPr lang="en-US" dirty="0"/>
              <a:t>Add title</a:t>
            </a:r>
          </a:p>
        </p:txBody>
      </p:sp>
      <p:sp>
        <p:nvSpPr>
          <p:cNvPr id="69" name="Text Placeholder 34">
            <a:extLst>
              <a:ext uri="{FF2B5EF4-FFF2-40B4-BE49-F238E27FC236}">
                <a16:creationId xmlns:a16="http://schemas.microsoft.com/office/drawing/2014/main" id="{B89299B9-EADF-480C-9DBB-4D26BDCEEB13}"/>
              </a:ext>
            </a:extLst>
          </p:cNvPr>
          <p:cNvSpPr>
            <a:spLocks noGrp="1"/>
          </p:cNvSpPr>
          <p:nvPr>
            <p:ph type="body" sz="quarter" idx="37" hasCustomPrompt="1"/>
          </p:nvPr>
        </p:nvSpPr>
        <p:spPr>
          <a:xfrm>
            <a:off x="7515131" y="4747766"/>
            <a:ext cx="1600440" cy="553998"/>
          </a:xfrm>
        </p:spPr>
        <p:txBody>
          <a:bodyPr>
            <a:spAutoFit/>
          </a:bodyPr>
          <a:lstStyle>
            <a:lvl1pPr marL="171450" indent="-171450" algn="ctr">
              <a:spcBef>
                <a:spcPts val="600"/>
              </a:spcBef>
              <a:buFontTx/>
              <a:buNone/>
              <a:defRPr sz="1200"/>
            </a:lvl1pPr>
            <a:lvl2pPr marL="386674" indent="0" algn="ctr">
              <a:buFontTx/>
              <a:buNone/>
              <a:defRPr sz="1600"/>
            </a:lvl2pPr>
            <a:lvl3pPr marL="704088" indent="0" algn="ctr">
              <a:buFontTx/>
              <a:buNone/>
              <a:defRPr sz="1600"/>
            </a:lvl3pPr>
            <a:lvl4pPr marL="987552" indent="0" algn="ctr">
              <a:buFontTx/>
              <a:buNone/>
              <a:defRPr sz="1600"/>
            </a:lvl4pPr>
            <a:lvl5pPr marL="1261872" indent="0" algn="ctr">
              <a:buFontTx/>
              <a:buNone/>
              <a:defRPr sz="1600"/>
            </a:lvl5pPr>
          </a:lstStyle>
          <a:p>
            <a:pPr marL="0" marR="0" lvl="0" indent="0" algn="ctr" defTabSz="914400" fontAlgn="auto">
              <a:lnSpc>
                <a:spcPct val="100000"/>
              </a:lnSpc>
              <a:spcBef>
                <a:spcPts val="0"/>
              </a:spcBef>
              <a:spcAft>
                <a:spcPts val="0"/>
              </a:spcAft>
              <a:buClrTx/>
              <a:buSzTx/>
              <a:buFontTx/>
              <a:buNone/>
              <a:tabLst/>
            </a:pPr>
            <a:r>
              <a:rPr lang="en-US" dirty="0"/>
              <a:t>Add a short paragraph – not too long – or a bulleted list</a:t>
            </a:r>
          </a:p>
        </p:txBody>
      </p:sp>
      <p:sp>
        <p:nvSpPr>
          <p:cNvPr id="71" name="Text Placeholder 32">
            <a:extLst>
              <a:ext uri="{FF2B5EF4-FFF2-40B4-BE49-F238E27FC236}">
                <a16:creationId xmlns:a16="http://schemas.microsoft.com/office/drawing/2014/main" id="{11BE195C-EFC1-43CC-ABE3-385CD2DBC419}"/>
              </a:ext>
            </a:extLst>
          </p:cNvPr>
          <p:cNvSpPr>
            <a:spLocks noGrp="1"/>
          </p:cNvSpPr>
          <p:nvPr>
            <p:ph type="body" sz="quarter" idx="39" hasCustomPrompt="1"/>
          </p:nvPr>
        </p:nvSpPr>
        <p:spPr>
          <a:xfrm>
            <a:off x="9877512" y="2866929"/>
            <a:ext cx="1600079" cy="209288"/>
          </a:xfrm>
        </p:spPr>
        <p:txBody>
          <a:bodyPr vert="horz" lIns="0" tIns="0" rIns="0" bIns="0" rtlCol="0" anchor="ctr" anchorCtr="0">
            <a:spAutoFit/>
          </a:bodyPr>
          <a:lstStyle>
            <a:lvl1pPr marL="342900" indent="-342900">
              <a:buFontTx/>
              <a:buNone/>
              <a:defRPr lang="en-US" sz="1600" b="1" dirty="0"/>
            </a:lvl1pPr>
          </a:lstStyle>
          <a:p>
            <a:pPr marL="0" lvl="0" indent="0" algn="ctr">
              <a:lnSpc>
                <a:spcPct val="85000"/>
              </a:lnSpc>
              <a:spcBef>
                <a:spcPts val="0"/>
              </a:spcBef>
              <a:buNone/>
            </a:pPr>
            <a:r>
              <a:rPr lang="en-US" dirty="0"/>
              <a:t>Add title</a:t>
            </a:r>
          </a:p>
        </p:txBody>
      </p:sp>
      <p:sp>
        <p:nvSpPr>
          <p:cNvPr id="72" name="Text Placeholder 34">
            <a:extLst>
              <a:ext uri="{FF2B5EF4-FFF2-40B4-BE49-F238E27FC236}">
                <a16:creationId xmlns:a16="http://schemas.microsoft.com/office/drawing/2014/main" id="{30EA21AF-635A-488B-AD35-F2C5617816C9}"/>
              </a:ext>
            </a:extLst>
          </p:cNvPr>
          <p:cNvSpPr>
            <a:spLocks noGrp="1"/>
          </p:cNvSpPr>
          <p:nvPr>
            <p:ph type="body" sz="quarter" idx="40" hasCustomPrompt="1"/>
          </p:nvPr>
        </p:nvSpPr>
        <p:spPr>
          <a:xfrm>
            <a:off x="9877331" y="4747766"/>
            <a:ext cx="1600440" cy="553998"/>
          </a:xfrm>
        </p:spPr>
        <p:txBody>
          <a:bodyPr>
            <a:spAutoFit/>
          </a:bodyPr>
          <a:lstStyle>
            <a:lvl1pPr marL="171450" indent="-171450" algn="ctr">
              <a:spcBef>
                <a:spcPts val="600"/>
              </a:spcBef>
              <a:buFontTx/>
              <a:buNone/>
              <a:defRPr sz="1200"/>
            </a:lvl1pPr>
            <a:lvl2pPr marL="386674" indent="0" algn="ctr">
              <a:buFontTx/>
              <a:buNone/>
              <a:defRPr sz="1600"/>
            </a:lvl2pPr>
            <a:lvl3pPr marL="704088" indent="0" algn="ctr">
              <a:buFontTx/>
              <a:buNone/>
              <a:defRPr sz="1600"/>
            </a:lvl3pPr>
            <a:lvl4pPr marL="987552" indent="0" algn="ctr">
              <a:buFontTx/>
              <a:buNone/>
              <a:defRPr sz="1600"/>
            </a:lvl4pPr>
            <a:lvl5pPr marL="1261872" indent="0" algn="ctr">
              <a:buFontTx/>
              <a:buNone/>
              <a:defRPr sz="1600"/>
            </a:lvl5pPr>
          </a:lstStyle>
          <a:p>
            <a:pPr marL="0" marR="0" lvl="0" indent="0" algn="ctr" defTabSz="914400" fontAlgn="auto">
              <a:lnSpc>
                <a:spcPct val="100000"/>
              </a:lnSpc>
              <a:spcBef>
                <a:spcPts val="0"/>
              </a:spcBef>
              <a:spcAft>
                <a:spcPts val="0"/>
              </a:spcAft>
              <a:buClrTx/>
              <a:buSzTx/>
              <a:buFontTx/>
              <a:buNone/>
              <a:tabLst/>
            </a:pPr>
            <a:r>
              <a:rPr lang="en-US" dirty="0"/>
              <a:t>Add a short paragraph – not too long – or a bulleted list</a:t>
            </a:r>
          </a:p>
        </p:txBody>
      </p:sp>
      <p:sp>
        <p:nvSpPr>
          <p:cNvPr id="6" name="Text Placeholder 5">
            <a:extLst>
              <a:ext uri="{FF2B5EF4-FFF2-40B4-BE49-F238E27FC236}">
                <a16:creationId xmlns:a16="http://schemas.microsoft.com/office/drawing/2014/main" id="{0C7CB6BC-C8A7-4A75-A6B9-B1FF1BBFBC80}"/>
              </a:ext>
            </a:extLst>
          </p:cNvPr>
          <p:cNvSpPr>
            <a:spLocks noGrp="1"/>
          </p:cNvSpPr>
          <p:nvPr>
            <p:ph type="body" sz="quarter" idx="46" hasCustomPrompt="1"/>
          </p:nvPr>
        </p:nvSpPr>
        <p:spPr>
          <a:xfrm>
            <a:off x="1158240" y="1691640"/>
            <a:ext cx="9875520" cy="304699"/>
          </a:xfrm>
        </p:spPr>
        <p:txBody>
          <a:bodyPr vert="horz" wrap="square" lIns="0" tIns="0" rIns="0" bIns="0" rtlCol="0" anchor="ctr" anchorCtr="0">
            <a:spAutoFit/>
          </a:bodyPr>
          <a:lstStyle>
            <a:lvl1pPr>
              <a:defRPr lang="en-US" sz="2200" dirty="0"/>
            </a:lvl1pPr>
          </a:lstStyle>
          <a:p>
            <a:pPr marL="0" lvl="0" indent="0" algn="ctr">
              <a:buNone/>
            </a:pPr>
            <a:r>
              <a:rPr lang="en-US" dirty="0"/>
              <a:t>Call out blurb</a:t>
            </a:r>
          </a:p>
        </p:txBody>
      </p:sp>
      <p:sp>
        <p:nvSpPr>
          <p:cNvPr id="34" name="Picture Placeholder 6">
            <a:extLst>
              <a:ext uri="{FF2B5EF4-FFF2-40B4-BE49-F238E27FC236}">
                <a16:creationId xmlns:a16="http://schemas.microsoft.com/office/drawing/2014/main" id="{3523CA84-618D-4DD3-990C-F1CC2C9DA5C7}"/>
              </a:ext>
            </a:extLst>
          </p:cNvPr>
          <p:cNvSpPr>
            <a:spLocks noGrp="1"/>
          </p:cNvSpPr>
          <p:nvPr>
            <p:ph type="pic" sz="quarter" idx="41" hasCustomPrompt="1"/>
          </p:nvPr>
        </p:nvSpPr>
        <p:spPr>
          <a:xfrm>
            <a:off x="1073443" y="3741934"/>
            <a:ext cx="615416" cy="365760"/>
          </a:xfrm>
        </p:spPr>
        <p:txBody>
          <a:bodyPr/>
          <a:lstStyle>
            <a:lvl1pPr marL="0" indent="0" algn="ctr">
              <a:buFontTx/>
              <a:buNone/>
              <a:defRPr sz="800" b="1">
                <a:solidFill>
                  <a:schemeClr val="accent3"/>
                </a:solidFill>
              </a:defRPr>
            </a:lvl1pPr>
          </a:lstStyle>
          <a:p>
            <a:r>
              <a:rPr lang="en-US"/>
              <a:t>Paste icon from PTC PPT Library</a:t>
            </a:r>
          </a:p>
        </p:txBody>
      </p:sp>
      <p:sp>
        <p:nvSpPr>
          <p:cNvPr id="35" name="Picture Placeholder 6">
            <a:extLst>
              <a:ext uri="{FF2B5EF4-FFF2-40B4-BE49-F238E27FC236}">
                <a16:creationId xmlns:a16="http://schemas.microsoft.com/office/drawing/2014/main" id="{00C3A2E6-6C10-45B7-A881-66676E6B3403}"/>
              </a:ext>
            </a:extLst>
          </p:cNvPr>
          <p:cNvSpPr>
            <a:spLocks noGrp="1"/>
          </p:cNvSpPr>
          <p:nvPr>
            <p:ph type="pic" sz="quarter" idx="42" hasCustomPrompt="1"/>
          </p:nvPr>
        </p:nvSpPr>
        <p:spPr>
          <a:xfrm>
            <a:off x="3397543" y="3741934"/>
            <a:ext cx="615416" cy="365760"/>
          </a:xfrm>
        </p:spPr>
        <p:txBody>
          <a:bodyPr/>
          <a:lstStyle>
            <a:lvl1pPr marL="0" indent="0" algn="ctr">
              <a:buFontTx/>
              <a:buNone/>
              <a:defRPr sz="800" b="1">
                <a:solidFill>
                  <a:schemeClr val="accent3"/>
                </a:solidFill>
              </a:defRPr>
            </a:lvl1pPr>
          </a:lstStyle>
          <a:p>
            <a:r>
              <a:rPr lang="en-US" dirty="0"/>
              <a:t>Paste icon from PTC PPT Library</a:t>
            </a:r>
          </a:p>
        </p:txBody>
      </p:sp>
      <p:sp>
        <p:nvSpPr>
          <p:cNvPr id="36" name="Picture Placeholder 6">
            <a:extLst>
              <a:ext uri="{FF2B5EF4-FFF2-40B4-BE49-F238E27FC236}">
                <a16:creationId xmlns:a16="http://schemas.microsoft.com/office/drawing/2014/main" id="{C485E4FD-70C7-4930-A59E-249272568A6A}"/>
              </a:ext>
            </a:extLst>
          </p:cNvPr>
          <p:cNvSpPr>
            <a:spLocks noGrp="1"/>
          </p:cNvSpPr>
          <p:nvPr>
            <p:ph type="pic" sz="quarter" idx="43" hasCustomPrompt="1"/>
          </p:nvPr>
        </p:nvSpPr>
        <p:spPr>
          <a:xfrm>
            <a:off x="8007643" y="3741934"/>
            <a:ext cx="615416" cy="365760"/>
          </a:xfrm>
        </p:spPr>
        <p:txBody>
          <a:bodyPr/>
          <a:lstStyle>
            <a:lvl1pPr marL="0" indent="0" algn="ctr">
              <a:buFontTx/>
              <a:buNone/>
              <a:defRPr sz="800" b="1">
                <a:solidFill>
                  <a:schemeClr val="accent3"/>
                </a:solidFill>
              </a:defRPr>
            </a:lvl1pPr>
          </a:lstStyle>
          <a:p>
            <a:r>
              <a:rPr lang="en-US"/>
              <a:t>Paste icon from PTC PPT Library</a:t>
            </a:r>
          </a:p>
        </p:txBody>
      </p:sp>
      <p:sp>
        <p:nvSpPr>
          <p:cNvPr id="37" name="Picture Placeholder 6">
            <a:extLst>
              <a:ext uri="{FF2B5EF4-FFF2-40B4-BE49-F238E27FC236}">
                <a16:creationId xmlns:a16="http://schemas.microsoft.com/office/drawing/2014/main" id="{49C1F186-5A53-49CB-AEEA-AB482BCE273E}"/>
              </a:ext>
            </a:extLst>
          </p:cNvPr>
          <p:cNvSpPr>
            <a:spLocks noGrp="1"/>
          </p:cNvSpPr>
          <p:nvPr>
            <p:ph type="pic" sz="quarter" idx="44" hasCustomPrompt="1"/>
          </p:nvPr>
        </p:nvSpPr>
        <p:spPr>
          <a:xfrm>
            <a:off x="5645443" y="3741934"/>
            <a:ext cx="615416" cy="365760"/>
          </a:xfrm>
        </p:spPr>
        <p:txBody>
          <a:bodyPr/>
          <a:lstStyle>
            <a:lvl1pPr marL="0" indent="0" algn="ctr">
              <a:buFontTx/>
              <a:buNone/>
              <a:defRPr sz="800" b="1">
                <a:solidFill>
                  <a:schemeClr val="accent3"/>
                </a:solidFill>
              </a:defRPr>
            </a:lvl1pPr>
          </a:lstStyle>
          <a:p>
            <a:r>
              <a:rPr lang="en-US" dirty="0"/>
              <a:t>Paste icon from PTC PPT Library</a:t>
            </a:r>
          </a:p>
        </p:txBody>
      </p:sp>
      <p:sp>
        <p:nvSpPr>
          <p:cNvPr id="38" name="Picture Placeholder 6">
            <a:extLst>
              <a:ext uri="{FF2B5EF4-FFF2-40B4-BE49-F238E27FC236}">
                <a16:creationId xmlns:a16="http://schemas.microsoft.com/office/drawing/2014/main" id="{C79F9822-25A0-4B06-ABEB-694778C95E00}"/>
              </a:ext>
            </a:extLst>
          </p:cNvPr>
          <p:cNvSpPr>
            <a:spLocks noGrp="1"/>
          </p:cNvSpPr>
          <p:nvPr>
            <p:ph type="pic" sz="quarter" idx="45" hasCustomPrompt="1"/>
          </p:nvPr>
        </p:nvSpPr>
        <p:spPr>
          <a:xfrm>
            <a:off x="10369843" y="3741934"/>
            <a:ext cx="615416" cy="365760"/>
          </a:xfrm>
        </p:spPr>
        <p:txBody>
          <a:bodyPr/>
          <a:lstStyle>
            <a:lvl1pPr marL="0" indent="0" algn="ctr">
              <a:buFontTx/>
              <a:buNone/>
              <a:defRPr sz="800" b="1">
                <a:solidFill>
                  <a:schemeClr val="accent3"/>
                </a:solidFill>
              </a:defRPr>
            </a:lvl1pPr>
          </a:lstStyle>
          <a:p>
            <a:r>
              <a:rPr lang="en-US" dirty="0"/>
              <a:t>Paste icon from PTC PPT Library</a:t>
            </a:r>
          </a:p>
        </p:txBody>
      </p:sp>
    </p:spTree>
    <p:extLst>
      <p:ext uri="{BB962C8B-B14F-4D97-AF65-F5344CB8AC3E}">
        <p14:creationId xmlns:p14="http://schemas.microsoft.com/office/powerpoint/2010/main" val="39785925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Cover w Image">
    <p:bg>
      <p:bgRef idx="1001">
        <a:schemeClr val="bg1"/>
      </p:bgRef>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37373" y="5059333"/>
            <a:ext cx="4754880" cy="342017"/>
          </a:xfrm>
        </p:spPr>
        <p:txBody>
          <a:bodyPr vert="horz" wrap="square" lIns="0" tIns="9525" rIns="0" bIns="0" rtlCol="0">
            <a:spAutoFit/>
          </a:bodyPr>
          <a:lstStyle>
            <a:lvl1pPr marL="0" indent="0">
              <a:buNone/>
              <a:defRPr lang="en-US" sz="2400" b="1" kern="1200" spc="-4" dirty="0">
                <a:solidFill>
                  <a:schemeClr val="tx1"/>
                </a:solidFill>
                <a:latin typeface="+mj-lt"/>
                <a:ea typeface="+mn-ea"/>
                <a:cs typeface="PTCRaleway ExtraBold"/>
              </a:defRPr>
            </a:lvl1pPr>
          </a:lstStyle>
          <a:p>
            <a:pPr marL="9525" lvl="0">
              <a:spcBef>
                <a:spcPts val="75"/>
              </a:spcBef>
            </a:pPr>
            <a:r>
              <a:rPr lang="en-US"/>
              <a:t>Presenter’s Name</a:t>
            </a:r>
          </a:p>
        </p:txBody>
      </p:sp>
      <p:sp>
        <p:nvSpPr>
          <p:cNvPr id="8" name="Text Placeholder 7"/>
          <p:cNvSpPr>
            <a:spLocks noGrp="1"/>
          </p:cNvSpPr>
          <p:nvPr>
            <p:ph type="body" sz="quarter" idx="10" hasCustomPrompt="1"/>
          </p:nvPr>
        </p:nvSpPr>
        <p:spPr bwMode="gray">
          <a:xfrm>
            <a:off x="457383" y="5396933"/>
            <a:ext cx="4572000" cy="221599"/>
          </a:xfrm>
        </p:spPr>
        <p:txBody>
          <a:bodyPr>
            <a:noAutofit/>
          </a:bodyPr>
          <a:lstStyle>
            <a:lvl1pPr marL="0" indent="0" algn="l">
              <a:spcBef>
                <a:spcPts val="0"/>
              </a:spcBef>
              <a:buNone/>
              <a:defRPr lang="en-US" sz="1700" i="1" kern="1200" spc="8" dirty="0">
                <a:solidFill>
                  <a:schemeClr val="tx1"/>
                </a:solidFill>
                <a:latin typeface="+mj-lt"/>
                <a:ea typeface="+mn-ea"/>
                <a:cs typeface="PTCRaleway"/>
              </a:defRPr>
            </a:lvl1pPr>
            <a:lvl2pPr marL="455613" indent="0">
              <a:buNone/>
              <a:defRPr>
                <a:solidFill>
                  <a:schemeClr val="bg1"/>
                </a:solidFill>
              </a:defRPr>
            </a:lvl2pPr>
            <a:lvl3pPr marL="914400" indent="0">
              <a:buNone/>
              <a:defRPr>
                <a:solidFill>
                  <a:schemeClr val="bg1"/>
                </a:solidFill>
              </a:defRPr>
            </a:lvl3pPr>
            <a:lvl4pPr marL="1371600" indent="0">
              <a:buNone/>
              <a:defRPr>
                <a:solidFill>
                  <a:schemeClr val="bg1"/>
                </a:solidFill>
              </a:defRPr>
            </a:lvl4pPr>
            <a:lvl5pPr marL="1828800" indent="0">
              <a:buNone/>
              <a:defRPr>
                <a:solidFill>
                  <a:schemeClr val="bg1"/>
                </a:solidFill>
              </a:defRPr>
            </a:lvl5pPr>
          </a:lstStyle>
          <a:p>
            <a:pPr lvl="0"/>
            <a:r>
              <a:rPr lang="en-US"/>
              <a:t>Presenter’s Title</a:t>
            </a:r>
          </a:p>
        </p:txBody>
      </p:sp>
      <p:sp>
        <p:nvSpPr>
          <p:cNvPr id="10" name="Text Placeholder 9"/>
          <p:cNvSpPr>
            <a:spLocks noGrp="1"/>
          </p:cNvSpPr>
          <p:nvPr>
            <p:ph type="body" sz="quarter" idx="12" hasCustomPrompt="1"/>
          </p:nvPr>
        </p:nvSpPr>
        <p:spPr bwMode="gray">
          <a:xfrm>
            <a:off x="483723" y="6399289"/>
            <a:ext cx="3749040" cy="196592"/>
          </a:xfrm>
        </p:spPr>
        <p:txBody>
          <a:bodyPr vert="horz" wrap="square" lIns="0" tIns="9525" rIns="0" bIns="0" rtlCol="0" anchor="ctr" anchorCtr="0">
            <a:spAutoFit/>
          </a:bodyPr>
          <a:lstStyle>
            <a:lvl1pPr marL="0" indent="0">
              <a:buFontTx/>
              <a:buNone/>
              <a:defRPr lang="en-US" sz="1350" spc="8" dirty="0">
                <a:solidFill>
                  <a:schemeClr val="tx2">
                    <a:lumMod val="50000"/>
                  </a:schemeClr>
                </a:solidFill>
                <a:latin typeface="+mj-lt"/>
                <a:cs typeface="PTCRaleway"/>
              </a:defRPr>
            </a:lvl1pPr>
          </a:lstStyle>
          <a:p>
            <a:pPr marL="9525" lvl="0">
              <a:spcBef>
                <a:spcPts val="75"/>
              </a:spcBef>
            </a:pPr>
            <a:r>
              <a:rPr lang="en-US" dirty="0"/>
              <a:t>Add Date</a:t>
            </a:r>
          </a:p>
        </p:txBody>
      </p:sp>
      <p:sp>
        <p:nvSpPr>
          <p:cNvPr id="2" name="Title 1"/>
          <p:cNvSpPr>
            <a:spLocks noGrp="1"/>
          </p:cNvSpPr>
          <p:nvPr>
            <p:ph type="ctrTitle" hasCustomPrompt="1"/>
          </p:nvPr>
        </p:nvSpPr>
        <p:spPr bwMode="ltGray">
          <a:xfrm>
            <a:off x="427702" y="2708808"/>
            <a:ext cx="4409826" cy="1065933"/>
          </a:xfrm>
        </p:spPr>
        <p:txBody>
          <a:bodyPr vert="horz" wrap="square" lIns="0" tIns="9525" rIns="0" bIns="0" rtlCol="0" anchor="ctr" anchorCtr="0">
            <a:spAutoFit/>
          </a:bodyPr>
          <a:lstStyle>
            <a:lvl1pPr>
              <a:defRPr lang="en-US" sz="4200" b="1" dirty="0">
                <a:solidFill>
                  <a:schemeClr val="tx1"/>
                </a:solidFill>
              </a:defRPr>
            </a:lvl1pPr>
          </a:lstStyle>
          <a:p>
            <a:pPr marL="9525">
              <a:lnSpc>
                <a:spcPct val="78000"/>
              </a:lnSpc>
              <a:spcBef>
                <a:spcPts val="75"/>
              </a:spcBef>
              <a:tabLst>
                <a:tab pos="2245519" algn="l"/>
              </a:tabLst>
            </a:pPr>
            <a:r>
              <a:rPr lang="en-US" sz="4400" b="1" dirty="0"/>
              <a:t>PRESENTATION TITLE</a:t>
            </a:r>
          </a:p>
        </p:txBody>
      </p:sp>
      <p:pic>
        <p:nvPicPr>
          <p:cNvPr id="12" name="Graphic 11">
            <a:extLst>
              <a:ext uri="{FF2B5EF4-FFF2-40B4-BE49-F238E27FC236}">
                <a16:creationId xmlns:a16="http://schemas.microsoft.com/office/drawing/2014/main" id="{686A903A-4982-424F-B3B0-9B8CF40D994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040" y="6017774"/>
            <a:ext cx="2892560" cy="215304"/>
          </a:xfrm>
          <a:prstGeom prst="rect">
            <a:avLst/>
          </a:prstGeom>
        </p:spPr>
      </p:pic>
      <p:grpSp>
        <p:nvGrpSpPr>
          <p:cNvPr id="4" name="Group 3">
            <a:extLst>
              <a:ext uri="{FF2B5EF4-FFF2-40B4-BE49-F238E27FC236}">
                <a16:creationId xmlns:a16="http://schemas.microsoft.com/office/drawing/2014/main" id="{A9112476-DA2C-46A6-9213-5CA80A53F74F}"/>
              </a:ext>
            </a:extLst>
          </p:cNvPr>
          <p:cNvGrpSpPr/>
          <p:nvPr userDrawn="1"/>
        </p:nvGrpSpPr>
        <p:grpSpPr>
          <a:xfrm>
            <a:off x="4974342" y="0"/>
            <a:ext cx="7217659" cy="6867927"/>
            <a:chOff x="4974342" y="0"/>
            <a:chExt cx="7217659" cy="6867927"/>
          </a:xfrm>
          <a:blipFill>
            <a:blip r:embed="rId4">
              <a:extLst>
                <a:ext uri="{BEBA8EAE-BF5A-486C-A8C5-ECC9F3942E4B}">
                  <a14:imgProps xmlns:a14="http://schemas.microsoft.com/office/drawing/2010/main">
                    <a14:imgLayer r:embed="rId5">
                      <a14:imgEffect>
                        <a14:colorTemperature colorTemp="5900"/>
                      </a14:imgEffect>
                    </a14:imgLayer>
                  </a14:imgProps>
                </a:ext>
              </a:extLst>
            </a:blip>
            <a:stretch>
              <a:fillRect/>
            </a:stretch>
          </a:blipFill>
        </p:grpSpPr>
        <p:sp>
          <p:nvSpPr>
            <p:cNvPr id="15" name="Freeform: Shape 17">
              <a:extLst>
                <a:ext uri="{FF2B5EF4-FFF2-40B4-BE49-F238E27FC236}">
                  <a16:creationId xmlns:a16="http://schemas.microsoft.com/office/drawing/2014/main" id="{03572900-C8B4-4FAF-9AE0-E3560497EC94}"/>
                </a:ext>
              </a:extLst>
            </p:cNvPr>
            <p:cNvSpPr/>
            <p:nvPr/>
          </p:nvSpPr>
          <p:spPr>
            <a:xfrm>
              <a:off x="4974342" y="0"/>
              <a:ext cx="4554128" cy="6139965"/>
            </a:xfrm>
            <a:custGeom>
              <a:avLst/>
              <a:gdLst>
                <a:gd name="connsiteX0" fmla="*/ 1298953 w 4554128"/>
                <a:gd name="connsiteY0" fmla="*/ 0 h 6139965"/>
                <a:gd name="connsiteX1" fmla="*/ 4554128 w 4554128"/>
                <a:gd name="connsiteY1" fmla="*/ 0 h 6139965"/>
                <a:gd name="connsiteX2" fmla="*/ 2231403 w 4554128"/>
                <a:gd name="connsiteY2" fmla="*/ 6139965 h 6139965"/>
                <a:gd name="connsiteX3" fmla="*/ 0 w 4554128"/>
                <a:gd name="connsiteY3" fmla="*/ 3393340 h 6139965"/>
                <a:gd name="connsiteX4" fmla="*/ 1298953 w 4554128"/>
                <a:gd name="connsiteY4" fmla="*/ 0 h 61399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54128" h="6139965">
                  <a:moveTo>
                    <a:pt x="1298953" y="0"/>
                  </a:moveTo>
                  <a:lnTo>
                    <a:pt x="4554128" y="0"/>
                  </a:lnTo>
                  <a:lnTo>
                    <a:pt x="2231403" y="6139965"/>
                  </a:lnTo>
                  <a:lnTo>
                    <a:pt x="0" y="3393340"/>
                  </a:lnTo>
                  <a:lnTo>
                    <a:pt x="1298953"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Bef>
                  <a:spcPts val="800"/>
                </a:spcBef>
              </a:pPr>
              <a:endParaRPr lang="en-US">
                <a:solidFill>
                  <a:schemeClr val="bg1"/>
                </a:solidFill>
              </a:endParaRPr>
            </a:p>
          </p:txBody>
        </p:sp>
        <p:sp>
          <p:nvSpPr>
            <p:cNvPr id="16" name="Freeform: Shape 23">
              <a:extLst>
                <a:ext uri="{FF2B5EF4-FFF2-40B4-BE49-F238E27FC236}">
                  <a16:creationId xmlns:a16="http://schemas.microsoft.com/office/drawing/2014/main" id="{EAC1E2BB-6C9C-4678-9B6B-89CCFC6E6ECD}"/>
                </a:ext>
              </a:extLst>
            </p:cNvPr>
            <p:cNvSpPr/>
            <p:nvPr/>
          </p:nvSpPr>
          <p:spPr>
            <a:xfrm>
              <a:off x="9482470" y="0"/>
              <a:ext cx="2709530" cy="2273732"/>
            </a:xfrm>
            <a:custGeom>
              <a:avLst/>
              <a:gdLst>
                <a:gd name="connsiteX0" fmla="*/ 866270 w 2709530"/>
                <a:gd name="connsiteY0" fmla="*/ 0 h 2273732"/>
                <a:gd name="connsiteX1" fmla="*/ 2709530 w 2709530"/>
                <a:gd name="connsiteY1" fmla="*/ 0 h 2273732"/>
                <a:gd name="connsiteX2" fmla="*/ 2709530 w 2709530"/>
                <a:gd name="connsiteY2" fmla="*/ 1843430 h 2273732"/>
                <a:gd name="connsiteX3" fmla="*/ 0 w 2709530"/>
                <a:gd name="connsiteY3" fmla="*/ 2273732 h 2273732"/>
                <a:gd name="connsiteX4" fmla="*/ 866270 w 2709530"/>
                <a:gd name="connsiteY4" fmla="*/ 0 h 22737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09530" h="2273732">
                  <a:moveTo>
                    <a:pt x="866270" y="0"/>
                  </a:moveTo>
                  <a:lnTo>
                    <a:pt x="2709530" y="0"/>
                  </a:lnTo>
                  <a:lnTo>
                    <a:pt x="2709530" y="1843430"/>
                  </a:lnTo>
                  <a:lnTo>
                    <a:pt x="0" y="2273732"/>
                  </a:lnTo>
                  <a:lnTo>
                    <a:pt x="86627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Bef>
                  <a:spcPts val="800"/>
                </a:spcBef>
              </a:pPr>
              <a:endParaRPr lang="en-US">
                <a:solidFill>
                  <a:schemeClr val="bg1"/>
                </a:solidFill>
              </a:endParaRPr>
            </a:p>
          </p:txBody>
        </p:sp>
        <p:sp>
          <p:nvSpPr>
            <p:cNvPr id="17" name="Freeform: Shape 31">
              <a:extLst>
                <a:ext uri="{FF2B5EF4-FFF2-40B4-BE49-F238E27FC236}">
                  <a16:creationId xmlns:a16="http://schemas.microsoft.com/office/drawing/2014/main" id="{B7471F1D-1107-442C-8B1E-D54C148C5EB9}"/>
                </a:ext>
              </a:extLst>
            </p:cNvPr>
            <p:cNvSpPr/>
            <p:nvPr/>
          </p:nvSpPr>
          <p:spPr>
            <a:xfrm>
              <a:off x="7809494" y="2296870"/>
              <a:ext cx="4382507" cy="4571057"/>
            </a:xfrm>
            <a:custGeom>
              <a:avLst/>
              <a:gdLst>
                <a:gd name="connsiteX0" fmla="*/ 4382507 w 4382507"/>
                <a:gd name="connsiteY0" fmla="*/ 0 h 4571057"/>
                <a:gd name="connsiteX1" fmla="*/ 4382507 w 4382507"/>
                <a:gd name="connsiteY1" fmla="*/ 2755449 h 4571057"/>
                <a:gd name="connsiteX2" fmla="*/ 3801694 w 4382507"/>
                <a:gd name="connsiteY2" fmla="*/ 2849114 h 4571057"/>
                <a:gd name="connsiteX3" fmla="*/ 3484270 w 4382507"/>
                <a:gd name="connsiteY3" fmla="*/ 3687382 h 4571057"/>
                <a:gd name="connsiteX4" fmla="*/ 4382507 w 4382507"/>
                <a:gd name="connsiteY4" fmla="*/ 3541255 h 4571057"/>
                <a:gd name="connsiteX5" fmla="*/ 4382507 w 4382507"/>
                <a:gd name="connsiteY5" fmla="*/ 4571057 h 4571057"/>
                <a:gd name="connsiteX6" fmla="*/ 304272 w 4382507"/>
                <a:gd name="connsiteY6" fmla="*/ 4571057 h 4571057"/>
                <a:gd name="connsiteX7" fmla="*/ 0 w 4382507"/>
                <a:gd name="connsiteY7" fmla="*/ 4196530 h 4571057"/>
                <a:gd name="connsiteX8" fmla="*/ 1397515 w 4382507"/>
                <a:gd name="connsiteY8" fmla="*/ 474048 h 4571057"/>
                <a:gd name="connsiteX9" fmla="*/ 4382507 w 4382507"/>
                <a:gd name="connsiteY9" fmla="*/ 0 h 4571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82507" h="4571057">
                  <a:moveTo>
                    <a:pt x="4382507" y="0"/>
                  </a:moveTo>
                  <a:lnTo>
                    <a:pt x="4382507" y="2755449"/>
                  </a:lnTo>
                  <a:lnTo>
                    <a:pt x="3801694" y="2849114"/>
                  </a:lnTo>
                  <a:lnTo>
                    <a:pt x="3484270" y="3687382"/>
                  </a:lnTo>
                  <a:lnTo>
                    <a:pt x="4382507" y="3541255"/>
                  </a:lnTo>
                  <a:lnTo>
                    <a:pt x="4382507" y="4571057"/>
                  </a:lnTo>
                  <a:lnTo>
                    <a:pt x="304272" y="4571057"/>
                  </a:lnTo>
                  <a:lnTo>
                    <a:pt x="0" y="4196530"/>
                  </a:lnTo>
                  <a:lnTo>
                    <a:pt x="1397515" y="474048"/>
                  </a:lnTo>
                  <a:lnTo>
                    <a:pt x="4382507"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Bef>
                  <a:spcPts val="800"/>
                </a:spcBef>
              </a:pPr>
              <a:endParaRPr lang="en-US">
                <a:solidFill>
                  <a:schemeClr val="bg1"/>
                </a:solidFill>
              </a:endParaRPr>
            </a:p>
          </p:txBody>
        </p:sp>
      </p:grpSp>
      <p:sp>
        <p:nvSpPr>
          <p:cNvPr id="13" name="Freeform: Shape 31">
            <a:extLst>
              <a:ext uri="{FF2B5EF4-FFF2-40B4-BE49-F238E27FC236}">
                <a16:creationId xmlns:a16="http://schemas.microsoft.com/office/drawing/2014/main" id="{2C83A872-CA8B-4D60-A189-DDCE6CF43C9E}"/>
              </a:ext>
            </a:extLst>
          </p:cNvPr>
          <p:cNvSpPr/>
          <p:nvPr userDrawn="1"/>
        </p:nvSpPr>
        <p:spPr>
          <a:xfrm>
            <a:off x="7809493" y="2286943"/>
            <a:ext cx="4382507" cy="4571057"/>
          </a:xfrm>
          <a:custGeom>
            <a:avLst/>
            <a:gdLst>
              <a:gd name="connsiteX0" fmla="*/ 4382507 w 4382507"/>
              <a:gd name="connsiteY0" fmla="*/ 0 h 4571057"/>
              <a:gd name="connsiteX1" fmla="*/ 4382507 w 4382507"/>
              <a:gd name="connsiteY1" fmla="*/ 2755449 h 4571057"/>
              <a:gd name="connsiteX2" fmla="*/ 3801694 w 4382507"/>
              <a:gd name="connsiteY2" fmla="*/ 2849114 h 4571057"/>
              <a:gd name="connsiteX3" fmla="*/ 3484270 w 4382507"/>
              <a:gd name="connsiteY3" fmla="*/ 3687382 h 4571057"/>
              <a:gd name="connsiteX4" fmla="*/ 4382507 w 4382507"/>
              <a:gd name="connsiteY4" fmla="*/ 3541255 h 4571057"/>
              <a:gd name="connsiteX5" fmla="*/ 4382507 w 4382507"/>
              <a:gd name="connsiteY5" fmla="*/ 4571057 h 4571057"/>
              <a:gd name="connsiteX6" fmla="*/ 304272 w 4382507"/>
              <a:gd name="connsiteY6" fmla="*/ 4571057 h 4571057"/>
              <a:gd name="connsiteX7" fmla="*/ 0 w 4382507"/>
              <a:gd name="connsiteY7" fmla="*/ 4196530 h 4571057"/>
              <a:gd name="connsiteX8" fmla="*/ 1397515 w 4382507"/>
              <a:gd name="connsiteY8" fmla="*/ 474048 h 4571057"/>
              <a:gd name="connsiteX9" fmla="*/ 4382507 w 4382507"/>
              <a:gd name="connsiteY9" fmla="*/ 0 h 4571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82507" h="4571057">
                <a:moveTo>
                  <a:pt x="4382507" y="0"/>
                </a:moveTo>
                <a:lnTo>
                  <a:pt x="4382507" y="2755449"/>
                </a:lnTo>
                <a:lnTo>
                  <a:pt x="3801694" y="2849114"/>
                </a:lnTo>
                <a:lnTo>
                  <a:pt x="3484270" y="3687382"/>
                </a:lnTo>
                <a:lnTo>
                  <a:pt x="4382507" y="3541255"/>
                </a:lnTo>
                <a:lnTo>
                  <a:pt x="4382507" y="4571057"/>
                </a:lnTo>
                <a:lnTo>
                  <a:pt x="304272" y="4571057"/>
                </a:lnTo>
                <a:lnTo>
                  <a:pt x="0" y="4196530"/>
                </a:lnTo>
                <a:lnTo>
                  <a:pt x="1397515" y="474048"/>
                </a:lnTo>
                <a:lnTo>
                  <a:pt x="4382507" y="0"/>
                </a:lnTo>
                <a:close/>
              </a:path>
            </a:pathLst>
          </a:custGeom>
          <a:solidFill>
            <a:schemeClr val="bg2">
              <a:alpha val="9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Bef>
                <a:spcPts val="800"/>
              </a:spcBef>
            </a:pPr>
            <a:endParaRPr lang="en-US">
              <a:solidFill>
                <a:schemeClr val="bg1"/>
              </a:solidFill>
            </a:endParaRPr>
          </a:p>
        </p:txBody>
      </p:sp>
      <p:pic>
        <p:nvPicPr>
          <p:cNvPr id="14" name="Graphic 13">
            <a:extLst>
              <a:ext uri="{FF2B5EF4-FFF2-40B4-BE49-F238E27FC236}">
                <a16:creationId xmlns:a16="http://schemas.microsoft.com/office/drawing/2014/main" id="{9DFEF7AB-D202-411C-88E8-EE2C07650B05}"/>
              </a:ext>
            </a:extLst>
          </p:cNvPr>
          <p:cNvPicPr>
            <a:picLocks noChangeAspect="1"/>
          </p:cNvPicPr>
          <p:nvPr userDrawn="1"/>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29184" y="116399"/>
            <a:ext cx="3968766" cy="1609344"/>
          </a:xfrm>
          <a:prstGeom prst="rect">
            <a:avLst/>
          </a:prstGeom>
        </p:spPr>
      </p:pic>
    </p:spTree>
    <p:extLst>
      <p:ext uri="{BB962C8B-B14F-4D97-AF65-F5344CB8AC3E}">
        <p14:creationId xmlns:p14="http://schemas.microsoft.com/office/powerpoint/2010/main" val="84297651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dt="0"/>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amp; Video">
    <p:spTree>
      <p:nvGrpSpPr>
        <p:cNvPr id="1" name=""/>
        <p:cNvGrpSpPr/>
        <p:nvPr/>
      </p:nvGrpSpPr>
      <p:grpSpPr>
        <a:xfrm>
          <a:off x="0" y="0"/>
          <a:ext cx="0" cy="0"/>
          <a:chOff x="0" y="0"/>
          <a:chExt cx="0" cy="0"/>
        </a:xfrm>
      </p:grpSpPr>
      <p:sp>
        <p:nvSpPr>
          <p:cNvPr id="6" name="Media Placeholder 5">
            <a:extLst>
              <a:ext uri="{FF2B5EF4-FFF2-40B4-BE49-F238E27FC236}">
                <a16:creationId xmlns:a16="http://schemas.microsoft.com/office/drawing/2014/main" id="{5B05F195-396D-4D83-8F33-F626D282E766}"/>
              </a:ext>
            </a:extLst>
          </p:cNvPr>
          <p:cNvSpPr>
            <a:spLocks noGrp="1"/>
          </p:cNvSpPr>
          <p:nvPr>
            <p:ph type="media" sz="quarter" idx="10" hasCustomPrompt="1"/>
          </p:nvPr>
        </p:nvSpPr>
        <p:spPr>
          <a:xfrm>
            <a:off x="1731513" y="1439765"/>
            <a:ext cx="8728974" cy="4922935"/>
          </a:xfrm>
          <a:ln>
            <a:solidFill>
              <a:schemeClr val="bg2"/>
            </a:solidFill>
          </a:ln>
        </p:spPr>
        <p:txBody>
          <a:bodyPr vert="horz" lIns="0" tIns="0" rIns="0" bIns="731520" rtlCol="0" anchor="ctr" anchorCtr="0">
            <a:noAutofit/>
          </a:bodyPr>
          <a:lstStyle>
            <a:lvl1pPr marL="0" indent="0" algn="ctr">
              <a:buFontTx/>
              <a:buNone/>
              <a:defRPr lang="en-US">
                <a:solidFill>
                  <a:schemeClr val="accent5"/>
                </a:solidFill>
              </a:defRPr>
            </a:lvl1pPr>
          </a:lstStyle>
          <a:p>
            <a:r>
              <a:rPr lang="en-US" dirty="0"/>
              <a:t>Click media icon to add video</a:t>
            </a:r>
          </a:p>
        </p:txBody>
      </p:sp>
      <p:sp>
        <p:nvSpPr>
          <p:cNvPr id="3" name="Title 2">
            <a:extLst>
              <a:ext uri="{FF2B5EF4-FFF2-40B4-BE49-F238E27FC236}">
                <a16:creationId xmlns:a16="http://schemas.microsoft.com/office/drawing/2014/main" id="{DBEAE63A-39ED-4825-AFB2-206AF22C5598}"/>
              </a:ext>
            </a:extLst>
          </p:cNvPr>
          <p:cNvSpPr>
            <a:spLocks noGrp="1"/>
          </p:cNvSpPr>
          <p:nvPr>
            <p:ph type="title" hasCustomPrompt="1"/>
          </p:nvPr>
        </p:nvSpPr>
        <p:spPr/>
        <p:txBody>
          <a:bodyPr/>
          <a:lstStyle>
            <a:lvl1pPr>
              <a:defRPr/>
            </a:lvl1pPr>
          </a:lstStyle>
          <a:p>
            <a:r>
              <a:rPr lang="en-US" dirty="0"/>
              <a:t>add title – keep it brief</a:t>
            </a:r>
          </a:p>
        </p:txBody>
      </p:sp>
    </p:spTree>
    <p:extLst>
      <p:ext uri="{BB962C8B-B14F-4D97-AF65-F5344CB8AC3E}">
        <p14:creationId xmlns:p14="http://schemas.microsoft.com/office/powerpoint/2010/main" val="11689664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Content No Footer">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490760" y="1713755"/>
            <a:ext cx="10789920" cy="4482201"/>
          </a:xfrm>
        </p:spPr>
        <p:txBody>
          <a:bodyPr vert="horz" lIns="0" tIns="0" rIns="0" bIns="0" rtlCol="0">
            <a:noAutofit/>
          </a:bodyPr>
          <a:lstStyle>
            <a:lvl1pPr>
              <a:defRPr lang="en-US" noProof="0" dirty="0" smtClean="0"/>
            </a:lvl1pPr>
            <a:lvl2pPr>
              <a:defRPr lang="en-US" noProof="0" dirty="0" smtClean="0"/>
            </a:lvl2pPr>
            <a:lvl3pPr>
              <a:defRPr lang="en-US" noProof="0" dirty="0" smtClean="0"/>
            </a:lvl3pPr>
            <a:lvl4pPr>
              <a:defRPr lang="en-US" noProof="0" dirty="0" smtClean="0"/>
            </a:lvl4pPr>
            <a:lvl5pPr>
              <a:defRPr lang="en-US" noProof="0" dirty="0"/>
            </a:lvl5pPr>
          </a:lstStyle>
          <a:p>
            <a:pPr lvl="0"/>
            <a:r>
              <a:rPr kumimoji="0" lang="en-US" sz="2400" b="0" i="0" u="none" strike="noStrike" kern="1200" cap="none" spc="0" normalizeH="0" baseline="0" noProof="0" dirty="0">
                <a:ln>
                  <a:noFill/>
                </a:ln>
                <a:solidFill>
                  <a:srgbClr val="3D4647"/>
                </a:solidFill>
                <a:effectLst/>
                <a:uLnTx/>
                <a:uFillTx/>
                <a:latin typeface="PTCRaleway"/>
                <a:ea typeface="+mn-ea"/>
                <a:cs typeface="+mn-cs"/>
              </a:rPr>
              <a:t>Add text</a:t>
            </a:r>
          </a:p>
          <a:p>
            <a:pPr lvl="1"/>
            <a:r>
              <a:rPr kumimoji="0" lang="en-US" sz="2000" b="0" i="0" u="none" strike="noStrike" kern="1200" cap="none" spc="0" normalizeH="0" baseline="0" noProof="0" dirty="0">
                <a:ln>
                  <a:noFill/>
                </a:ln>
                <a:solidFill>
                  <a:srgbClr val="3D4647"/>
                </a:solidFill>
                <a:effectLst/>
                <a:uLnTx/>
                <a:uFillTx/>
                <a:latin typeface="PTCRaleway"/>
                <a:ea typeface="+mn-ea"/>
                <a:cs typeface="+mn-cs"/>
              </a:rPr>
              <a:t>Second level</a:t>
            </a:r>
          </a:p>
          <a:p>
            <a:pPr lvl="2"/>
            <a:r>
              <a:rPr kumimoji="0" lang="en-US" sz="1800" b="0" i="0" u="none" strike="noStrike" kern="1200" cap="none" spc="0" normalizeH="0" baseline="0" noProof="0" dirty="0">
                <a:ln>
                  <a:noFill/>
                </a:ln>
                <a:solidFill>
                  <a:srgbClr val="3D4647"/>
                </a:solidFill>
                <a:effectLst/>
                <a:uLnTx/>
                <a:uFillTx/>
                <a:latin typeface="PTCRaleway"/>
                <a:ea typeface="+mn-ea"/>
                <a:cs typeface="+mn-cs"/>
              </a:rPr>
              <a:t>Third level</a:t>
            </a:r>
          </a:p>
          <a:p>
            <a:pPr lvl="3"/>
            <a:r>
              <a:rPr kumimoji="0" lang="en-US" sz="1600" b="0" i="0" u="none" strike="noStrike" kern="1200" cap="none" spc="0" normalizeH="0" baseline="0" noProof="0" dirty="0">
                <a:ln>
                  <a:noFill/>
                </a:ln>
                <a:solidFill>
                  <a:srgbClr val="3D4647"/>
                </a:solidFill>
                <a:effectLst/>
                <a:uLnTx/>
                <a:uFillTx/>
                <a:latin typeface="PTCRaleway"/>
                <a:ea typeface="+mn-ea"/>
                <a:cs typeface="+mn-cs"/>
              </a:rPr>
              <a:t>Fourth level</a:t>
            </a:r>
          </a:p>
          <a:p>
            <a:pPr lvl="4"/>
            <a:r>
              <a:rPr kumimoji="0" lang="en-US" sz="1400" b="0" i="0" u="none" strike="noStrike" kern="1200" cap="none" spc="0" normalizeH="0" baseline="0" noProof="0" dirty="0">
                <a:ln>
                  <a:noFill/>
                </a:ln>
                <a:solidFill>
                  <a:srgbClr val="3D4647"/>
                </a:solidFill>
                <a:effectLst/>
                <a:uLnTx/>
                <a:uFillTx/>
                <a:latin typeface="PTCRaleway"/>
                <a:ea typeface="+mn-ea"/>
                <a:cs typeface="+mn-cs"/>
              </a:rPr>
              <a:t>Fifth level</a:t>
            </a:r>
          </a:p>
        </p:txBody>
      </p:sp>
      <p:sp>
        <p:nvSpPr>
          <p:cNvPr id="4" name="Title 3">
            <a:extLst>
              <a:ext uri="{FF2B5EF4-FFF2-40B4-BE49-F238E27FC236}">
                <a16:creationId xmlns:a16="http://schemas.microsoft.com/office/drawing/2014/main" id="{C14A7928-2068-42B4-AB1B-DA77806D13C2}"/>
              </a:ext>
            </a:extLst>
          </p:cNvPr>
          <p:cNvSpPr>
            <a:spLocks noGrp="1"/>
          </p:cNvSpPr>
          <p:nvPr>
            <p:ph type="title" hasCustomPrompt="1"/>
          </p:nvPr>
        </p:nvSpPr>
        <p:spPr>
          <a:xfrm>
            <a:off x="490760" y="678174"/>
            <a:ext cx="10789920" cy="369332"/>
          </a:xfrm>
        </p:spPr>
        <p:txBody>
          <a:bodyPr/>
          <a:lstStyle>
            <a:lvl1pPr>
              <a:defRPr/>
            </a:lvl1pPr>
          </a:lstStyle>
          <a:p>
            <a:r>
              <a:rPr lang="en-US" dirty="0"/>
              <a:t>add title – keep it brief</a:t>
            </a:r>
          </a:p>
        </p:txBody>
      </p:sp>
      <p:sp>
        <p:nvSpPr>
          <p:cNvPr id="5" name="Freeform: Shape 4">
            <a:extLst>
              <a:ext uri="{FF2B5EF4-FFF2-40B4-BE49-F238E27FC236}">
                <a16:creationId xmlns:a16="http://schemas.microsoft.com/office/drawing/2014/main" id="{5DD20BEA-D0C6-499E-90FB-BB7F1A830939}"/>
              </a:ext>
            </a:extLst>
          </p:cNvPr>
          <p:cNvSpPr/>
          <p:nvPr userDrawn="1"/>
        </p:nvSpPr>
        <p:spPr>
          <a:xfrm>
            <a:off x="3048" y="6624536"/>
            <a:ext cx="12188952" cy="233465"/>
          </a:xfrm>
          <a:custGeom>
            <a:avLst/>
            <a:gdLst>
              <a:gd name="connsiteX0" fmla="*/ 8949770 w 12188952"/>
              <a:gd name="connsiteY0" fmla="*/ 0 h 233465"/>
              <a:gd name="connsiteX1" fmla="*/ 12188952 w 12188952"/>
              <a:gd name="connsiteY1" fmla="*/ 0 h 233465"/>
              <a:gd name="connsiteX2" fmla="*/ 12188952 w 12188952"/>
              <a:gd name="connsiteY2" fmla="*/ 114871 h 233465"/>
              <a:gd name="connsiteX3" fmla="*/ 12188952 w 12188952"/>
              <a:gd name="connsiteY3" fmla="*/ 169441 h 233465"/>
              <a:gd name="connsiteX4" fmla="*/ 12188952 w 12188952"/>
              <a:gd name="connsiteY4" fmla="*/ 233465 h 233465"/>
              <a:gd name="connsiteX5" fmla="*/ 9027859 w 12188952"/>
              <a:gd name="connsiteY5" fmla="*/ 233465 h 233465"/>
              <a:gd name="connsiteX6" fmla="*/ 1048596 w 12188952"/>
              <a:gd name="connsiteY6" fmla="*/ 233465 h 233465"/>
              <a:gd name="connsiteX7" fmla="*/ 33436 w 12188952"/>
              <a:gd name="connsiteY7" fmla="*/ 233465 h 233465"/>
              <a:gd name="connsiteX8" fmla="*/ 0 w 12188952"/>
              <a:gd name="connsiteY8" fmla="*/ 233465 h 233465"/>
              <a:gd name="connsiteX9" fmla="*/ 0 w 12188952"/>
              <a:gd name="connsiteY9" fmla="*/ 169375 h 233465"/>
              <a:gd name="connsiteX10" fmla="*/ 0 w 12188952"/>
              <a:gd name="connsiteY10" fmla="*/ 126232 h 233465"/>
              <a:gd name="connsiteX11" fmla="*/ 0 w 12188952"/>
              <a:gd name="connsiteY11" fmla="*/ 109891 h 233465"/>
              <a:gd name="connsiteX12" fmla="*/ 8695556 w 12188952"/>
              <a:gd name="connsiteY12" fmla="*/ 109891 h 233465"/>
              <a:gd name="connsiteX13" fmla="*/ 8949770 w 12188952"/>
              <a:gd name="connsiteY13" fmla="*/ 0 h 2334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188952" h="233465">
                <a:moveTo>
                  <a:pt x="8949770" y="0"/>
                </a:moveTo>
                <a:lnTo>
                  <a:pt x="12188952" y="0"/>
                </a:lnTo>
                <a:lnTo>
                  <a:pt x="12188952" y="114871"/>
                </a:lnTo>
                <a:lnTo>
                  <a:pt x="12188952" y="169441"/>
                </a:lnTo>
                <a:lnTo>
                  <a:pt x="12188952" y="233465"/>
                </a:lnTo>
                <a:lnTo>
                  <a:pt x="9027859" y="233465"/>
                </a:lnTo>
                <a:lnTo>
                  <a:pt x="1048596" y="233465"/>
                </a:lnTo>
                <a:lnTo>
                  <a:pt x="33436" y="233465"/>
                </a:lnTo>
                <a:lnTo>
                  <a:pt x="0" y="233465"/>
                </a:lnTo>
                <a:lnTo>
                  <a:pt x="0" y="169375"/>
                </a:lnTo>
                <a:lnTo>
                  <a:pt x="0" y="126232"/>
                </a:lnTo>
                <a:lnTo>
                  <a:pt x="0" y="109891"/>
                </a:lnTo>
                <a:lnTo>
                  <a:pt x="8695556" y="109891"/>
                </a:lnTo>
                <a:lnTo>
                  <a:pt x="894977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086775" rtl="0" eaLnBrk="1" fontAlgn="auto" latinLnBrk="0" hangingPunct="1">
              <a:lnSpc>
                <a:spcPct val="90000"/>
              </a:lnSpc>
              <a:spcBef>
                <a:spcPts val="800"/>
              </a:spcBef>
              <a:spcAft>
                <a:spcPts val="0"/>
              </a:spcAft>
              <a:buClrTx/>
              <a:buSzTx/>
              <a:buFontTx/>
              <a:buNone/>
              <a:tabLst/>
              <a:defRPr/>
            </a:pPr>
            <a:endParaRPr kumimoji="0" lang="en-US" sz="2200" b="0" i="0" u="none" strike="noStrike" kern="1200" cap="none" spc="0" normalizeH="0" baseline="0" noProof="0" dirty="0">
              <a:ln>
                <a:noFill/>
              </a:ln>
              <a:solidFill>
                <a:srgbClr val="FFFFFF"/>
              </a:solidFill>
              <a:effectLst/>
              <a:uLnTx/>
              <a:uFillTx/>
              <a:latin typeface="PTCRaleway" panose="020B0503030101060003" pitchFamily="34" charset="0"/>
              <a:ea typeface="+mn-ea"/>
              <a:cs typeface="+mn-cs"/>
            </a:endParaRPr>
          </a:p>
        </p:txBody>
      </p:sp>
    </p:spTree>
    <p:extLst>
      <p:ext uri="{BB962C8B-B14F-4D97-AF65-F5344CB8AC3E}">
        <p14:creationId xmlns:p14="http://schemas.microsoft.com/office/powerpoint/2010/main" val="29283748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Title Only No Foot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7A4D7EE-4EB9-47BD-B3ED-30248208721D}"/>
              </a:ext>
            </a:extLst>
          </p:cNvPr>
          <p:cNvSpPr>
            <a:spLocks noGrp="1"/>
          </p:cNvSpPr>
          <p:nvPr>
            <p:ph type="title" hasCustomPrompt="1"/>
          </p:nvPr>
        </p:nvSpPr>
        <p:spPr/>
        <p:txBody>
          <a:bodyPr/>
          <a:lstStyle>
            <a:lvl1pPr>
              <a:defRPr/>
            </a:lvl1pPr>
          </a:lstStyle>
          <a:p>
            <a:r>
              <a:rPr lang="en-US" dirty="0"/>
              <a:t>add title – keep it brief</a:t>
            </a:r>
          </a:p>
        </p:txBody>
      </p:sp>
      <p:sp>
        <p:nvSpPr>
          <p:cNvPr id="4" name="Freeform: Shape 3">
            <a:extLst>
              <a:ext uri="{FF2B5EF4-FFF2-40B4-BE49-F238E27FC236}">
                <a16:creationId xmlns:a16="http://schemas.microsoft.com/office/drawing/2014/main" id="{E3BA5223-32A3-4F4D-A64E-5A3DC4846203}"/>
              </a:ext>
            </a:extLst>
          </p:cNvPr>
          <p:cNvSpPr/>
          <p:nvPr userDrawn="1"/>
        </p:nvSpPr>
        <p:spPr>
          <a:xfrm>
            <a:off x="3048" y="6601968"/>
            <a:ext cx="12188952" cy="256032"/>
          </a:xfrm>
          <a:custGeom>
            <a:avLst/>
            <a:gdLst>
              <a:gd name="connsiteX0" fmla="*/ 8949770 w 12188952"/>
              <a:gd name="connsiteY0" fmla="*/ 0 h 233465"/>
              <a:gd name="connsiteX1" fmla="*/ 12188952 w 12188952"/>
              <a:gd name="connsiteY1" fmla="*/ 0 h 233465"/>
              <a:gd name="connsiteX2" fmla="*/ 12188952 w 12188952"/>
              <a:gd name="connsiteY2" fmla="*/ 114871 h 233465"/>
              <a:gd name="connsiteX3" fmla="*/ 12188952 w 12188952"/>
              <a:gd name="connsiteY3" fmla="*/ 169441 h 233465"/>
              <a:gd name="connsiteX4" fmla="*/ 12188952 w 12188952"/>
              <a:gd name="connsiteY4" fmla="*/ 233465 h 233465"/>
              <a:gd name="connsiteX5" fmla="*/ 9027859 w 12188952"/>
              <a:gd name="connsiteY5" fmla="*/ 233465 h 233465"/>
              <a:gd name="connsiteX6" fmla="*/ 1048596 w 12188952"/>
              <a:gd name="connsiteY6" fmla="*/ 233465 h 233465"/>
              <a:gd name="connsiteX7" fmla="*/ 33436 w 12188952"/>
              <a:gd name="connsiteY7" fmla="*/ 233465 h 233465"/>
              <a:gd name="connsiteX8" fmla="*/ 0 w 12188952"/>
              <a:gd name="connsiteY8" fmla="*/ 233465 h 233465"/>
              <a:gd name="connsiteX9" fmla="*/ 0 w 12188952"/>
              <a:gd name="connsiteY9" fmla="*/ 169375 h 233465"/>
              <a:gd name="connsiteX10" fmla="*/ 0 w 12188952"/>
              <a:gd name="connsiteY10" fmla="*/ 126232 h 233465"/>
              <a:gd name="connsiteX11" fmla="*/ 0 w 12188952"/>
              <a:gd name="connsiteY11" fmla="*/ 109891 h 233465"/>
              <a:gd name="connsiteX12" fmla="*/ 8695556 w 12188952"/>
              <a:gd name="connsiteY12" fmla="*/ 109891 h 233465"/>
              <a:gd name="connsiteX13" fmla="*/ 8949770 w 12188952"/>
              <a:gd name="connsiteY13" fmla="*/ 0 h 2334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188952" h="233465">
                <a:moveTo>
                  <a:pt x="8949770" y="0"/>
                </a:moveTo>
                <a:lnTo>
                  <a:pt x="12188952" y="0"/>
                </a:lnTo>
                <a:lnTo>
                  <a:pt x="12188952" y="114871"/>
                </a:lnTo>
                <a:lnTo>
                  <a:pt x="12188952" y="169441"/>
                </a:lnTo>
                <a:lnTo>
                  <a:pt x="12188952" y="233465"/>
                </a:lnTo>
                <a:lnTo>
                  <a:pt x="9027859" y="233465"/>
                </a:lnTo>
                <a:lnTo>
                  <a:pt x="1048596" y="233465"/>
                </a:lnTo>
                <a:lnTo>
                  <a:pt x="33436" y="233465"/>
                </a:lnTo>
                <a:lnTo>
                  <a:pt x="0" y="233465"/>
                </a:lnTo>
                <a:lnTo>
                  <a:pt x="0" y="169375"/>
                </a:lnTo>
                <a:lnTo>
                  <a:pt x="0" y="126232"/>
                </a:lnTo>
                <a:lnTo>
                  <a:pt x="0" y="109891"/>
                </a:lnTo>
                <a:lnTo>
                  <a:pt x="8695556" y="109891"/>
                </a:lnTo>
                <a:lnTo>
                  <a:pt x="894977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086775" rtl="0" eaLnBrk="1" fontAlgn="auto" latinLnBrk="0" hangingPunct="1">
              <a:lnSpc>
                <a:spcPct val="90000"/>
              </a:lnSpc>
              <a:spcBef>
                <a:spcPts val="800"/>
              </a:spcBef>
              <a:spcAft>
                <a:spcPts val="0"/>
              </a:spcAft>
              <a:buClrTx/>
              <a:buSzTx/>
              <a:buFontTx/>
              <a:buNone/>
              <a:tabLst/>
              <a:defRPr/>
            </a:pPr>
            <a:r>
              <a:rPr kumimoji="0" lang="en-US" sz="2200" b="0" i="0" u="none" strike="noStrike" kern="1200" cap="none" spc="0" normalizeH="0" baseline="0" noProof="0" dirty="0">
                <a:ln>
                  <a:noFill/>
                </a:ln>
                <a:solidFill>
                  <a:srgbClr val="FFFFFF"/>
                </a:solidFill>
                <a:effectLst/>
                <a:uLnTx/>
                <a:uFillTx/>
                <a:latin typeface="PTCRaleway" panose="020B0503030101060003" pitchFamily="34" charset="0"/>
                <a:ea typeface="+mn-ea"/>
                <a:cs typeface="+mn-cs"/>
              </a:rPr>
              <a:t>\</a:t>
            </a:r>
          </a:p>
        </p:txBody>
      </p:sp>
    </p:spTree>
    <p:extLst>
      <p:ext uri="{BB962C8B-B14F-4D97-AF65-F5344CB8AC3E}">
        <p14:creationId xmlns:p14="http://schemas.microsoft.com/office/powerpoint/2010/main" val="26922129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Closing Slide">
    <p:bg>
      <p:bgPr>
        <a:solidFill>
          <a:srgbClr val="3C4647"/>
        </a:solidFill>
        <a:effectLst/>
      </p:bgPr>
    </p:bg>
    <p:spTree>
      <p:nvGrpSpPr>
        <p:cNvPr id="1" name=""/>
        <p:cNvGrpSpPr/>
        <p:nvPr/>
      </p:nvGrpSpPr>
      <p:grpSpPr>
        <a:xfrm>
          <a:off x="0" y="0"/>
          <a:ext cx="0" cy="0"/>
          <a:chOff x="0" y="0"/>
          <a:chExt cx="0" cy="0"/>
        </a:xfrm>
      </p:grpSpPr>
      <p:sp>
        <p:nvSpPr>
          <p:cNvPr id="9" name="object 20">
            <a:hlinkClick r:id="rId2"/>
            <a:extLst>
              <a:ext uri="{FF2B5EF4-FFF2-40B4-BE49-F238E27FC236}">
                <a16:creationId xmlns:a16="http://schemas.microsoft.com/office/drawing/2014/main" id="{7ED43A46-AFFE-4105-A07A-4D800F0FD780}"/>
              </a:ext>
            </a:extLst>
          </p:cNvPr>
          <p:cNvSpPr txBox="1"/>
          <p:nvPr userDrawn="1"/>
        </p:nvSpPr>
        <p:spPr>
          <a:xfrm>
            <a:off x="369696" y="5208601"/>
            <a:ext cx="2459879" cy="322523"/>
          </a:xfrm>
          <a:prstGeom prst="rect">
            <a:avLst/>
          </a:prstGeom>
        </p:spPr>
        <p:txBody>
          <a:bodyPr vert="horz" wrap="square" lIns="0" tIns="14604" rIns="0" bIns="0" rtlCol="0">
            <a:spAutoFit/>
          </a:bodyPr>
          <a:lstStyle/>
          <a:p>
            <a:pPr marL="12700" marR="0" lvl="0" indent="0" algn="ctr" defTabSz="1086775" rtl="0" eaLnBrk="1" fontAlgn="auto" latinLnBrk="0" hangingPunct="1">
              <a:lnSpc>
                <a:spcPct val="100000"/>
              </a:lnSpc>
              <a:spcBef>
                <a:spcPts val="114"/>
              </a:spcBef>
              <a:spcAft>
                <a:spcPts val="0"/>
              </a:spcAft>
              <a:buClrTx/>
              <a:buSzTx/>
              <a:buFontTx/>
              <a:buNone/>
              <a:tabLst/>
              <a:defRPr/>
            </a:pPr>
            <a:r>
              <a:rPr kumimoji="0" sz="2000" b="1" i="0" u="none" strike="noStrike" kern="1200" cap="none" spc="200" normalizeH="0" noProof="0" dirty="0">
                <a:ln>
                  <a:noFill/>
                </a:ln>
                <a:solidFill>
                  <a:schemeClr val="bg2"/>
                </a:solidFill>
                <a:effectLst/>
                <a:uLnTx/>
                <a:uFillTx/>
                <a:latin typeface="PTCRaleway"/>
                <a:ea typeface="+mn-ea"/>
                <a:cs typeface="PTCRaleway"/>
              </a:rPr>
              <a:t>ptc.com</a:t>
            </a:r>
            <a:endParaRPr kumimoji="0" sz="2000" b="0" i="0" u="none" strike="noStrike" kern="1200" cap="none" spc="200" normalizeH="0" noProof="0" dirty="0">
              <a:ln>
                <a:noFill/>
              </a:ln>
              <a:solidFill>
                <a:schemeClr val="bg2"/>
              </a:solidFill>
              <a:effectLst/>
              <a:uLnTx/>
              <a:uFillTx/>
              <a:latin typeface="PTCRaleway"/>
              <a:ea typeface="+mn-ea"/>
              <a:cs typeface="PTCRaleway"/>
            </a:endParaRPr>
          </a:p>
        </p:txBody>
      </p:sp>
      <p:grpSp>
        <p:nvGrpSpPr>
          <p:cNvPr id="7" name="Group 6">
            <a:extLst>
              <a:ext uri="{FF2B5EF4-FFF2-40B4-BE49-F238E27FC236}">
                <a16:creationId xmlns:a16="http://schemas.microsoft.com/office/drawing/2014/main" id="{969ABB46-9366-47EC-8281-970F2B4A701E}"/>
              </a:ext>
            </a:extLst>
          </p:cNvPr>
          <p:cNvGrpSpPr/>
          <p:nvPr userDrawn="1"/>
        </p:nvGrpSpPr>
        <p:grpSpPr>
          <a:xfrm>
            <a:off x="4220144" y="3133535"/>
            <a:ext cx="3751712" cy="590931"/>
            <a:chOff x="4538660" y="3133535"/>
            <a:chExt cx="3751712" cy="590931"/>
          </a:xfrm>
        </p:grpSpPr>
        <p:sp>
          <p:nvSpPr>
            <p:cNvPr id="30" name="Title 5">
              <a:extLst>
                <a:ext uri="{FF2B5EF4-FFF2-40B4-BE49-F238E27FC236}">
                  <a16:creationId xmlns:a16="http://schemas.microsoft.com/office/drawing/2014/main" id="{61A34D6B-75F2-4EF8-8F57-128F503089FE}"/>
                </a:ext>
              </a:extLst>
            </p:cNvPr>
            <p:cNvSpPr txBox="1">
              <a:spLocks/>
            </p:cNvSpPr>
            <p:nvPr userDrawn="1"/>
          </p:nvSpPr>
          <p:spPr>
            <a:xfrm>
              <a:off x="6784848" y="3133535"/>
              <a:ext cx="1505524" cy="590931"/>
            </a:xfrm>
            <a:prstGeom prst="rect">
              <a:avLst/>
            </a:prstGeom>
          </p:spPr>
          <p:txBody>
            <a:bodyPr vert="horz" wrap="square" lIns="0" tIns="0" rIns="0" bIns="0" rtlCol="0" anchor="ctr" anchorCtr="0">
              <a:spAutoFit/>
            </a:bodyPr>
            <a:lstStyle>
              <a:lvl1pPr algn="ctr" defTabSz="1086775" rtl="0" eaLnBrk="1" latinLnBrk="0" hangingPunct="1">
                <a:lnSpc>
                  <a:spcPct val="80000"/>
                </a:lnSpc>
                <a:spcBef>
                  <a:spcPct val="0"/>
                </a:spcBef>
                <a:buNone/>
                <a:defRPr sz="4800" b="0" kern="1200" cap="all" baseline="0">
                  <a:solidFill>
                    <a:schemeClr val="bg1"/>
                  </a:solidFill>
                  <a:latin typeface="PTCRaleway Black" panose="020B0A03030101060003" pitchFamily="34" charset="0"/>
                  <a:ea typeface="+mj-ea"/>
                  <a:cs typeface="+mj-cs"/>
                </a:defRPr>
              </a:lvl1pPr>
            </a:lstStyle>
            <a:p>
              <a:r>
                <a:rPr lang="en-US" dirty="0">
                  <a:latin typeface="+mn-lt"/>
                </a:rPr>
                <a:t>you</a:t>
              </a:r>
            </a:p>
          </p:txBody>
        </p:sp>
        <p:sp>
          <p:nvSpPr>
            <p:cNvPr id="31" name="Title 5">
              <a:extLst>
                <a:ext uri="{FF2B5EF4-FFF2-40B4-BE49-F238E27FC236}">
                  <a16:creationId xmlns:a16="http://schemas.microsoft.com/office/drawing/2014/main" id="{21ED058C-9AE3-4F6F-8EC1-CF71ABA78546}"/>
                </a:ext>
              </a:extLst>
            </p:cNvPr>
            <p:cNvSpPr txBox="1">
              <a:spLocks/>
            </p:cNvSpPr>
            <p:nvPr userDrawn="1"/>
          </p:nvSpPr>
          <p:spPr>
            <a:xfrm>
              <a:off x="4538660" y="3133535"/>
              <a:ext cx="2325436" cy="590931"/>
            </a:xfrm>
            <a:prstGeom prst="rect">
              <a:avLst/>
            </a:prstGeom>
          </p:spPr>
          <p:txBody>
            <a:bodyPr vert="horz" lIns="0" tIns="0" rIns="0" bIns="0" rtlCol="0" anchor="ctr" anchorCtr="0">
              <a:spAutoFit/>
            </a:bodyPr>
            <a:lstStyle>
              <a:lvl1pPr algn="ctr" defTabSz="1086775" rtl="0" eaLnBrk="1" latinLnBrk="0" hangingPunct="1">
                <a:lnSpc>
                  <a:spcPct val="80000"/>
                </a:lnSpc>
                <a:spcBef>
                  <a:spcPct val="0"/>
                </a:spcBef>
                <a:buNone/>
                <a:defRPr sz="4800" b="0" kern="1200" cap="all" baseline="0">
                  <a:solidFill>
                    <a:schemeClr val="bg1"/>
                  </a:solidFill>
                  <a:latin typeface="PTCRaleway Black" panose="020B0A03030101060003" pitchFamily="34" charset="0"/>
                  <a:ea typeface="+mj-ea"/>
                  <a:cs typeface="+mj-cs"/>
                </a:defRPr>
              </a:lvl1pPr>
            </a:lstStyle>
            <a:p>
              <a:r>
                <a:rPr lang="en-US" dirty="0"/>
                <a:t>thank</a:t>
              </a:r>
            </a:p>
          </p:txBody>
        </p:sp>
      </p:grpSp>
      <p:pic>
        <p:nvPicPr>
          <p:cNvPr id="32" name="Graphic 31">
            <a:extLst>
              <a:ext uri="{FF2B5EF4-FFF2-40B4-BE49-F238E27FC236}">
                <a16:creationId xmlns:a16="http://schemas.microsoft.com/office/drawing/2014/main" id="{81ECAEC0-2EBD-4547-B5C3-C7AB667EDA27}"/>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8943975" y="6619875"/>
            <a:ext cx="3248025" cy="238125"/>
          </a:xfrm>
          <a:prstGeom prst="rect">
            <a:avLst/>
          </a:prstGeom>
        </p:spPr>
      </p:pic>
      <p:pic>
        <p:nvPicPr>
          <p:cNvPr id="36" name="Picture 35">
            <a:extLst>
              <a:ext uri="{FF2B5EF4-FFF2-40B4-BE49-F238E27FC236}">
                <a16:creationId xmlns:a16="http://schemas.microsoft.com/office/drawing/2014/main" id="{481DBBEF-9B0D-41D0-BCD3-495FFBD788EC}"/>
              </a:ext>
            </a:extLst>
          </p:cNvPr>
          <p:cNvPicPr>
            <a:picLocks noChangeAspect="1"/>
          </p:cNvPicPr>
          <p:nvPr userDrawn="1"/>
        </p:nvPicPr>
        <p:blipFill rotWithShape="1">
          <a:blip r:embed="rId5" cstate="screen">
            <a:alphaModFix amt="27000"/>
            <a:extLst>
              <a:ext uri="{28A0092B-C50C-407E-A947-70E740481C1C}">
                <a14:useLocalDpi xmlns:a14="http://schemas.microsoft.com/office/drawing/2010/main"/>
              </a:ext>
            </a:extLst>
          </a:blip>
          <a:srcRect/>
          <a:stretch/>
        </p:blipFill>
        <p:spPr>
          <a:xfrm>
            <a:off x="3751624" y="4679403"/>
            <a:ext cx="8440376" cy="1310754"/>
          </a:xfrm>
          <a:prstGeom prst="rect">
            <a:avLst/>
          </a:prstGeom>
        </p:spPr>
      </p:pic>
      <p:pic>
        <p:nvPicPr>
          <p:cNvPr id="87" name="Picture 86">
            <a:extLst>
              <a:ext uri="{FF2B5EF4-FFF2-40B4-BE49-F238E27FC236}">
                <a16:creationId xmlns:a16="http://schemas.microsoft.com/office/drawing/2014/main" id="{23ED609D-3632-4814-BF11-8AD74BEBBF32}"/>
              </a:ext>
            </a:extLst>
          </p:cNvPr>
          <p:cNvPicPr>
            <a:picLocks noChangeAspect="1"/>
          </p:cNvPicPr>
          <p:nvPr userDrawn="1"/>
        </p:nvPicPr>
        <p:blipFill rotWithShape="1">
          <a:blip r:embed="rId6" cstate="screen">
            <a:alphaModFix amt="20000"/>
            <a:extLst>
              <a:ext uri="{28A0092B-C50C-407E-A947-70E740481C1C}">
                <a14:useLocalDpi xmlns:a14="http://schemas.microsoft.com/office/drawing/2010/main" val="0"/>
              </a:ext>
            </a:extLst>
          </a:blip>
          <a:srcRect l="5545" t="10322"/>
          <a:stretch/>
        </p:blipFill>
        <p:spPr>
          <a:xfrm rot="5400000">
            <a:off x="9251715" y="-837151"/>
            <a:ext cx="2103136" cy="3777438"/>
          </a:xfrm>
          <a:prstGeom prst="rect">
            <a:avLst/>
          </a:prstGeom>
        </p:spPr>
      </p:pic>
      <p:pic>
        <p:nvPicPr>
          <p:cNvPr id="91" name="Picture 90">
            <a:extLst>
              <a:ext uri="{FF2B5EF4-FFF2-40B4-BE49-F238E27FC236}">
                <a16:creationId xmlns:a16="http://schemas.microsoft.com/office/drawing/2014/main" id="{D5BD01E7-6916-47E5-B90B-2D3750E7BE83}"/>
              </a:ext>
            </a:extLst>
          </p:cNvPr>
          <p:cNvPicPr>
            <a:picLocks noChangeAspect="1"/>
          </p:cNvPicPr>
          <p:nvPr userDrawn="1"/>
        </p:nvPicPr>
        <p:blipFill rotWithShape="1">
          <a:blip r:embed="rId7" cstate="email">
            <a:alphaModFix amt="9000"/>
            <a:extLst>
              <a:ext uri="{28A0092B-C50C-407E-A947-70E740481C1C}">
                <a14:useLocalDpi xmlns:a14="http://schemas.microsoft.com/office/drawing/2010/main"/>
              </a:ext>
            </a:extLst>
          </a:blip>
          <a:srcRect l="31550" t="13430"/>
          <a:stretch/>
        </p:blipFill>
        <p:spPr>
          <a:xfrm rot="5400000" flipV="1">
            <a:off x="876945" y="-876943"/>
            <a:ext cx="1273792" cy="3027682"/>
          </a:xfrm>
          <a:prstGeom prst="rect">
            <a:avLst/>
          </a:prstGeom>
        </p:spPr>
      </p:pic>
      <p:pic>
        <p:nvPicPr>
          <p:cNvPr id="38" name="Picture 37">
            <a:hlinkClick r:id="rId8"/>
            <a:extLst>
              <a:ext uri="{FF2B5EF4-FFF2-40B4-BE49-F238E27FC236}">
                <a16:creationId xmlns:a16="http://schemas.microsoft.com/office/drawing/2014/main" id="{6C96BA37-A42C-42D5-9D7A-F22A1448F7E2}"/>
              </a:ext>
            </a:extLst>
          </p:cNvPr>
          <p:cNvPicPr>
            <a:picLocks noChangeAspect="1"/>
          </p:cNvPicPr>
          <p:nvPr userDrawn="1"/>
        </p:nvPicPr>
        <p:blipFill>
          <a:blip r:embed="rId9"/>
          <a:stretch>
            <a:fillRect/>
          </a:stretch>
        </p:blipFill>
        <p:spPr>
          <a:xfrm>
            <a:off x="748938" y="5879317"/>
            <a:ext cx="329213" cy="396274"/>
          </a:xfrm>
          <a:prstGeom prst="rect">
            <a:avLst/>
          </a:prstGeom>
        </p:spPr>
      </p:pic>
      <p:pic>
        <p:nvPicPr>
          <p:cNvPr id="52" name="Picture 51">
            <a:hlinkClick r:id="rId10"/>
            <a:extLst>
              <a:ext uri="{FF2B5EF4-FFF2-40B4-BE49-F238E27FC236}">
                <a16:creationId xmlns:a16="http://schemas.microsoft.com/office/drawing/2014/main" id="{7B0A66D6-16A5-4237-A88D-05AB2F1BE138}"/>
              </a:ext>
            </a:extLst>
          </p:cNvPr>
          <p:cNvPicPr>
            <a:picLocks noChangeAspect="1"/>
          </p:cNvPicPr>
          <p:nvPr userDrawn="1"/>
        </p:nvPicPr>
        <p:blipFill>
          <a:blip r:embed="rId11"/>
          <a:stretch>
            <a:fillRect/>
          </a:stretch>
        </p:blipFill>
        <p:spPr>
          <a:xfrm>
            <a:off x="1203673" y="5871207"/>
            <a:ext cx="335309" cy="396274"/>
          </a:xfrm>
          <a:prstGeom prst="rect">
            <a:avLst/>
          </a:prstGeom>
        </p:spPr>
      </p:pic>
      <p:pic>
        <p:nvPicPr>
          <p:cNvPr id="53" name="Picture 52">
            <a:hlinkClick r:id="rId12"/>
            <a:extLst>
              <a:ext uri="{FF2B5EF4-FFF2-40B4-BE49-F238E27FC236}">
                <a16:creationId xmlns:a16="http://schemas.microsoft.com/office/drawing/2014/main" id="{4CD33D67-5AAB-49B0-981E-C7AA8350A7CA}"/>
              </a:ext>
            </a:extLst>
          </p:cNvPr>
          <p:cNvPicPr>
            <a:picLocks noChangeAspect="1"/>
          </p:cNvPicPr>
          <p:nvPr userDrawn="1"/>
        </p:nvPicPr>
        <p:blipFill>
          <a:blip r:embed="rId13"/>
          <a:stretch>
            <a:fillRect/>
          </a:stretch>
        </p:blipFill>
        <p:spPr>
          <a:xfrm>
            <a:off x="1664504" y="5871207"/>
            <a:ext cx="329213" cy="396274"/>
          </a:xfrm>
          <a:prstGeom prst="rect">
            <a:avLst/>
          </a:prstGeom>
        </p:spPr>
      </p:pic>
      <p:pic>
        <p:nvPicPr>
          <p:cNvPr id="54" name="Picture 53">
            <a:hlinkClick r:id="rId14"/>
            <a:extLst>
              <a:ext uri="{FF2B5EF4-FFF2-40B4-BE49-F238E27FC236}">
                <a16:creationId xmlns:a16="http://schemas.microsoft.com/office/drawing/2014/main" id="{68B666AB-3239-41A1-A705-1F00F02B3410}"/>
              </a:ext>
            </a:extLst>
          </p:cNvPr>
          <p:cNvPicPr>
            <a:picLocks noChangeAspect="1"/>
          </p:cNvPicPr>
          <p:nvPr userDrawn="1"/>
        </p:nvPicPr>
        <p:blipFill>
          <a:blip r:embed="rId15"/>
          <a:stretch>
            <a:fillRect/>
          </a:stretch>
        </p:blipFill>
        <p:spPr>
          <a:xfrm>
            <a:off x="2119238" y="5871207"/>
            <a:ext cx="329213" cy="396274"/>
          </a:xfrm>
          <a:prstGeom prst="rect">
            <a:avLst/>
          </a:prstGeom>
        </p:spPr>
      </p:pic>
      <p:pic>
        <p:nvPicPr>
          <p:cNvPr id="3" name="Graphic 2">
            <a:extLst>
              <a:ext uri="{FF2B5EF4-FFF2-40B4-BE49-F238E27FC236}">
                <a16:creationId xmlns:a16="http://schemas.microsoft.com/office/drawing/2014/main" id="{91A04CD8-5708-409A-BF83-42BA422C7DE0}"/>
              </a:ext>
            </a:extLst>
          </p:cNvPr>
          <p:cNvPicPr>
            <a:picLocks noChangeAspect="1"/>
          </p:cNvPicPr>
          <p:nvPr userDrawn="1"/>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288658" y="461079"/>
            <a:ext cx="3066773" cy="1243584"/>
          </a:xfrm>
          <a:prstGeom prst="rect">
            <a:avLst/>
          </a:prstGeom>
        </p:spPr>
      </p:pic>
    </p:spTree>
    <p:extLst>
      <p:ext uri="{BB962C8B-B14F-4D97-AF65-F5344CB8AC3E}">
        <p14:creationId xmlns:p14="http://schemas.microsoft.com/office/powerpoint/2010/main" val="234725530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userDrawn="1">
  <p:cSld name="Title Slide">
    <p:bg>
      <p:bgRef idx="1001">
        <a:schemeClr val="bg1"/>
      </p:bgRef>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5CB7DCEC-F3DB-44D5-AF50-7F0026FE46C2}"/>
              </a:ext>
            </a:extLst>
          </p:cNvPr>
          <p:cNvSpPr/>
          <p:nvPr userDrawn="1"/>
        </p:nvSpPr>
        <p:spPr>
          <a:xfrm>
            <a:off x="0" y="0"/>
            <a:ext cx="8385464" cy="6867144"/>
          </a:xfrm>
          <a:custGeom>
            <a:avLst/>
            <a:gdLst>
              <a:gd name="connsiteX0" fmla="*/ 0 w 8385464"/>
              <a:gd name="connsiteY0" fmla="*/ 0 h 6858000"/>
              <a:gd name="connsiteX1" fmla="*/ 8385464 w 8385464"/>
              <a:gd name="connsiteY1" fmla="*/ 0 h 6858000"/>
              <a:gd name="connsiteX2" fmla="*/ 8385464 w 8385464"/>
              <a:gd name="connsiteY2" fmla="*/ 6858000 h 6858000"/>
              <a:gd name="connsiteX3" fmla="*/ 0 w 8385464"/>
              <a:gd name="connsiteY3" fmla="*/ 6858000 h 6858000"/>
              <a:gd name="connsiteX4" fmla="*/ 0 w 8385464"/>
              <a:gd name="connsiteY4" fmla="*/ 0 h 6858000"/>
              <a:gd name="connsiteX0" fmla="*/ 0 w 8395855"/>
              <a:gd name="connsiteY0" fmla="*/ 0 h 6858000"/>
              <a:gd name="connsiteX1" fmla="*/ 8385464 w 8395855"/>
              <a:gd name="connsiteY1" fmla="*/ 0 h 6858000"/>
              <a:gd name="connsiteX2" fmla="*/ 8395855 w 8395855"/>
              <a:gd name="connsiteY2" fmla="*/ 3408218 h 6858000"/>
              <a:gd name="connsiteX3" fmla="*/ 8385464 w 8395855"/>
              <a:gd name="connsiteY3" fmla="*/ 6858000 h 6858000"/>
              <a:gd name="connsiteX4" fmla="*/ 0 w 8395855"/>
              <a:gd name="connsiteY4" fmla="*/ 6858000 h 6858000"/>
              <a:gd name="connsiteX5" fmla="*/ 0 w 8395855"/>
              <a:gd name="connsiteY5" fmla="*/ 0 h 6858000"/>
              <a:gd name="connsiteX0" fmla="*/ 0 w 8385468"/>
              <a:gd name="connsiteY0" fmla="*/ 0 h 6858000"/>
              <a:gd name="connsiteX1" fmla="*/ 8385464 w 8385468"/>
              <a:gd name="connsiteY1" fmla="*/ 0 h 6858000"/>
              <a:gd name="connsiteX2" fmla="*/ 6286501 w 8385468"/>
              <a:gd name="connsiteY2" fmla="*/ 3512127 h 6858000"/>
              <a:gd name="connsiteX3" fmla="*/ 8385464 w 8385468"/>
              <a:gd name="connsiteY3" fmla="*/ 6858000 h 6858000"/>
              <a:gd name="connsiteX4" fmla="*/ 0 w 8385468"/>
              <a:gd name="connsiteY4" fmla="*/ 6858000 h 6858000"/>
              <a:gd name="connsiteX5" fmla="*/ 0 w 8385468"/>
              <a:gd name="connsiteY5" fmla="*/ 0 h 6858000"/>
              <a:gd name="connsiteX0" fmla="*/ 0 w 8385470"/>
              <a:gd name="connsiteY0" fmla="*/ 0 h 6858000"/>
              <a:gd name="connsiteX1" fmla="*/ 8385464 w 8385470"/>
              <a:gd name="connsiteY1" fmla="*/ 0 h 6858000"/>
              <a:gd name="connsiteX2" fmla="*/ 6993083 w 8385470"/>
              <a:gd name="connsiteY2" fmla="*/ 3740727 h 6858000"/>
              <a:gd name="connsiteX3" fmla="*/ 8385464 w 8385470"/>
              <a:gd name="connsiteY3" fmla="*/ 6858000 h 6858000"/>
              <a:gd name="connsiteX4" fmla="*/ 0 w 8385470"/>
              <a:gd name="connsiteY4" fmla="*/ 6858000 h 6858000"/>
              <a:gd name="connsiteX5" fmla="*/ 0 w 8385470"/>
              <a:gd name="connsiteY5" fmla="*/ 0 h 6858000"/>
              <a:gd name="connsiteX0" fmla="*/ 0 w 8385474"/>
              <a:gd name="connsiteY0" fmla="*/ 0 h 6858000"/>
              <a:gd name="connsiteX1" fmla="*/ 8385464 w 8385474"/>
              <a:gd name="connsiteY1" fmla="*/ 0 h 6858000"/>
              <a:gd name="connsiteX2" fmla="*/ 6993083 w 8385474"/>
              <a:gd name="connsiteY2" fmla="*/ 3740727 h 6858000"/>
              <a:gd name="connsiteX3" fmla="*/ 8385464 w 8385474"/>
              <a:gd name="connsiteY3" fmla="*/ 6858000 h 6858000"/>
              <a:gd name="connsiteX4" fmla="*/ 0 w 8385474"/>
              <a:gd name="connsiteY4" fmla="*/ 6858000 h 6858000"/>
              <a:gd name="connsiteX5" fmla="*/ 0 w 8385474"/>
              <a:gd name="connsiteY5" fmla="*/ 0 h 6858000"/>
              <a:gd name="connsiteX0" fmla="*/ 0 w 8385470"/>
              <a:gd name="connsiteY0" fmla="*/ 0 h 6858000"/>
              <a:gd name="connsiteX1" fmla="*/ 8385464 w 8385470"/>
              <a:gd name="connsiteY1" fmla="*/ 0 h 6858000"/>
              <a:gd name="connsiteX2" fmla="*/ 6993083 w 8385470"/>
              <a:gd name="connsiteY2" fmla="*/ 3740727 h 6858000"/>
              <a:gd name="connsiteX3" fmla="*/ 8385464 w 8385470"/>
              <a:gd name="connsiteY3" fmla="*/ 6858000 h 6858000"/>
              <a:gd name="connsiteX4" fmla="*/ 0 w 8385470"/>
              <a:gd name="connsiteY4" fmla="*/ 6858000 h 6858000"/>
              <a:gd name="connsiteX5" fmla="*/ 0 w 8385470"/>
              <a:gd name="connsiteY5" fmla="*/ 0 h 6858000"/>
              <a:gd name="connsiteX0" fmla="*/ 0 w 8385464"/>
              <a:gd name="connsiteY0" fmla="*/ 0 h 6858000"/>
              <a:gd name="connsiteX1" fmla="*/ 8385464 w 8385464"/>
              <a:gd name="connsiteY1" fmla="*/ 0 h 6858000"/>
              <a:gd name="connsiteX2" fmla="*/ 6993083 w 8385464"/>
              <a:gd name="connsiteY2" fmla="*/ 3740727 h 6858000"/>
              <a:gd name="connsiteX3" fmla="*/ 8385464 w 8385464"/>
              <a:gd name="connsiteY3" fmla="*/ 6858000 h 6858000"/>
              <a:gd name="connsiteX4" fmla="*/ 0 w 8385464"/>
              <a:gd name="connsiteY4" fmla="*/ 6858000 h 6858000"/>
              <a:gd name="connsiteX5" fmla="*/ 0 w 8385464"/>
              <a:gd name="connsiteY5" fmla="*/ 0 h 6858000"/>
              <a:gd name="connsiteX0" fmla="*/ 0 w 8385464"/>
              <a:gd name="connsiteY0" fmla="*/ 0 h 6858000"/>
              <a:gd name="connsiteX1" fmla="*/ 8385464 w 8385464"/>
              <a:gd name="connsiteY1" fmla="*/ 0 h 6858000"/>
              <a:gd name="connsiteX2" fmla="*/ 6993083 w 8385464"/>
              <a:gd name="connsiteY2" fmla="*/ 3740727 h 6858000"/>
              <a:gd name="connsiteX3" fmla="*/ 8385464 w 8385464"/>
              <a:gd name="connsiteY3" fmla="*/ 6858000 h 6858000"/>
              <a:gd name="connsiteX4" fmla="*/ 0 w 8385464"/>
              <a:gd name="connsiteY4" fmla="*/ 6858000 h 6858000"/>
              <a:gd name="connsiteX5" fmla="*/ 0 w 8385464"/>
              <a:gd name="connsiteY5" fmla="*/ 0 h 6858000"/>
              <a:gd name="connsiteX0" fmla="*/ 0 w 8385464"/>
              <a:gd name="connsiteY0" fmla="*/ 0 h 6858000"/>
              <a:gd name="connsiteX1" fmla="*/ 8385464 w 8385464"/>
              <a:gd name="connsiteY1" fmla="*/ 0 h 6858000"/>
              <a:gd name="connsiteX2" fmla="*/ 6993083 w 8385464"/>
              <a:gd name="connsiteY2" fmla="*/ 3740727 h 6858000"/>
              <a:gd name="connsiteX3" fmla="*/ 8385464 w 8385464"/>
              <a:gd name="connsiteY3" fmla="*/ 6858000 h 6858000"/>
              <a:gd name="connsiteX4" fmla="*/ 0 w 8385464"/>
              <a:gd name="connsiteY4" fmla="*/ 6858000 h 6858000"/>
              <a:gd name="connsiteX5" fmla="*/ 0 w 8385464"/>
              <a:gd name="connsiteY5" fmla="*/ 0 h 6858000"/>
              <a:gd name="connsiteX0" fmla="*/ 0 w 8385464"/>
              <a:gd name="connsiteY0" fmla="*/ 0 h 6858000"/>
              <a:gd name="connsiteX1" fmla="*/ 8385464 w 8385464"/>
              <a:gd name="connsiteY1" fmla="*/ 0 h 6858000"/>
              <a:gd name="connsiteX2" fmla="*/ 6286501 w 8385464"/>
              <a:gd name="connsiteY2" fmla="*/ 4634345 h 6858000"/>
              <a:gd name="connsiteX3" fmla="*/ 8385464 w 8385464"/>
              <a:gd name="connsiteY3" fmla="*/ 6858000 h 6858000"/>
              <a:gd name="connsiteX4" fmla="*/ 0 w 8385464"/>
              <a:gd name="connsiteY4" fmla="*/ 6858000 h 6858000"/>
              <a:gd name="connsiteX5" fmla="*/ 0 w 8385464"/>
              <a:gd name="connsiteY5" fmla="*/ 0 h 6858000"/>
              <a:gd name="connsiteX0" fmla="*/ 0 w 8385464"/>
              <a:gd name="connsiteY0" fmla="*/ 0 h 6889173"/>
              <a:gd name="connsiteX1" fmla="*/ 8385464 w 8385464"/>
              <a:gd name="connsiteY1" fmla="*/ 0 h 6889173"/>
              <a:gd name="connsiteX2" fmla="*/ 6286501 w 8385464"/>
              <a:gd name="connsiteY2" fmla="*/ 4634345 h 6889173"/>
              <a:gd name="connsiteX3" fmla="*/ 6878783 w 8385464"/>
              <a:gd name="connsiteY3" fmla="*/ 6889173 h 6889173"/>
              <a:gd name="connsiteX4" fmla="*/ 0 w 8385464"/>
              <a:gd name="connsiteY4" fmla="*/ 6858000 h 6889173"/>
              <a:gd name="connsiteX5" fmla="*/ 0 w 8385464"/>
              <a:gd name="connsiteY5" fmla="*/ 0 h 6889173"/>
              <a:gd name="connsiteX0" fmla="*/ 0 w 8385464"/>
              <a:gd name="connsiteY0" fmla="*/ 0 h 6889173"/>
              <a:gd name="connsiteX1" fmla="*/ 8385464 w 8385464"/>
              <a:gd name="connsiteY1" fmla="*/ 0 h 6889173"/>
              <a:gd name="connsiteX2" fmla="*/ 6255328 w 8385464"/>
              <a:gd name="connsiteY2" fmla="*/ 5029200 h 6889173"/>
              <a:gd name="connsiteX3" fmla="*/ 6878783 w 8385464"/>
              <a:gd name="connsiteY3" fmla="*/ 6889173 h 6889173"/>
              <a:gd name="connsiteX4" fmla="*/ 0 w 8385464"/>
              <a:gd name="connsiteY4" fmla="*/ 6858000 h 6889173"/>
              <a:gd name="connsiteX5" fmla="*/ 0 w 8385464"/>
              <a:gd name="connsiteY5" fmla="*/ 0 h 6889173"/>
              <a:gd name="connsiteX0" fmla="*/ 0 w 8385464"/>
              <a:gd name="connsiteY0" fmla="*/ 0 h 6889173"/>
              <a:gd name="connsiteX1" fmla="*/ 8385464 w 8385464"/>
              <a:gd name="connsiteY1" fmla="*/ 0 h 6889173"/>
              <a:gd name="connsiteX2" fmla="*/ 6255328 w 8385464"/>
              <a:gd name="connsiteY2" fmla="*/ 5029200 h 6889173"/>
              <a:gd name="connsiteX3" fmla="*/ 6878783 w 8385464"/>
              <a:gd name="connsiteY3" fmla="*/ 6889173 h 6889173"/>
              <a:gd name="connsiteX4" fmla="*/ 0 w 8385464"/>
              <a:gd name="connsiteY4" fmla="*/ 6858000 h 6889173"/>
              <a:gd name="connsiteX5" fmla="*/ 0 w 8385464"/>
              <a:gd name="connsiteY5" fmla="*/ 0 h 6889173"/>
              <a:gd name="connsiteX0" fmla="*/ 0 w 8385464"/>
              <a:gd name="connsiteY0" fmla="*/ 0 h 6889173"/>
              <a:gd name="connsiteX1" fmla="*/ 8385464 w 8385464"/>
              <a:gd name="connsiteY1" fmla="*/ 0 h 6889173"/>
              <a:gd name="connsiteX2" fmla="*/ 6255328 w 8385464"/>
              <a:gd name="connsiteY2" fmla="*/ 5029200 h 6889173"/>
              <a:gd name="connsiteX3" fmla="*/ 6878783 w 8385464"/>
              <a:gd name="connsiteY3" fmla="*/ 6889173 h 6889173"/>
              <a:gd name="connsiteX4" fmla="*/ 0 w 8385464"/>
              <a:gd name="connsiteY4" fmla="*/ 6858000 h 6889173"/>
              <a:gd name="connsiteX5" fmla="*/ 0 w 8385464"/>
              <a:gd name="connsiteY5" fmla="*/ 0 h 6889173"/>
              <a:gd name="connsiteX0" fmla="*/ 0 w 8385464"/>
              <a:gd name="connsiteY0" fmla="*/ 0 h 6889173"/>
              <a:gd name="connsiteX1" fmla="*/ 8385464 w 8385464"/>
              <a:gd name="connsiteY1" fmla="*/ 0 h 6889173"/>
              <a:gd name="connsiteX2" fmla="*/ 6255328 w 8385464"/>
              <a:gd name="connsiteY2" fmla="*/ 5029200 h 6889173"/>
              <a:gd name="connsiteX3" fmla="*/ 6878783 w 8385464"/>
              <a:gd name="connsiteY3" fmla="*/ 6889173 h 6889173"/>
              <a:gd name="connsiteX4" fmla="*/ 0 w 8385464"/>
              <a:gd name="connsiteY4" fmla="*/ 6858000 h 6889173"/>
              <a:gd name="connsiteX5" fmla="*/ 0 w 8385464"/>
              <a:gd name="connsiteY5" fmla="*/ 0 h 6889173"/>
              <a:gd name="connsiteX0" fmla="*/ 0 w 8385464"/>
              <a:gd name="connsiteY0" fmla="*/ 0 h 6882245"/>
              <a:gd name="connsiteX1" fmla="*/ 8385464 w 8385464"/>
              <a:gd name="connsiteY1" fmla="*/ 0 h 6882245"/>
              <a:gd name="connsiteX2" fmla="*/ 6255328 w 8385464"/>
              <a:gd name="connsiteY2" fmla="*/ 5029200 h 6882245"/>
              <a:gd name="connsiteX3" fmla="*/ 6871856 w 8385464"/>
              <a:gd name="connsiteY3" fmla="*/ 6882245 h 6882245"/>
              <a:gd name="connsiteX4" fmla="*/ 0 w 8385464"/>
              <a:gd name="connsiteY4" fmla="*/ 6858000 h 6882245"/>
              <a:gd name="connsiteX5" fmla="*/ 0 w 8385464"/>
              <a:gd name="connsiteY5" fmla="*/ 0 h 6882245"/>
              <a:gd name="connsiteX0" fmla="*/ 0 w 8385464"/>
              <a:gd name="connsiteY0" fmla="*/ 0 h 6882245"/>
              <a:gd name="connsiteX1" fmla="*/ 8385464 w 8385464"/>
              <a:gd name="connsiteY1" fmla="*/ 0 h 6882245"/>
              <a:gd name="connsiteX2" fmla="*/ 6255328 w 8385464"/>
              <a:gd name="connsiteY2" fmla="*/ 5029200 h 6882245"/>
              <a:gd name="connsiteX3" fmla="*/ 6843503 w 8385464"/>
              <a:gd name="connsiteY3" fmla="*/ 6882245 h 6882245"/>
              <a:gd name="connsiteX4" fmla="*/ 0 w 8385464"/>
              <a:gd name="connsiteY4" fmla="*/ 6858000 h 6882245"/>
              <a:gd name="connsiteX5" fmla="*/ 0 w 8385464"/>
              <a:gd name="connsiteY5" fmla="*/ 0 h 6882245"/>
              <a:gd name="connsiteX0" fmla="*/ 0 w 8385464"/>
              <a:gd name="connsiteY0" fmla="*/ 0 h 6858000"/>
              <a:gd name="connsiteX1" fmla="*/ 8385464 w 8385464"/>
              <a:gd name="connsiteY1" fmla="*/ 0 h 6858000"/>
              <a:gd name="connsiteX2" fmla="*/ 6255328 w 8385464"/>
              <a:gd name="connsiteY2" fmla="*/ 5029200 h 6858000"/>
              <a:gd name="connsiteX3" fmla="*/ 6843503 w 8385464"/>
              <a:gd name="connsiteY3" fmla="*/ 6853891 h 6858000"/>
              <a:gd name="connsiteX4" fmla="*/ 0 w 8385464"/>
              <a:gd name="connsiteY4" fmla="*/ 6858000 h 6858000"/>
              <a:gd name="connsiteX5" fmla="*/ 0 w 8385464"/>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385464" h="6858000">
                <a:moveTo>
                  <a:pt x="0" y="0"/>
                </a:moveTo>
                <a:lnTo>
                  <a:pt x="8385464" y="0"/>
                </a:lnTo>
                <a:cubicBezTo>
                  <a:pt x="7879774" y="1572491"/>
                  <a:pt x="6951518" y="3158836"/>
                  <a:pt x="6255328" y="5029200"/>
                </a:cubicBezTo>
                <a:cubicBezTo>
                  <a:pt x="6698673" y="6345381"/>
                  <a:pt x="6317032" y="5402628"/>
                  <a:pt x="6843503" y="6853891"/>
                </a:cubicBezTo>
                <a:lnTo>
                  <a:pt x="0" y="6858000"/>
                </a:lnTo>
                <a:lnTo>
                  <a:pt x="0" y="0"/>
                </a:lnTo>
                <a:close/>
              </a:path>
            </a:pathLst>
          </a:custGeom>
          <a:solidFill>
            <a:srgbClr val="2E353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pic>
        <p:nvPicPr>
          <p:cNvPr id="16" name="Picture 15">
            <a:extLst>
              <a:ext uri="{FF2B5EF4-FFF2-40B4-BE49-F238E27FC236}">
                <a16:creationId xmlns:a16="http://schemas.microsoft.com/office/drawing/2014/main" id="{13EB79B0-1C65-4824-AE7E-4624F1BE363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039046" y="4210541"/>
            <a:ext cx="3252063" cy="1265243"/>
          </a:xfrm>
          <a:prstGeom prst="rect">
            <a:avLst/>
          </a:prstGeom>
        </p:spPr>
      </p:pic>
      <p:grpSp>
        <p:nvGrpSpPr>
          <p:cNvPr id="17" name="Group 16">
            <a:extLst>
              <a:ext uri="{FF2B5EF4-FFF2-40B4-BE49-F238E27FC236}">
                <a16:creationId xmlns:a16="http://schemas.microsoft.com/office/drawing/2014/main" id="{2D99F2D6-A8E8-48C8-81DC-1B16354D0A70}"/>
              </a:ext>
            </a:extLst>
          </p:cNvPr>
          <p:cNvGrpSpPr/>
          <p:nvPr userDrawn="1"/>
        </p:nvGrpSpPr>
        <p:grpSpPr>
          <a:xfrm>
            <a:off x="4532198" y="-1714644"/>
            <a:ext cx="3827714" cy="9445752"/>
            <a:chOff x="4094048" y="-1695594"/>
            <a:chExt cx="3827714" cy="9445752"/>
          </a:xfrm>
        </p:grpSpPr>
        <p:sp>
          <p:nvSpPr>
            <p:cNvPr id="18" name="Freeform 4">
              <a:extLst>
                <a:ext uri="{FF2B5EF4-FFF2-40B4-BE49-F238E27FC236}">
                  <a16:creationId xmlns:a16="http://schemas.microsoft.com/office/drawing/2014/main" id="{EB2C8933-4D77-4DE0-A477-987E6E83C6AF}"/>
                </a:ext>
              </a:extLst>
            </p:cNvPr>
            <p:cNvSpPr/>
            <p:nvPr/>
          </p:nvSpPr>
          <p:spPr>
            <a:xfrm>
              <a:off x="4094048" y="4104058"/>
              <a:ext cx="2681459" cy="2788159"/>
            </a:xfrm>
            <a:custGeom>
              <a:avLst/>
              <a:gdLst>
                <a:gd name="connsiteX0" fmla="*/ 57150 w 1790700"/>
                <a:gd name="connsiteY0" fmla="*/ 0 h 3086100"/>
                <a:gd name="connsiteX1" fmla="*/ 1790700 w 1790700"/>
                <a:gd name="connsiteY1" fmla="*/ 3086100 h 3086100"/>
                <a:gd name="connsiteX2" fmla="*/ 0 w 1790700"/>
                <a:gd name="connsiteY2" fmla="*/ 3067050 h 3086100"/>
                <a:gd name="connsiteX3" fmla="*/ 0 w 1790700"/>
                <a:gd name="connsiteY3" fmla="*/ 0 h 3086100"/>
                <a:gd name="connsiteX4" fmla="*/ 19050 w 1790700"/>
                <a:gd name="connsiteY4" fmla="*/ 38100 h 3086100"/>
                <a:gd name="connsiteX5" fmla="*/ 19050 w 1790700"/>
                <a:gd name="connsiteY5" fmla="*/ 57150 h 3086100"/>
                <a:gd name="connsiteX0" fmla="*/ 57150 w 1790700"/>
                <a:gd name="connsiteY0" fmla="*/ 0 h 3086100"/>
                <a:gd name="connsiteX1" fmla="*/ 1790700 w 1790700"/>
                <a:gd name="connsiteY1" fmla="*/ 3086100 h 3086100"/>
                <a:gd name="connsiteX2" fmla="*/ 0 w 1790700"/>
                <a:gd name="connsiteY2" fmla="*/ 3067050 h 3086100"/>
                <a:gd name="connsiteX3" fmla="*/ 0 w 1790700"/>
                <a:gd name="connsiteY3" fmla="*/ 0 h 3086100"/>
                <a:gd name="connsiteX4" fmla="*/ 19050 w 1790700"/>
                <a:gd name="connsiteY4" fmla="*/ 38100 h 3086100"/>
                <a:gd name="connsiteX0" fmla="*/ 57150 w 1790700"/>
                <a:gd name="connsiteY0" fmla="*/ 0 h 3086100"/>
                <a:gd name="connsiteX1" fmla="*/ 1790700 w 1790700"/>
                <a:gd name="connsiteY1" fmla="*/ 3086100 h 3086100"/>
                <a:gd name="connsiteX2" fmla="*/ 0 w 1790700"/>
                <a:gd name="connsiteY2" fmla="*/ 3067050 h 3086100"/>
                <a:gd name="connsiteX3" fmla="*/ 0 w 1790700"/>
                <a:gd name="connsiteY3" fmla="*/ 0 h 3086100"/>
                <a:gd name="connsiteX0" fmla="*/ 57150 w 1790700"/>
                <a:gd name="connsiteY0" fmla="*/ 0 h 3086100"/>
                <a:gd name="connsiteX1" fmla="*/ 1790700 w 1790700"/>
                <a:gd name="connsiteY1" fmla="*/ 3086100 h 3086100"/>
                <a:gd name="connsiteX2" fmla="*/ 0 w 1790700"/>
                <a:gd name="connsiteY2" fmla="*/ 3067050 h 3086100"/>
                <a:gd name="connsiteX0" fmla="*/ 0 w 1733550"/>
                <a:gd name="connsiteY0" fmla="*/ 0 h 3086100"/>
                <a:gd name="connsiteX1" fmla="*/ 1733550 w 1733550"/>
                <a:gd name="connsiteY1" fmla="*/ 3086100 h 3086100"/>
                <a:gd name="connsiteX2" fmla="*/ 613087 w 1733550"/>
                <a:gd name="connsiteY2" fmla="*/ 3077523 h 3086100"/>
                <a:gd name="connsiteX0" fmla="*/ 245654 w 1120463"/>
                <a:gd name="connsiteY0" fmla="*/ 0 h 1525705"/>
                <a:gd name="connsiteX1" fmla="*/ 1120463 w 1120463"/>
                <a:gd name="connsiteY1" fmla="*/ 1525705 h 1525705"/>
                <a:gd name="connsiteX2" fmla="*/ 0 w 1120463"/>
                <a:gd name="connsiteY2" fmla="*/ 1517128 h 1525705"/>
                <a:gd name="connsiteX0" fmla="*/ 811167 w 1120463"/>
                <a:gd name="connsiteY0" fmla="*/ 0 h 1211531"/>
                <a:gd name="connsiteX1" fmla="*/ 1120463 w 1120463"/>
                <a:gd name="connsiteY1" fmla="*/ 1211531 h 1211531"/>
                <a:gd name="connsiteX2" fmla="*/ 0 w 1120463"/>
                <a:gd name="connsiteY2" fmla="*/ 1202954 h 1211531"/>
                <a:gd name="connsiteX0" fmla="*/ 874002 w 1183298"/>
                <a:gd name="connsiteY0" fmla="*/ 0 h 1213426"/>
                <a:gd name="connsiteX1" fmla="*/ 1183298 w 1183298"/>
                <a:gd name="connsiteY1" fmla="*/ 1211531 h 1213426"/>
                <a:gd name="connsiteX2" fmla="*/ 0 w 1183298"/>
                <a:gd name="connsiteY2" fmla="*/ 1213426 h 1213426"/>
                <a:gd name="connsiteX0" fmla="*/ 857693 w 1166989"/>
                <a:gd name="connsiteY0" fmla="*/ 0 h 1213426"/>
                <a:gd name="connsiteX1" fmla="*/ 1166989 w 1166989"/>
                <a:gd name="connsiteY1" fmla="*/ 1211531 h 1213426"/>
                <a:gd name="connsiteX2" fmla="*/ 0 w 1166989"/>
                <a:gd name="connsiteY2" fmla="*/ 1213426 h 1213426"/>
              </a:gdLst>
              <a:ahLst/>
              <a:cxnLst>
                <a:cxn ang="0">
                  <a:pos x="connsiteX0" y="connsiteY0"/>
                </a:cxn>
                <a:cxn ang="0">
                  <a:pos x="connsiteX1" y="connsiteY1"/>
                </a:cxn>
                <a:cxn ang="0">
                  <a:pos x="connsiteX2" y="connsiteY2"/>
                </a:cxn>
              </a:cxnLst>
              <a:rect l="l" t="t" r="r" b="b"/>
              <a:pathLst>
                <a:path w="1166989" h="1213426">
                  <a:moveTo>
                    <a:pt x="857693" y="0"/>
                  </a:moveTo>
                  <a:lnTo>
                    <a:pt x="1166989" y="1211531"/>
                  </a:lnTo>
                  <a:lnTo>
                    <a:pt x="0" y="1213426"/>
                  </a:lnTo>
                </a:path>
              </a:pathLst>
            </a:custGeom>
            <a:gradFill>
              <a:gsLst>
                <a:gs pos="2000">
                  <a:schemeClr val="bg2">
                    <a:lumMod val="50000"/>
                  </a:schemeClr>
                </a:gs>
                <a:gs pos="100000">
                  <a:schemeClr val="bg2"/>
                </a:gs>
              </a:gsLst>
              <a:lin ang="3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19" name="Isosceles Triangle 3">
              <a:extLst>
                <a:ext uri="{FF2B5EF4-FFF2-40B4-BE49-F238E27FC236}">
                  <a16:creationId xmlns:a16="http://schemas.microsoft.com/office/drawing/2014/main" id="{4F4EF7A4-035D-4172-AF61-5D3483B2916C}"/>
                </a:ext>
              </a:extLst>
            </p:cNvPr>
            <p:cNvSpPr/>
            <p:nvPr/>
          </p:nvSpPr>
          <p:spPr>
            <a:xfrm rot="13120470">
              <a:off x="5797893" y="-1695594"/>
              <a:ext cx="2123869" cy="9445752"/>
            </a:xfrm>
            <a:custGeom>
              <a:avLst/>
              <a:gdLst>
                <a:gd name="connsiteX0" fmla="*/ 0 w 1349298"/>
                <a:gd name="connsiteY0" fmla="*/ 5885253 h 5885253"/>
                <a:gd name="connsiteX1" fmla="*/ 674649 w 1349298"/>
                <a:gd name="connsiteY1" fmla="*/ 0 h 5885253"/>
                <a:gd name="connsiteX2" fmla="*/ 1349298 w 1349298"/>
                <a:gd name="connsiteY2" fmla="*/ 5885253 h 5885253"/>
                <a:gd name="connsiteX3" fmla="*/ 0 w 1349298"/>
                <a:gd name="connsiteY3" fmla="*/ 5885253 h 5885253"/>
                <a:gd name="connsiteX0" fmla="*/ 0 w 1304760"/>
                <a:gd name="connsiteY0" fmla="*/ 5885253 h 5885253"/>
                <a:gd name="connsiteX1" fmla="*/ 674649 w 1304760"/>
                <a:gd name="connsiteY1" fmla="*/ 0 h 5885253"/>
                <a:gd name="connsiteX2" fmla="*/ 1304760 w 1304760"/>
                <a:gd name="connsiteY2" fmla="*/ 5698299 h 5885253"/>
                <a:gd name="connsiteX3" fmla="*/ 0 w 1304760"/>
                <a:gd name="connsiteY3" fmla="*/ 5885253 h 5885253"/>
                <a:gd name="connsiteX0" fmla="*/ 0 w 1386992"/>
                <a:gd name="connsiteY0" fmla="*/ 5829786 h 5829786"/>
                <a:gd name="connsiteX1" fmla="*/ 756881 w 1386992"/>
                <a:gd name="connsiteY1" fmla="*/ 0 h 5829786"/>
                <a:gd name="connsiteX2" fmla="*/ 1386992 w 1386992"/>
                <a:gd name="connsiteY2" fmla="*/ 5698299 h 5829786"/>
                <a:gd name="connsiteX3" fmla="*/ 0 w 1386992"/>
                <a:gd name="connsiteY3" fmla="*/ 5829786 h 5829786"/>
                <a:gd name="connsiteX0" fmla="*/ 0 w 1613616"/>
                <a:gd name="connsiteY0" fmla="*/ 5273942 h 5698299"/>
                <a:gd name="connsiteX1" fmla="*/ 983505 w 1613616"/>
                <a:gd name="connsiteY1" fmla="*/ 0 h 5698299"/>
                <a:gd name="connsiteX2" fmla="*/ 1613616 w 1613616"/>
                <a:gd name="connsiteY2" fmla="*/ 5698299 h 5698299"/>
                <a:gd name="connsiteX3" fmla="*/ 0 w 1613616"/>
                <a:gd name="connsiteY3" fmla="*/ 5273942 h 5698299"/>
                <a:gd name="connsiteX0" fmla="*/ 0 w 2111499"/>
                <a:gd name="connsiteY0" fmla="*/ 5273942 h 5273942"/>
                <a:gd name="connsiteX1" fmla="*/ 983505 w 2111499"/>
                <a:gd name="connsiteY1" fmla="*/ 0 h 5273942"/>
                <a:gd name="connsiteX2" fmla="*/ 2111499 w 2111499"/>
                <a:gd name="connsiteY2" fmla="*/ 4721711 h 5273942"/>
                <a:gd name="connsiteX3" fmla="*/ 0 w 2111499"/>
                <a:gd name="connsiteY3" fmla="*/ 5273942 h 5273942"/>
                <a:gd name="connsiteX0" fmla="*/ 0 w 2111499"/>
                <a:gd name="connsiteY0" fmla="*/ 4717306 h 4717306"/>
                <a:gd name="connsiteX1" fmla="*/ 932758 w 2111499"/>
                <a:gd name="connsiteY1" fmla="*/ 0 h 4717306"/>
                <a:gd name="connsiteX2" fmla="*/ 2111499 w 2111499"/>
                <a:gd name="connsiteY2" fmla="*/ 4165075 h 4717306"/>
                <a:gd name="connsiteX3" fmla="*/ 0 w 2111499"/>
                <a:gd name="connsiteY3" fmla="*/ 4717306 h 4717306"/>
                <a:gd name="connsiteX0" fmla="*/ 0 w 3931298"/>
                <a:gd name="connsiteY0" fmla="*/ 4717306 h 4717306"/>
                <a:gd name="connsiteX1" fmla="*/ 932758 w 3931298"/>
                <a:gd name="connsiteY1" fmla="*/ 0 h 4717306"/>
                <a:gd name="connsiteX2" fmla="*/ 3931298 w 3931298"/>
                <a:gd name="connsiteY2" fmla="*/ 4480286 h 4717306"/>
                <a:gd name="connsiteX3" fmla="*/ 0 w 3931298"/>
                <a:gd name="connsiteY3" fmla="*/ 4717306 h 4717306"/>
                <a:gd name="connsiteX0" fmla="*/ 35679 w 2998540"/>
                <a:gd name="connsiteY0" fmla="*/ 5024381 h 5024381"/>
                <a:gd name="connsiteX1" fmla="*/ 0 w 2998540"/>
                <a:gd name="connsiteY1" fmla="*/ 0 h 5024381"/>
                <a:gd name="connsiteX2" fmla="*/ 2998540 w 2998540"/>
                <a:gd name="connsiteY2" fmla="*/ 4480286 h 5024381"/>
                <a:gd name="connsiteX3" fmla="*/ 35679 w 2998540"/>
                <a:gd name="connsiteY3" fmla="*/ 5024381 h 5024381"/>
                <a:gd name="connsiteX0" fmla="*/ 0 w 3359513"/>
                <a:gd name="connsiteY0" fmla="*/ 4923649 h 4923649"/>
                <a:gd name="connsiteX1" fmla="*/ 360973 w 3359513"/>
                <a:gd name="connsiteY1" fmla="*/ 0 h 4923649"/>
                <a:gd name="connsiteX2" fmla="*/ 3359513 w 3359513"/>
                <a:gd name="connsiteY2" fmla="*/ 4480286 h 4923649"/>
                <a:gd name="connsiteX3" fmla="*/ 0 w 3359513"/>
                <a:gd name="connsiteY3" fmla="*/ 4923649 h 4923649"/>
                <a:gd name="connsiteX0" fmla="*/ 0 w 3359513"/>
                <a:gd name="connsiteY0" fmla="*/ 4137435 h 4137435"/>
                <a:gd name="connsiteX1" fmla="*/ 1823306 w 3359513"/>
                <a:gd name="connsiteY1" fmla="*/ 0 h 4137435"/>
                <a:gd name="connsiteX2" fmla="*/ 3359513 w 3359513"/>
                <a:gd name="connsiteY2" fmla="*/ 3694072 h 4137435"/>
                <a:gd name="connsiteX3" fmla="*/ 0 w 3359513"/>
                <a:gd name="connsiteY3" fmla="*/ 4137435 h 4137435"/>
                <a:gd name="connsiteX0" fmla="*/ 0 w 3163954"/>
                <a:gd name="connsiteY0" fmla="*/ 4137435 h 4137435"/>
                <a:gd name="connsiteX1" fmla="*/ 1823306 w 3163954"/>
                <a:gd name="connsiteY1" fmla="*/ 0 h 4137435"/>
                <a:gd name="connsiteX2" fmla="*/ 3163954 w 3163954"/>
                <a:gd name="connsiteY2" fmla="*/ 3451242 h 4137435"/>
                <a:gd name="connsiteX3" fmla="*/ 0 w 3163954"/>
                <a:gd name="connsiteY3" fmla="*/ 4137435 h 4137435"/>
                <a:gd name="connsiteX0" fmla="*/ 0 w 2066613"/>
                <a:gd name="connsiteY0" fmla="*/ 4130703 h 4130703"/>
                <a:gd name="connsiteX1" fmla="*/ 725965 w 2066613"/>
                <a:gd name="connsiteY1" fmla="*/ 0 h 4130703"/>
                <a:gd name="connsiteX2" fmla="*/ 2066613 w 2066613"/>
                <a:gd name="connsiteY2" fmla="*/ 3451242 h 4130703"/>
                <a:gd name="connsiteX3" fmla="*/ 0 w 2066613"/>
                <a:gd name="connsiteY3" fmla="*/ 4130703 h 4130703"/>
                <a:gd name="connsiteX0" fmla="*/ 0 w 2119185"/>
                <a:gd name="connsiteY0" fmla="*/ 4203399 h 4203399"/>
                <a:gd name="connsiteX1" fmla="*/ 778537 w 2119185"/>
                <a:gd name="connsiteY1" fmla="*/ 0 h 4203399"/>
                <a:gd name="connsiteX2" fmla="*/ 2119185 w 2119185"/>
                <a:gd name="connsiteY2" fmla="*/ 3451242 h 4203399"/>
                <a:gd name="connsiteX3" fmla="*/ 0 w 2119185"/>
                <a:gd name="connsiteY3" fmla="*/ 4203399 h 4203399"/>
                <a:gd name="connsiteX0" fmla="*/ 0 w 2119185"/>
                <a:gd name="connsiteY0" fmla="*/ 4216619 h 4216619"/>
                <a:gd name="connsiteX1" fmla="*/ 816110 w 2119185"/>
                <a:gd name="connsiteY1" fmla="*/ 0 h 4216619"/>
                <a:gd name="connsiteX2" fmla="*/ 2119185 w 2119185"/>
                <a:gd name="connsiteY2" fmla="*/ 3464462 h 4216619"/>
                <a:gd name="connsiteX3" fmla="*/ 0 w 2119185"/>
                <a:gd name="connsiteY3" fmla="*/ 4216619 h 4216619"/>
                <a:gd name="connsiteX0" fmla="*/ 0 w 2119185"/>
                <a:gd name="connsiteY0" fmla="*/ 4184713 h 4184713"/>
                <a:gd name="connsiteX1" fmla="*/ 797400 w 2119185"/>
                <a:gd name="connsiteY1" fmla="*/ 0 h 4184713"/>
                <a:gd name="connsiteX2" fmla="*/ 2119185 w 2119185"/>
                <a:gd name="connsiteY2" fmla="*/ 3432556 h 4184713"/>
                <a:gd name="connsiteX3" fmla="*/ 0 w 2119185"/>
                <a:gd name="connsiteY3" fmla="*/ 4184713 h 4184713"/>
                <a:gd name="connsiteX0" fmla="*/ 0 w 2119185"/>
                <a:gd name="connsiteY0" fmla="*/ 4163102 h 4163102"/>
                <a:gd name="connsiteX1" fmla="*/ 807948 w 2119185"/>
                <a:gd name="connsiteY1" fmla="*/ 0 h 4163102"/>
                <a:gd name="connsiteX2" fmla="*/ 2119185 w 2119185"/>
                <a:gd name="connsiteY2" fmla="*/ 3410945 h 4163102"/>
                <a:gd name="connsiteX3" fmla="*/ 0 w 2119185"/>
                <a:gd name="connsiteY3" fmla="*/ 4163102 h 4163102"/>
                <a:gd name="connsiteX0" fmla="*/ 0 w 2123869"/>
                <a:gd name="connsiteY0" fmla="*/ 4163102 h 4163102"/>
                <a:gd name="connsiteX1" fmla="*/ 807948 w 2123869"/>
                <a:gd name="connsiteY1" fmla="*/ 0 h 4163102"/>
                <a:gd name="connsiteX2" fmla="*/ 2123869 w 2123869"/>
                <a:gd name="connsiteY2" fmla="*/ 3413517 h 4163102"/>
                <a:gd name="connsiteX3" fmla="*/ 0 w 2123869"/>
                <a:gd name="connsiteY3" fmla="*/ 4163102 h 4163102"/>
              </a:gdLst>
              <a:ahLst/>
              <a:cxnLst>
                <a:cxn ang="0">
                  <a:pos x="connsiteX0" y="connsiteY0"/>
                </a:cxn>
                <a:cxn ang="0">
                  <a:pos x="connsiteX1" y="connsiteY1"/>
                </a:cxn>
                <a:cxn ang="0">
                  <a:pos x="connsiteX2" y="connsiteY2"/>
                </a:cxn>
                <a:cxn ang="0">
                  <a:pos x="connsiteX3" y="connsiteY3"/>
                </a:cxn>
              </a:cxnLst>
              <a:rect l="l" t="t" r="r" b="b"/>
              <a:pathLst>
                <a:path w="2123869" h="4163102">
                  <a:moveTo>
                    <a:pt x="0" y="4163102"/>
                  </a:moveTo>
                  <a:lnTo>
                    <a:pt x="807948" y="0"/>
                  </a:lnTo>
                  <a:lnTo>
                    <a:pt x="2123869" y="3413517"/>
                  </a:lnTo>
                  <a:lnTo>
                    <a:pt x="0" y="4163102"/>
                  </a:lnTo>
                  <a:close/>
                </a:path>
              </a:pathLst>
            </a:custGeom>
            <a:gradFill>
              <a:gsLst>
                <a:gs pos="2000">
                  <a:schemeClr val="bg2">
                    <a:lumMod val="75000"/>
                  </a:schemeClr>
                </a:gs>
                <a:gs pos="100000">
                  <a:schemeClr val="bg2"/>
                </a:gs>
              </a:gsLst>
              <a:lin ang="12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grpSp>
      <p:sp>
        <p:nvSpPr>
          <p:cNvPr id="2" name="Title 1"/>
          <p:cNvSpPr>
            <a:spLocks noGrp="1"/>
          </p:cNvSpPr>
          <p:nvPr>
            <p:ph type="ctrTitle" hasCustomPrompt="1"/>
          </p:nvPr>
        </p:nvSpPr>
        <p:spPr bwMode="ltGray">
          <a:xfrm>
            <a:off x="427701" y="1463040"/>
            <a:ext cx="5669280" cy="1935933"/>
          </a:xfrm>
        </p:spPr>
        <p:txBody>
          <a:bodyPr wrap="square" tIns="91440" anchor="ctr" anchorCtr="0">
            <a:noAutofit/>
          </a:bodyPr>
          <a:lstStyle>
            <a:lvl1pPr>
              <a:lnSpc>
                <a:spcPct val="80000"/>
              </a:lnSpc>
              <a:defRPr sz="5400" b="0" cap="all" baseline="0">
                <a:solidFill>
                  <a:schemeClr val="bg2"/>
                </a:solidFill>
                <a:effectLst/>
                <a:latin typeface="+mj-lt"/>
              </a:defRPr>
            </a:lvl1pPr>
          </a:lstStyle>
          <a:p>
            <a:r>
              <a:rPr lang="en-US" dirty="0"/>
              <a:t>Click to Add Presentation Title</a:t>
            </a:r>
          </a:p>
        </p:txBody>
      </p:sp>
      <p:sp>
        <p:nvSpPr>
          <p:cNvPr id="3" name="Subtitle 2"/>
          <p:cNvSpPr>
            <a:spLocks noGrp="1"/>
          </p:cNvSpPr>
          <p:nvPr>
            <p:ph type="subTitle" idx="1" hasCustomPrompt="1"/>
          </p:nvPr>
        </p:nvSpPr>
        <p:spPr bwMode="gray">
          <a:xfrm>
            <a:off x="427702" y="4962602"/>
            <a:ext cx="4754880" cy="276999"/>
          </a:xfrm>
        </p:spPr>
        <p:txBody>
          <a:bodyPr wrap="square" anchor="b">
            <a:noAutofit/>
          </a:bodyPr>
          <a:lstStyle>
            <a:lvl1pPr marL="0" indent="0" algn="l">
              <a:spcBef>
                <a:spcPts val="0"/>
              </a:spcBef>
              <a:buNone/>
              <a:defRPr sz="2000" b="0">
                <a:solidFill>
                  <a:schemeClr val="bg1"/>
                </a:solidFill>
                <a:effectLst/>
                <a:latin typeface="+mn-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Add Presenter’s Name</a:t>
            </a:r>
          </a:p>
        </p:txBody>
      </p:sp>
      <p:sp>
        <p:nvSpPr>
          <p:cNvPr id="8" name="Text Placeholder 7"/>
          <p:cNvSpPr>
            <a:spLocks noGrp="1"/>
          </p:cNvSpPr>
          <p:nvPr>
            <p:ph type="body" sz="quarter" idx="10" hasCustomPrompt="1"/>
          </p:nvPr>
        </p:nvSpPr>
        <p:spPr bwMode="gray">
          <a:xfrm>
            <a:off x="427702" y="5274168"/>
            <a:ext cx="4572000" cy="221599"/>
          </a:xfrm>
        </p:spPr>
        <p:txBody>
          <a:bodyPr>
            <a:noAutofit/>
          </a:bodyPr>
          <a:lstStyle>
            <a:lvl1pPr marL="0" indent="0" algn="l">
              <a:spcBef>
                <a:spcPts val="0"/>
              </a:spcBef>
              <a:buNone/>
              <a:defRPr sz="1600">
                <a:solidFill>
                  <a:schemeClr val="bg1"/>
                </a:solidFill>
                <a:effectLst/>
                <a:latin typeface="+mn-lt"/>
              </a:defRPr>
            </a:lvl1pPr>
            <a:lvl2pPr marL="455613" indent="0">
              <a:buNone/>
              <a:defRPr>
                <a:solidFill>
                  <a:schemeClr val="bg1"/>
                </a:solidFill>
              </a:defRPr>
            </a:lvl2pPr>
            <a:lvl3pPr marL="914400" indent="0">
              <a:buNone/>
              <a:defRPr>
                <a:solidFill>
                  <a:schemeClr val="bg1"/>
                </a:solidFill>
              </a:defRPr>
            </a:lvl3pPr>
            <a:lvl4pPr marL="1371600" indent="0">
              <a:buNone/>
              <a:defRPr>
                <a:solidFill>
                  <a:schemeClr val="bg1"/>
                </a:solidFill>
              </a:defRPr>
            </a:lvl4pPr>
            <a:lvl5pPr marL="1828800" indent="0">
              <a:buNone/>
              <a:defRPr>
                <a:solidFill>
                  <a:schemeClr val="bg1"/>
                </a:solidFill>
              </a:defRPr>
            </a:lvl5pPr>
          </a:lstStyle>
          <a:p>
            <a:pPr lvl="0"/>
            <a:r>
              <a:rPr lang="en-US" dirty="0"/>
              <a:t>Click to Add Presenter’s Title</a:t>
            </a:r>
          </a:p>
        </p:txBody>
      </p:sp>
      <p:sp>
        <p:nvSpPr>
          <p:cNvPr id="10" name="Text Placeholder 9"/>
          <p:cNvSpPr>
            <a:spLocks noGrp="1"/>
          </p:cNvSpPr>
          <p:nvPr>
            <p:ph type="body" sz="quarter" idx="12" hasCustomPrompt="1"/>
          </p:nvPr>
        </p:nvSpPr>
        <p:spPr bwMode="gray">
          <a:xfrm>
            <a:off x="427702" y="6268953"/>
            <a:ext cx="3749040" cy="193899"/>
          </a:xfrm>
        </p:spPr>
        <p:txBody>
          <a:bodyPr anchor="b" anchorCtr="0">
            <a:noAutofit/>
          </a:bodyPr>
          <a:lstStyle>
            <a:lvl1pPr marL="0" indent="0" algn="l">
              <a:spcBef>
                <a:spcPts val="0"/>
              </a:spcBef>
              <a:buFontTx/>
              <a:buNone/>
              <a:defRPr sz="1400">
                <a:solidFill>
                  <a:schemeClr val="bg1"/>
                </a:solidFill>
                <a:effectLst/>
                <a:latin typeface="+mn-lt"/>
              </a:defRPr>
            </a:lvl1pPr>
            <a:lvl2pPr marL="455613" indent="0">
              <a:buFontTx/>
              <a:buNone/>
              <a:defRPr sz="1500">
                <a:solidFill>
                  <a:schemeClr val="bg1"/>
                </a:solidFill>
                <a:latin typeface="Arial Narrow" pitchFamily="34" charset="0"/>
              </a:defRPr>
            </a:lvl2pPr>
            <a:lvl3pPr marL="914400" indent="0">
              <a:buFontTx/>
              <a:buNone/>
              <a:defRPr sz="1500">
                <a:solidFill>
                  <a:schemeClr val="bg1"/>
                </a:solidFill>
                <a:latin typeface="Arial Narrow" pitchFamily="34" charset="0"/>
              </a:defRPr>
            </a:lvl3pPr>
            <a:lvl4pPr marL="1371600" indent="0">
              <a:buFontTx/>
              <a:buNone/>
              <a:defRPr sz="1500">
                <a:solidFill>
                  <a:schemeClr val="bg1"/>
                </a:solidFill>
                <a:latin typeface="Arial Narrow" pitchFamily="34" charset="0"/>
              </a:defRPr>
            </a:lvl4pPr>
            <a:lvl5pPr marL="1828800" indent="0">
              <a:buFontTx/>
              <a:buNone/>
              <a:defRPr sz="1500">
                <a:solidFill>
                  <a:schemeClr val="bg1"/>
                </a:solidFill>
                <a:latin typeface="Arial Narrow" pitchFamily="34" charset="0"/>
              </a:defRPr>
            </a:lvl5pPr>
          </a:lstStyle>
          <a:p>
            <a:pPr lvl="0"/>
            <a:r>
              <a:rPr lang="en-US" dirty="0"/>
              <a:t>Click to Add Date</a:t>
            </a:r>
          </a:p>
        </p:txBody>
      </p:sp>
    </p:spTree>
    <p:extLst>
      <p:ext uri="{BB962C8B-B14F-4D97-AF65-F5344CB8AC3E}">
        <p14:creationId xmlns:p14="http://schemas.microsoft.com/office/powerpoint/2010/main" val="237542705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0"/>
    </mc:Choice>
    <mc:Fallback xmlns="">
      <p:transition/>
    </mc:Fallback>
  </mc:AlternateContent>
  <p:hf sldNum="0" hdr="0" dt="0"/>
</p:sldLayout>
</file>

<file path=ppt/slideLayouts/slideLayout25.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292609" y="1380744"/>
            <a:ext cx="11599650" cy="5029200"/>
          </a:xfrm>
        </p:spPr>
        <p:txBody>
          <a:bodyPr>
            <a:noAutofit/>
          </a:bodyPr>
          <a:lstStyle>
            <a:lvl1pPr marL="230188" indent="-230188">
              <a:spcBef>
                <a:spcPts val="1800"/>
              </a:spcBef>
              <a:buClr>
                <a:schemeClr val="bg2"/>
              </a:buClr>
              <a:defRPr sz="2000">
                <a:solidFill>
                  <a:schemeClr val="bg2"/>
                </a:solidFill>
              </a:defRPr>
            </a:lvl1pPr>
            <a:lvl2pPr marL="684213" indent="-228600">
              <a:spcBef>
                <a:spcPts val="0"/>
              </a:spcBef>
              <a:spcAft>
                <a:spcPts val="200"/>
              </a:spcAft>
              <a:defRPr sz="1800">
                <a:solidFill>
                  <a:srgbClr val="4C4D4F"/>
                </a:solidFill>
                <a:latin typeface="PTCRaleway" panose="020B0503030101060003" pitchFamily="34" charset="0"/>
              </a:defRPr>
            </a:lvl2pPr>
            <a:lvl3pPr marL="1143000" indent="-228600">
              <a:spcBef>
                <a:spcPts val="0"/>
              </a:spcBef>
              <a:spcAft>
                <a:spcPts val="200"/>
              </a:spcAft>
              <a:defRPr sz="1600">
                <a:solidFill>
                  <a:srgbClr val="4C4D4F"/>
                </a:solidFill>
                <a:latin typeface="PTCRaleway" panose="020B0503030101060003" pitchFamily="34" charset="0"/>
              </a:defRPr>
            </a:lvl3pPr>
            <a:lvl4pPr marL="1428750" indent="-228600">
              <a:defRPr sz="1400">
                <a:solidFill>
                  <a:srgbClr val="4C4D4F"/>
                </a:solidFill>
              </a:defRPr>
            </a:lvl4pPr>
            <a:lvl5pPr marL="1827213" indent="-228600">
              <a:defRPr sz="1400">
                <a:solidFill>
                  <a:srgbClr val="4C4D4F"/>
                </a:solidFill>
              </a:defRPr>
            </a:lvl5pPr>
          </a:lstStyle>
          <a:p>
            <a:pPr lvl="0"/>
            <a:r>
              <a:rPr lang="en-US" dirty="0"/>
              <a:t>Click to edit Master text styles</a:t>
            </a:r>
          </a:p>
          <a:p>
            <a:pPr lvl="1"/>
            <a:r>
              <a:rPr lang="en-US" dirty="0"/>
              <a:t>Second level</a:t>
            </a:r>
          </a:p>
          <a:p>
            <a:pPr lvl="2"/>
            <a:r>
              <a:rPr lang="en-US" dirty="0"/>
              <a:t>Third level</a:t>
            </a:r>
          </a:p>
        </p:txBody>
      </p:sp>
      <p:sp>
        <p:nvSpPr>
          <p:cNvPr id="8" name="Title 7"/>
          <p:cNvSpPr>
            <a:spLocks noGrp="1"/>
          </p:cNvSpPr>
          <p:nvPr>
            <p:ph type="title"/>
          </p:nvPr>
        </p:nvSpPr>
        <p:spPr/>
        <p:txBody>
          <a:bodyPr/>
          <a:lstStyle/>
          <a:p>
            <a:r>
              <a:rPr lang="en-US"/>
              <a:t>Click to edit Master title style</a:t>
            </a:r>
            <a:endParaRPr lang="en-US" dirty="0"/>
          </a:p>
        </p:txBody>
      </p:sp>
      <p:sp>
        <p:nvSpPr>
          <p:cNvPr id="7" name="Subtitle 2"/>
          <p:cNvSpPr>
            <a:spLocks noGrp="1" noChangeAspect="1"/>
          </p:cNvSpPr>
          <p:nvPr>
            <p:ph type="subTitle" idx="15"/>
          </p:nvPr>
        </p:nvSpPr>
        <p:spPr>
          <a:xfrm>
            <a:off x="287453" y="896112"/>
            <a:ext cx="11594592" cy="338328"/>
          </a:xfrm>
        </p:spPr>
        <p:txBody>
          <a:bodyPr/>
          <a:lstStyle>
            <a:lvl1pPr marL="0" indent="0" algn="l">
              <a:buNone/>
              <a:defRPr sz="2200">
                <a:solidFill>
                  <a:schemeClr val="tx1"/>
                </a:solidFill>
                <a:latin typeface="PTCRaleway" panose="020B0503030101060003"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p>
        </p:txBody>
      </p:sp>
      <p:sp>
        <p:nvSpPr>
          <p:cNvPr id="5" name="Footer Placeholder 4"/>
          <p:cNvSpPr>
            <a:spLocks noGrp="1"/>
          </p:cNvSpPr>
          <p:nvPr>
            <p:ph type="ftr" sz="quarter" idx="3"/>
          </p:nvPr>
        </p:nvSpPr>
        <p:spPr>
          <a:xfrm>
            <a:off x="3096768" y="6711696"/>
            <a:ext cx="5998464" cy="109728"/>
          </a:xfrm>
          <a:prstGeom prst="rect">
            <a:avLst/>
          </a:prstGeom>
        </p:spPr>
        <p:txBody>
          <a:bodyPr lIns="0" tIns="0" rIns="0" bIns="0"/>
          <a:lstStyle>
            <a:lvl1pPr algn="ctr">
              <a:defRPr sz="700" b="1"/>
            </a:lvl1pPr>
          </a:lstStyle>
          <a:p>
            <a:endParaRPr lang="en-US"/>
          </a:p>
        </p:txBody>
      </p:sp>
    </p:spTree>
    <p:extLst>
      <p:ext uri="{BB962C8B-B14F-4D97-AF65-F5344CB8AC3E}">
        <p14:creationId xmlns:p14="http://schemas.microsoft.com/office/powerpoint/2010/main" val="3605108412"/>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cSld name="Title Only - No Footer">
    <p:spTree>
      <p:nvGrpSpPr>
        <p:cNvPr id="1" name=""/>
        <p:cNvGrpSpPr/>
        <p:nvPr/>
      </p:nvGrpSpPr>
      <p:grpSpPr>
        <a:xfrm>
          <a:off x="0" y="0"/>
          <a:ext cx="0" cy="0"/>
          <a:chOff x="0" y="0"/>
          <a:chExt cx="0" cy="0"/>
        </a:xfrm>
      </p:grpSpPr>
      <p:sp>
        <p:nvSpPr>
          <p:cNvPr id="2" name="Rectangle 1"/>
          <p:cNvSpPr/>
          <p:nvPr userDrawn="1"/>
        </p:nvSpPr>
        <p:spPr bwMode="gray">
          <a:xfrm>
            <a:off x="0" y="6400800"/>
            <a:ext cx="12192000" cy="457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200">
              <a:solidFill>
                <a:schemeClr val="bg1"/>
              </a:solidFill>
            </a:endParaRPr>
          </a:p>
        </p:txBody>
      </p:sp>
      <p:sp>
        <p:nvSpPr>
          <p:cNvPr id="8" name="Title 7"/>
          <p:cNvSpPr>
            <a:spLocks noGrp="1"/>
          </p:cNvSpPr>
          <p:nvPr>
            <p:ph type="title" hasCustomPrompt="1"/>
          </p:nvPr>
        </p:nvSpPr>
        <p:spPr/>
        <p:txBody>
          <a:bodyPr anchor="ctr" anchorCtr="0"/>
          <a:lstStyle>
            <a:lvl1pPr>
              <a:defRPr/>
            </a:lvl1pPr>
          </a:lstStyle>
          <a:p>
            <a:r>
              <a:rPr lang="en-US" dirty="0"/>
              <a:t>Click to add title</a:t>
            </a:r>
          </a:p>
        </p:txBody>
      </p:sp>
      <p:sp>
        <p:nvSpPr>
          <p:cNvPr id="5" name="Rectangle 6"/>
          <p:cNvSpPr txBox="1">
            <a:spLocks noChangeArrowheads="1"/>
          </p:cNvSpPr>
          <p:nvPr userDrawn="1"/>
        </p:nvSpPr>
        <p:spPr bwMode="auto">
          <a:xfrm>
            <a:off x="11247120" y="6629401"/>
            <a:ext cx="592666" cy="13849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defRPr sz="700"/>
            </a:lvl1pPr>
          </a:lstStyle>
          <a:p>
            <a:pPr marL="0" marR="0" lvl="0" indent="0" algn="r" defTabSz="1086775" rtl="0" eaLnBrk="0" fontAlgn="base" latinLnBrk="0" hangingPunct="0">
              <a:lnSpc>
                <a:spcPct val="100000"/>
              </a:lnSpc>
              <a:spcBef>
                <a:spcPct val="0"/>
              </a:spcBef>
              <a:spcAft>
                <a:spcPct val="0"/>
              </a:spcAft>
              <a:buClrTx/>
              <a:buSzTx/>
              <a:buFontTx/>
              <a:buNone/>
              <a:tabLst/>
              <a:defRPr/>
            </a:pPr>
            <a:fld id="{8D7874BA-B114-4D1F-A449-70AD1C45E88A}" type="slidenum">
              <a:rPr kumimoji="0" lang="en-US" sz="900" b="0" i="0" u="none" strike="noStrike" kern="1200" cap="none" spc="0" normalizeH="0" baseline="0" noProof="0" smtClean="0">
                <a:ln>
                  <a:noFill/>
                </a:ln>
                <a:solidFill>
                  <a:schemeClr val="tx1"/>
                </a:solidFill>
                <a:effectLst/>
                <a:uLnTx/>
                <a:uFillTx/>
                <a:latin typeface="+mn-lt"/>
                <a:ea typeface="MS PGothic" pitchFamily="34" charset="-128"/>
                <a:cs typeface="+mn-cs"/>
              </a:rPr>
              <a:pPr marL="0" marR="0" lvl="0" indent="0" algn="r" defTabSz="1086775" rtl="0" eaLnBrk="0" fontAlgn="base" latinLnBrk="0" hangingPunct="0">
                <a:lnSpc>
                  <a:spcPct val="100000"/>
                </a:lnSpc>
                <a:spcBef>
                  <a:spcPct val="0"/>
                </a:spcBef>
                <a:spcAft>
                  <a:spcPct val="0"/>
                </a:spcAft>
                <a:buClrTx/>
                <a:buSzTx/>
                <a:buFontTx/>
                <a:buNone/>
                <a:tabLst/>
                <a:defRPr/>
              </a:pPr>
              <a:t>‹#›</a:t>
            </a:fld>
            <a:endParaRPr kumimoji="0" lang="en-US" sz="900" b="0" i="0" u="none" strike="noStrike" kern="1200" cap="none" spc="0" normalizeH="0" baseline="0" noProof="0">
              <a:ln>
                <a:noFill/>
              </a:ln>
              <a:solidFill>
                <a:schemeClr val="tx1"/>
              </a:solidFill>
              <a:effectLst/>
              <a:uLnTx/>
              <a:uFillTx/>
              <a:latin typeface="+mn-lt"/>
              <a:ea typeface="MS PGothic" pitchFamily="34" charset="-128"/>
              <a:cs typeface="+mn-cs"/>
            </a:endParaRPr>
          </a:p>
        </p:txBody>
      </p:sp>
    </p:spTree>
    <p:extLst>
      <p:ext uri="{BB962C8B-B14F-4D97-AF65-F5344CB8AC3E}">
        <p14:creationId xmlns:p14="http://schemas.microsoft.com/office/powerpoint/2010/main" val="20409847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userDrawn="1">
  <p:cSld name="Divider">
    <p:spTree>
      <p:nvGrpSpPr>
        <p:cNvPr id="1" name=""/>
        <p:cNvGrpSpPr/>
        <p:nvPr/>
      </p:nvGrpSpPr>
      <p:grpSpPr>
        <a:xfrm>
          <a:off x="0" y="0"/>
          <a:ext cx="0" cy="0"/>
          <a:chOff x="0" y="0"/>
          <a:chExt cx="0" cy="0"/>
        </a:xfrm>
      </p:grpSpPr>
      <p:sp>
        <p:nvSpPr>
          <p:cNvPr id="22" name="Title 21"/>
          <p:cNvSpPr>
            <a:spLocks noGrp="1"/>
          </p:cNvSpPr>
          <p:nvPr>
            <p:ph type="title" hasCustomPrompt="1"/>
          </p:nvPr>
        </p:nvSpPr>
        <p:spPr bwMode="gray">
          <a:xfrm>
            <a:off x="1577978" y="3820267"/>
            <a:ext cx="8162668" cy="812889"/>
          </a:xfrm>
        </p:spPr>
        <p:txBody>
          <a:bodyPr anchor="ctr" anchorCtr="0"/>
          <a:lstStyle>
            <a:lvl1pPr algn="l">
              <a:defRPr lang="en-US" sz="5400" dirty="0">
                <a:solidFill>
                  <a:schemeClr val="bg2"/>
                </a:solidFill>
              </a:defRPr>
            </a:lvl1pPr>
          </a:lstStyle>
          <a:p>
            <a:pPr marL="0" lvl="0">
              <a:lnSpc>
                <a:spcPct val="90000"/>
              </a:lnSpc>
              <a:spcBef>
                <a:spcPts val="1200"/>
              </a:spcBef>
            </a:pPr>
            <a:r>
              <a:rPr lang="en-US" dirty="0"/>
              <a:t>Click to </a:t>
            </a:r>
            <a:r>
              <a:rPr lang="en-US"/>
              <a:t>add title</a:t>
            </a:r>
            <a:endParaRPr lang="en-US" dirty="0"/>
          </a:p>
        </p:txBody>
      </p:sp>
      <p:grpSp>
        <p:nvGrpSpPr>
          <p:cNvPr id="2" name="Group 1">
            <a:extLst>
              <a:ext uri="{FF2B5EF4-FFF2-40B4-BE49-F238E27FC236}">
                <a16:creationId xmlns:a16="http://schemas.microsoft.com/office/drawing/2014/main" id="{A5FB7C47-AE33-4786-B8B7-7ECE41E10698}"/>
              </a:ext>
            </a:extLst>
          </p:cNvPr>
          <p:cNvGrpSpPr/>
          <p:nvPr userDrawn="1"/>
        </p:nvGrpSpPr>
        <p:grpSpPr>
          <a:xfrm>
            <a:off x="9260732" y="1084521"/>
            <a:ext cx="2966710" cy="5794744"/>
            <a:chOff x="9260732" y="1084521"/>
            <a:chExt cx="2966710" cy="5794744"/>
          </a:xfrm>
        </p:grpSpPr>
        <p:sp>
          <p:nvSpPr>
            <p:cNvPr id="18" name="Freeform: Shape 17">
              <a:extLst>
                <a:ext uri="{FF2B5EF4-FFF2-40B4-BE49-F238E27FC236}">
                  <a16:creationId xmlns:a16="http://schemas.microsoft.com/office/drawing/2014/main" id="{265F1314-BF98-4A68-8138-2CB07DB72EEB}"/>
                </a:ext>
              </a:extLst>
            </p:cNvPr>
            <p:cNvSpPr/>
            <p:nvPr userDrawn="1"/>
          </p:nvSpPr>
          <p:spPr>
            <a:xfrm>
              <a:off x="10758656" y="1088910"/>
              <a:ext cx="1445441" cy="5774567"/>
            </a:xfrm>
            <a:custGeom>
              <a:avLst/>
              <a:gdLst>
                <a:gd name="connsiteX0" fmla="*/ 1424763 w 1456660"/>
                <a:gd name="connsiteY0" fmla="*/ 2604977 h 5794744"/>
                <a:gd name="connsiteX1" fmla="*/ 1456660 w 1456660"/>
                <a:gd name="connsiteY1" fmla="*/ 0 h 5794744"/>
                <a:gd name="connsiteX2" fmla="*/ 0 w 1456660"/>
                <a:gd name="connsiteY2" fmla="*/ 5794744 h 5794744"/>
                <a:gd name="connsiteX3" fmla="*/ 148856 w 1456660"/>
                <a:gd name="connsiteY3" fmla="*/ 5773479 h 5794744"/>
                <a:gd name="connsiteX4" fmla="*/ 1424763 w 1456660"/>
                <a:gd name="connsiteY4" fmla="*/ 2604977 h 5794744"/>
                <a:gd name="connsiteX0" fmla="*/ 1424763 w 1456660"/>
                <a:gd name="connsiteY0" fmla="*/ 2604977 h 5777982"/>
                <a:gd name="connsiteX1" fmla="*/ 1456660 w 1456660"/>
                <a:gd name="connsiteY1" fmla="*/ 0 h 5777982"/>
                <a:gd name="connsiteX2" fmla="*/ 0 w 1456660"/>
                <a:gd name="connsiteY2" fmla="*/ 5777982 h 5777982"/>
                <a:gd name="connsiteX3" fmla="*/ 148856 w 1456660"/>
                <a:gd name="connsiteY3" fmla="*/ 5773479 h 5777982"/>
                <a:gd name="connsiteX4" fmla="*/ 1424763 w 1456660"/>
                <a:gd name="connsiteY4" fmla="*/ 2604977 h 5777982"/>
                <a:gd name="connsiteX0" fmla="*/ 1424763 w 1434221"/>
                <a:gd name="connsiteY0" fmla="*/ 2593803 h 5766808"/>
                <a:gd name="connsiteX1" fmla="*/ 1434221 w 1434221"/>
                <a:gd name="connsiteY1" fmla="*/ 0 h 5766808"/>
                <a:gd name="connsiteX2" fmla="*/ 0 w 1434221"/>
                <a:gd name="connsiteY2" fmla="*/ 5766808 h 5766808"/>
                <a:gd name="connsiteX3" fmla="*/ 148856 w 1434221"/>
                <a:gd name="connsiteY3" fmla="*/ 5762305 h 5766808"/>
                <a:gd name="connsiteX4" fmla="*/ 1424763 w 1434221"/>
                <a:gd name="connsiteY4" fmla="*/ 2593803 h 5766808"/>
                <a:gd name="connsiteX0" fmla="*/ 1435983 w 1445441"/>
                <a:gd name="connsiteY0" fmla="*/ 2593803 h 5762305"/>
                <a:gd name="connsiteX1" fmla="*/ 1445441 w 1445441"/>
                <a:gd name="connsiteY1" fmla="*/ 0 h 5762305"/>
                <a:gd name="connsiteX2" fmla="*/ 0 w 1445441"/>
                <a:gd name="connsiteY2" fmla="*/ 5750047 h 5762305"/>
                <a:gd name="connsiteX3" fmla="*/ 160076 w 1445441"/>
                <a:gd name="connsiteY3" fmla="*/ 5762305 h 5762305"/>
                <a:gd name="connsiteX4" fmla="*/ 1435983 w 1445441"/>
                <a:gd name="connsiteY4" fmla="*/ 2593803 h 5762305"/>
                <a:gd name="connsiteX0" fmla="*/ 1435983 w 1445441"/>
                <a:gd name="connsiteY0" fmla="*/ 2593803 h 5751132"/>
                <a:gd name="connsiteX1" fmla="*/ 1445441 w 1445441"/>
                <a:gd name="connsiteY1" fmla="*/ 0 h 5751132"/>
                <a:gd name="connsiteX2" fmla="*/ 0 w 1445441"/>
                <a:gd name="connsiteY2" fmla="*/ 5750047 h 5751132"/>
                <a:gd name="connsiteX3" fmla="*/ 160076 w 1445441"/>
                <a:gd name="connsiteY3" fmla="*/ 5751132 h 5751132"/>
                <a:gd name="connsiteX4" fmla="*/ 1435983 w 1445441"/>
                <a:gd name="connsiteY4" fmla="*/ 2593803 h 57511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45441" h="5751132">
                  <a:moveTo>
                    <a:pt x="1435983" y="2593803"/>
                  </a:moveTo>
                  <a:cubicBezTo>
                    <a:pt x="1439136" y="1729202"/>
                    <a:pt x="1442288" y="864601"/>
                    <a:pt x="1445441" y="0"/>
                  </a:cubicBezTo>
                  <a:lnTo>
                    <a:pt x="0" y="5750047"/>
                  </a:lnTo>
                  <a:lnTo>
                    <a:pt x="160076" y="5751132"/>
                  </a:lnTo>
                  <a:lnTo>
                    <a:pt x="1435983" y="2593803"/>
                  </a:lnTo>
                  <a:close/>
                </a:path>
              </a:pathLst>
            </a:custGeom>
            <a:gradFill>
              <a:gsLst>
                <a:gs pos="34000">
                  <a:schemeClr val="bg2"/>
                </a:gs>
                <a:gs pos="68000">
                  <a:srgbClr val="5BA23C"/>
                </a:gs>
              </a:gsLst>
              <a:lin ang="21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19" name="Freeform: Shape 18">
              <a:extLst>
                <a:ext uri="{FF2B5EF4-FFF2-40B4-BE49-F238E27FC236}">
                  <a16:creationId xmlns:a16="http://schemas.microsoft.com/office/drawing/2014/main" id="{521E371F-1A59-474E-B95B-89195D83A3E8}"/>
                </a:ext>
              </a:extLst>
            </p:cNvPr>
            <p:cNvSpPr/>
            <p:nvPr userDrawn="1"/>
          </p:nvSpPr>
          <p:spPr>
            <a:xfrm>
              <a:off x="10019490" y="3789410"/>
              <a:ext cx="1556426" cy="3083668"/>
            </a:xfrm>
            <a:custGeom>
              <a:avLst/>
              <a:gdLst>
                <a:gd name="connsiteX0" fmla="*/ 749030 w 1556426"/>
                <a:gd name="connsiteY0" fmla="*/ 3073940 h 3083668"/>
                <a:gd name="connsiteX1" fmla="*/ 0 w 1556426"/>
                <a:gd name="connsiteY1" fmla="*/ 3083668 h 3083668"/>
                <a:gd name="connsiteX2" fmla="*/ 1556426 w 1556426"/>
                <a:gd name="connsiteY2" fmla="*/ 0 h 3083668"/>
                <a:gd name="connsiteX3" fmla="*/ 749030 w 1556426"/>
                <a:gd name="connsiteY3" fmla="*/ 3073940 h 3083668"/>
                <a:gd name="connsiteX0" fmla="*/ 749030 w 1556426"/>
                <a:gd name="connsiteY0" fmla="*/ 3073940 h 3083668"/>
                <a:gd name="connsiteX1" fmla="*/ 0 w 1556426"/>
                <a:gd name="connsiteY1" fmla="*/ 3083668 h 3083668"/>
                <a:gd name="connsiteX2" fmla="*/ 1556426 w 1556426"/>
                <a:gd name="connsiteY2" fmla="*/ 0 h 3083668"/>
                <a:gd name="connsiteX3" fmla="*/ 749030 w 1556426"/>
                <a:gd name="connsiteY3" fmla="*/ 3073940 h 3083668"/>
                <a:gd name="connsiteX0" fmla="*/ 740065 w 1556426"/>
                <a:gd name="connsiteY0" fmla="*/ 3073940 h 3083668"/>
                <a:gd name="connsiteX1" fmla="*/ 0 w 1556426"/>
                <a:gd name="connsiteY1" fmla="*/ 3083668 h 3083668"/>
                <a:gd name="connsiteX2" fmla="*/ 1556426 w 1556426"/>
                <a:gd name="connsiteY2" fmla="*/ 0 h 3083668"/>
                <a:gd name="connsiteX3" fmla="*/ 740065 w 1556426"/>
                <a:gd name="connsiteY3" fmla="*/ 3073940 h 3083668"/>
              </a:gdLst>
              <a:ahLst/>
              <a:cxnLst>
                <a:cxn ang="0">
                  <a:pos x="connsiteX0" y="connsiteY0"/>
                </a:cxn>
                <a:cxn ang="0">
                  <a:pos x="connsiteX1" y="connsiteY1"/>
                </a:cxn>
                <a:cxn ang="0">
                  <a:pos x="connsiteX2" y="connsiteY2"/>
                </a:cxn>
                <a:cxn ang="0">
                  <a:pos x="connsiteX3" y="connsiteY3"/>
                </a:cxn>
              </a:cxnLst>
              <a:rect l="l" t="t" r="r" b="b"/>
              <a:pathLst>
                <a:path w="1556426" h="3083668">
                  <a:moveTo>
                    <a:pt x="740065" y="3073940"/>
                  </a:moveTo>
                  <a:lnTo>
                    <a:pt x="0" y="3083668"/>
                  </a:lnTo>
                  <a:lnTo>
                    <a:pt x="1556426" y="0"/>
                  </a:lnTo>
                  <a:lnTo>
                    <a:pt x="740065" y="3073940"/>
                  </a:lnTo>
                  <a:close/>
                </a:path>
              </a:pathLst>
            </a:custGeom>
            <a:gradFill>
              <a:gsLst>
                <a:gs pos="97000">
                  <a:srgbClr val="62B53F"/>
                </a:gs>
                <a:gs pos="100000">
                  <a:srgbClr val="529533"/>
                </a:gs>
              </a:gsLst>
              <a:lin ang="14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20" name="Freeform: Shape 19">
              <a:extLst>
                <a:ext uri="{FF2B5EF4-FFF2-40B4-BE49-F238E27FC236}">
                  <a16:creationId xmlns:a16="http://schemas.microsoft.com/office/drawing/2014/main" id="{CE17FC41-0F0D-4F05-888B-05BC3B984146}"/>
                </a:ext>
              </a:extLst>
            </p:cNvPr>
            <p:cNvSpPr/>
            <p:nvPr userDrawn="1"/>
          </p:nvSpPr>
          <p:spPr>
            <a:xfrm>
              <a:off x="9260732" y="3322482"/>
              <a:ext cx="2422187" cy="3550596"/>
            </a:xfrm>
            <a:custGeom>
              <a:avLst/>
              <a:gdLst>
                <a:gd name="connsiteX0" fmla="*/ 2373549 w 2373549"/>
                <a:gd name="connsiteY0" fmla="*/ 0 h 3550596"/>
                <a:gd name="connsiteX1" fmla="*/ 2237362 w 2373549"/>
                <a:gd name="connsiteY1" fmla="*/ 651753 h 3550596"/>
                <a:gd name="connsiteX2" fmla="*/ 778213 w 2373549"/>
                <a:gd name="connsiteY2" fmla="*/ 3531141 h 3550596"/>
                <a:gd name="connsiteX3" fmla="*/ 0 w 2373549"/>
                <a:gd name="connsiteY3" fmla="*/ 3550596 h 3550596"/>
                <a:gd name="connsiteX4" fmla="*/ 2373549 w 2373549"/>
                <a:gd name="connsiteY4" fmla="*/ 0 h 3550596"/>
                <a:gd name="connsiteX0" fmla="*/ 2422187 w 2422187"/>
                <a:gd name="connsiteY0" fmla="*/ 0 h 3540868"/>
                <a:gd name="connsiteX1" fmla="*/ 2237362 w 2422187"/>
                <a:gd name="connsiteY1" fmla="*/ 642025 h 3540868"/>
                <a:gd name="connsiteX2" fmla="*/ 778213 w 2422187"/>
                <a:gd name="connsiteY2" fmla="*/ 3521413 h 3540868"/>
                <a:gd name="connsiteX3" fmla="*/ 0 w 2422187"/>
                <a:gd name="connsiteY3" fmla="*/ 3540868 h 3540868"/>
                <a:gd name="connsiteX4" fmla="*/ 2422187 w 2422187"/>
                <a:gd name="connsiteY4" fmla="*/ 0 h 3540868"/>
                <a:gd name="connsiteX0" fmla="*/ 2422187 w 2422187"/>
                <a:gd name="connsiteY0" fmla="*/ 0 h 3550596"/>
                <a:gd name="connsiteX1" fmla="*/ 2237362 w 2422187"/>
                <a:gd name="connsiteY1" fmla="*/ 642025 h 3550596"/>
                <a:gd name="connsiteX2" fmla="*/ 768485 w 2422187"/>
                <a:gd name="connsiteY2" fmla="*/ 3550596 h 3550596"/>
                <a:gd name="connsiteX3" fmla="*/ 0 w 2422187"/>
                <a:gd name="connsiteY3" fmla="*/ 3540868 h 3550596"/>
                <a:gd name="connsiteX4" fmla="*/ 2422187 w 2422187"/>
                <a:gd name="connsiteY4" fmla="*/ 0 h 35505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422187" h="3550596">
                  <a:moveTo>
                    <a:pt x="2422187" y="0"/>
                  </a:moveTo>
                  <a:lnTo>
                    <a:pt x="2237362" y="642025"/>
                  </a:lnTo>
                  <a:lnTo>
                    <a:pt x="768485" y="3550596"/>
                  </a:lnTo>
                  <a:lnTo>
                    <a:pt x="0" y="3540868"/>
                  </a:lnTo>
                  <a:lnTo>
                    <a:pt x="2422187" y="0"/>
                  </a:lnTo>
                  <a:close/>
                </a:path>
              </a:pathLst>
            </a:custGeom>
            <a:gradFill>
              <a:gsLst>
                <a:gs pos="34000">
                  <a:schemeClr val="bg2"/>
                </a:gs>
                <a:gs pos="71000">
                  <a:srgbClr val="5BA23C"/>
                </a:gs>
              </a:gsLst>
              <a:lin ang="17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21" name="Right Triangle 20">
              <a:extLst>
                <a:ext uri="{FF2B5EF4-FFF2-40B4-BE49-F238E27FC236}">
                  <a16:creationId xmlns:a16="http://schemas.microsoft.com/office/drawing/2014/main" id="{890D0B16-11C5-4D6A-AA98-2355BA19EA7B}"/>
                </a:ext>
              </a:extLst>
            </p:cNvPr>
            <p:cNvSpPr/>
            <p:nvPr userDrawn="1"/>
          </p:nvSpPr>
          <p:spPr>
            <a:xfrm flipH="1">
              <a:off x="10871603" y="3370178"/>
              <a:ext cx="1327484" cy="3501998"/>
            </a:xfrm>
            <a:prstGeom prst="rtTriangle">
              <a:avLst/>
            </a:prstGeom>
            <a:solidFill>
              <a:schemeClr val="tx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23" name="Freeform: Shape 22">
              <a:extLst>
                <a:ext uri="{FF2B5EF4-FFF2-40B4-BE49-F238E27FC236}">
                  <a16:creationId xmlns:a16="http://schemas.microsoft.com/office/drawing/2014/main" id="{0A764A69-E67E-4D16-BC4B-51FC448F28CB}"/>
                </a:ext>
              </a:extLst>
            </p:cNvPr>
            <p:cNvSpPr/>
            <p:nvPr userDrawn="1"/>
          </p:nvSpPr>
          <p:spPr>
            <a:xfrm>
              <a:off x="10738884" y="1084521"/>
              <a:ext cx="1488558" cy="5794744"/>
            </a:xfrm>
            <a:custGeom>
              <a:avLst/>
              <a:gdLst>
                <a:gd name="connsiteX0" fmla="*/ 1446028 w 1488558"/>
                <a:gd name="connsiteY0" fmla="*/ 2658139 h 5794744"/>
                <a:gd name="connsiteX1" fmla="*/ 1446028 w 1488558"/>
                <a:gd name="connsiteY1" fmla="*/ 0 h 5794744"/>
                <a:gd name="connsiteX2" fmla="*/ 0 w 1488558"/>
                <a:gd name="connsiteY2" fmla="*/ 5794744 h 5794744"/>
                <a:gd name="connsiteX3" fmla="*/ 170121 w 1488558"/>
                <a:gd name="connsiteY3" fmla="*/ 5784112 h 5794744"/>
                <a:gd name="connsiteX4" fmla="*/ 1488558 w 1488558"/>
                <a:gd name="connsiteY4" fmla="*/ 2551814 h 5794744"/>
                <a:gd name="connsiteX5" fmla="*/ 1488558 w 1488558"/>
                <a:gd name="connsiteY5" fmla="*/ 2551814 h 5794744"/>
                <a:gd name="connsiteX6" fmla="*/ 1488558 w 1488558"/>
                <a:gd name="connsiteY6" fmla="*/ 2551814 h 5794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488558" h="5794744">
                  <a:moveTo>
                    <a:pt x="1446028" y="2658139"/>
                  </a:moveTo>
                  <a:lnTo>
                    <a:pt x="1446028" y="0"/>
                  </a:lnTo>
                  <a:lnTo>
                    <a:pt x="0" y="5794744"/>
                  </a:lnTo>
                  <a:lnTo>
                    <a:pt x="170121" y="5784112"/>
                  </a:lnTo>
                  <a:lnTo>
                    <a:pt x="1488558" y="2551814"/>
                  </a:lnTo>
                  <a:lnTo>
                    <a:pt x="1488558" y="2551814"/>
                  </a:lnTo>
                  <a:lnTo>
                    <a:pt x="1488558" y="2551814"/>
                  </a:lnTo>
                </a:path>
              </a:pathLst>
            </a:cu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6" name="Rectangle 6"/>
          <p:cNvSpPr txBox="1">
            <a:spLocks noChangeArrowheads="1"/>
          </p:cNvSpPr>
          <p:nvPr/>
        </p:nvSpPr>
        <p:spPr bwMode="white">
          <a:xfrm>
            <a:off x="11247120" y="6629401"/>
            <a:ext cx="592666" cy="13849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defRPr sz="700"/>
            </a:lvl1pPr>
          </a:lstStyle>
          <a:p>
            <a:pPr marL="0" marR="0" lvl="0" indent="0" algn="r" defTabSz="1086775" rtl="0" eaLnBrk="0" fontAlgn="base" latinLnBrk="0" hangingPunct="0">
              <a:lnSpc>
                <a:spcPct val="100000"/>
              </a:lnSpc>
              <a:spcBef>
                <a:spcPct val="0"/>
              </a:spcBef>
              <a:spcAft>
                <a:spcPct val="0"/>
              </a:spcAft>
              <a:buClrTx/>
              <a:buSzTx/>
              <a:buFontTx/>
              <a:buNone/>
              <a:tabLst/>
              <a:defRPr/>
            </a:pPr>
            <a:fld id="{8D7874BA-B114-4D1F-A449-70AD1C45E88A}" type="slidenum">
              <a:rPr kumimoji="0" lang="en-US" sz="900" b="0" i="0" u="none" strike="noStrike" kern="1200" cap="none" spc="0" normalizeH="0" baseline="0" noProof="0" smtClean="0">
                <a:ln>
                  <a:noFill/>
                </a:ln>
                <a:solidFill>
                  <a:schemeClr val="bg1"/>
                </a:solidFill>
                <a:effectLst/>
                <a:uLnTx/>
                <a:uFillTx/>
                <a:latin typeface="+mn-lt"/>
                <a:ea typeface="MS PGothic" pitchFamily="34" charset="-128"/>
                <a:cs typeface="+mn-cs"/>
              </a:rPr>
              <a:pPr marL="0" marR="0" lvl="0" indent="0" algn="r" defTabSz="1086775" rtl="0" eaLnBrk="0" fontAlgn="base" latinLnBrk="0" hangingPunct="0">
                <a:lnSpc>
                  <a:spcPct val="100000"/>
                </a:lnSpc>
                <a:spcBef>
                  <a:spcPct val="0"/>
                </a:spcBef>
                <a:spcAft>
                  <a:spcPct val="0"/>
                </a:spcAft>
                <a:buClrTx/>
                <a:buSzTx/>
                <a:buFontTx/>
                <a:buNone/>
                <a:tabLst/>
                <a:defRPr/>
              </a:pPr>
              <a:t>‹#›</a:t>
            </a:fld>
            <a:endParaRPr kumimoji="0" lang="en-US" sz="900" b="0" i="0" u="none" strike="noStrike" kern="1200" cap="none" spc="0" normalizeH="0" baseline="0" noProof="0">
              <a:ln>
                <a:noFill/>
              </a:ln>
              <a:solidFill>
                <a:schemeClr val="bg1"/>
              </a:solidFill>
              <a:effectLst/>
              <a:uLnTx/>
              <a:uFillTx/>
              <a:latin typeface="+mn-lt"/>
              <a:ea typeface="MS PGothic" pitchFamily="34" charset="-128"/>
              <a:cs typeface="+mn-cs"/>
            </a:endParaRPr>
          </a:p>
        </p:txBody>
      </p:sp>
      <p:pic>
        <p:nvPicPr>
          <p:cNvPr id="13" name="Picture 12">
            <a:extLst>
              <a:ext uri="{FF2B5EF4-FFF2-40B4-BE49-F238E27FC236}">
                <a16:creationId xmlns:a16="http://schemas.microsoft.com/office/drawing/2014/main" id="{52938D33-69AE-4EA8-B1F3-AEB045BF2582}"/>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967460" y="312672"/>
            <a:ext cx="856680" cy="332728"/>
          </a:xfrm>
          <a:prstGeom prst="rect">
            <a:avLst/>
          </a:prstGeom>
        </p:spPr>
      </p:pic>
      <p:grpSp>
        <p:nvGrpSpPr>
          <p:cNvPr id="14" name="Group 13">
            <a:extLst>
              <a:ext uri="{FF2B5EF4-FFF2-40B4-BE49-F238E27FC236}">
                <a16:creationId xmlns:a16="http://schemas.microsoft.com/office/drawing/2014/main" id="{D3598208-AA80-467D-8193-8E836964952A}"/>
              </a:ext>
            </a:extLst>
          </p:cNvPr>
          <p:cNvGrpSpPr/>
          <p:nvPr userDrawn="1"/>
        </p:nvGrpSpPr>
        <p:grpSpPr>
          <a:xfrm>
            <a:off x="-6515" y="-465745"/>
            <a:ext cx="2284497" cy="7335777"/>
            <a:chOff x="-6515" y="-465745"/>
            <a:chExt cx="2284497" cy="7335777"/>
          </a:xfrm>
        </p:grpSpPr>
        <p:sp>
          <p:nvSpPr>
            <p:cNvPr id="15" name="Rectangle 4">
              <a:extLst>
                <a:ext uri="{FF2B5EF4-FFF2-40B4-BE49-F238E27FC236}">
                  <a16:creationId xmlns:a16="http://schemas.microsoft.com/office/drawing/2014/main" id="{46E2C9E0-78F4-4874-8B92-08E2A7C0061D}"/>
                </a:ext>
              </a:extLst>
            </p:cNvPr>
            <p:cNvSpPr/>
            <p:nvPr/>
          </p:nvSpPr>
          <p:spPr>
            <a:xfrm>
              <a:off x="0" y="-12032"/>
              <a:ext cx="2277982" cy="6870032"/>
            </a:xfrm>
            <a:custGeom>
              <a:avLst/>
              <a:gdLst>
                <a:gd name="connsiteX0" fmla="*/ 0 w 8385464"/>
                <a:gd name="connsiteY0" fmla="*/ 0 h 6858000"/>
                <a:gd name="connsiteX1" fmla="*/ 8385464 w 8385464"/>
                <a:gd name="connsiteY1" fmla="*/ 0 h 6858000"/>
                <a:gd name="connsiteX2" fmla="*/ 8385464 w 8385464"/>
                <a:gd name="connsiteY2" fmla="*/ 6858000 h 6858000"/>
                <a:gd name="connsiteX3" fmla="*/ 0 w 8385464"/>
                <a:gd name="connsiteY3" fmla="*/ 6858000 h 6858000"/>
                <a:gd name="connsiteX4" fmla="*/ 0 w 8385464"/>
                <a:gd name="connsiteY4" fmla="*/ 0 h 6858000"/>
                <a:gd name="connsiteX0" fmla="*/ 0 w 8395855"/>
                <a:gd name="connsiteY0" fmla="*/ 0 h 6858000"/>
                <a:gd name="connsiteX1" fmla="*/ 8385464 w 8395855"/>
                <a:gd name="connsiteY1" fmla="*/ 0 h 6858000"/>
                <a:gd name="connsiteX2" fmla="*/ 8395855 w 8395855"/>
                <a:gd name="connsiteY2" fmla="*/ 3408218 h 6858000"/>
                <a:gd name="connsiteX3" fmla="*/ 8385464 w 8395855"/>
                <a:gd name="connsiteY3" fmla="*/ 6858000 h 6858000"/>
                <a:gd name="connsiteX4" fmla="*/ 0 w 8395855"/>
                <a:gd name="connsiteY4" fmla="*/ 6858000 h 6858000"/>
                <a:gd name="connsiteX5" fmla="*/ 0 w 8395855"/>
                <a:gd name="connsiteY5" fmla="*/ 0 h 6858000"/>
                <a:gd name="connsiteX0" fmla="*/ 0 w 8385468"/>
                <a:gd name="connsiteY0" fmla="*/ 0 h 6858000"/>
                <a:gd name="connsiteX1" fmla="*/ 8385464 w 8385468"/>
                <a:gd name="connsiteY1" fmla="*/ 0 h 6858000"/>
                <a:gd name="connsiteX2" fmla="*/ 6286501 w 8385468"/>
                <a:gd name="connsiteY2" fmla="*/ 3512127 h 6858000"/>
                <a:gd name="connsiteX3" fmla="*/ 8385464 w 8385468"/>
                <a:gd name="connsiteY3" fmla="*/ 6858000 h 6858000"/>
                <a:gd name="connsiteX4" fmla="*/ 0 w 8385468"/>
                <a:gd name="connsiteY4" fmla="*/ 6858000 h 6858000"/>
                <a:gd name="connsiteX5" fmla="*/ 0 w 8385468"/>
                <a:gd name="connsiteY5" fmla="*/ 0 h 6858000"/>
                <a:gd name="connsiteX0" fmla="*/ 0 w 8385470"/>
                <a:gd name="connsiteY0" fmla="*/ 0 h 6858000"/>
                <a:gd name="connsiteX1" fmla="*/ 8385464 w 8385470"/>
                <a:gd name="connsiteY1" fmla="*/ 0 h 6858000"/>
                <a:gd name="connsiteX2" fmla="*/ 6993083 w 8385470"/>
                <a:gd name="connsiteY2" fmla="*/ 3740727 h 6858000"/>
                <a:gd name="connsiteX3" fmla="*/ 8385464 w 8385470"/>
                <a:gd name="connsiteY3" fmla="*/ 6858000 h 6858000"/>
                <a:gd name="connsiteX4" fmla="*/ 0 w 8385470"/>
                <a:gd name="connsiteY4" fmla="*/ 6858000 h 6858000"/>
                <a:gd name="connsiteX5" fmla="*/ 0 w 8385470"/>
                <a:gd name="connsiteY5" fmla="*/ 0 h 6858000"/>
                <a:gd name="connsiteX0" fmla="*/ 0 w 8385474"/>
                <a:gd name="connsiteY0" fmla="*/ 0 h 6858000"/>
                <a:gd name="connsiteX1" fmla="*/ 8385464 w 8385474"/>
                <a:gd name="connsiteY1" fmla="*/ 0 h 6858000"/>
                <a:gd name="connsiteX2" fmla="*/ 6993083 w 8385474"/>
                <a:gd name="connsiteY2" fmla="*/ 3740727 h 6858000"/>
                <a:gd name="connsiteX3" fmla="*/ 8385464 w 8385474"/>
                <a:gd name="connsiteY3" fmla="*/ 6858000 h 6858000"/>
                <a:gd name="connsiteX4" fmla="*/ 0 w 8385474"/>
                <a:gd name="connsiteY4" fmla="*/ 6858000 h 6858000"/>
                <a:gd name="connsiteX5" fmla="*/ 0 w 8385474"/>
                <a:gd name="connsiteY5" fmla="*/ 0 h 6858000"/>
                <a:gd name="connsiteX0" fmla="*/ 0 w 8385470"/>
                <a:gd name="connsiteY0" fmla="*/ 0 h 6858000"/>
                <a:gd name="connsiteX1" fmla="*/ 8385464 w 8385470"/>
                <a:gd name="connsiteY1" fmla="*/ 0 h 6858000"/>
                <a:gd name="connsiteX2" fmla="*/ 6993083 w 8385470"/>
                <a:gd name="connsiteY2" fmla="*/ 3740727 h 6858000"/>
                <a:gd name="connsiteX3" fmla="*/ 8385464 w 8385470"/>
                <a:gd name="connsiteY3" fmla="*/ 6858000 h 6858000"/>
                <a:gd name="connsiteX4" fmla="*/ 0 w 8385470"/>
                <a:gd name="connsiteY4" fmla="*/ 6858000 h 6858000"/>
                <a:gd name="connsiteX5" fmla="*/ 0 w 8385470"/>
                <a:gd name="connsiteY5" fmla="*/ 0 h 6858000"/>
                <a:gd name="connsiteX0" fmla="*/ 0 w 8385464"/>
                <a:gd name="connsiteY0" fmla="*/ 0 h 6858000"/>
                <a:gd name="connsiteX1" fmla="*/ 8385464 w 8385464"/>
                <a:gd name="connsiteY1" fmla="*/ 0 h 6858000"/>
                <a:gd name="connsiteX2" fmla="*/ 6993083 w 8385464"/>
                <a:gd name="connsiteY2" fmla="*/ 3740727 h 6858000"/>
                <a:gd name="connsiteX3" fmla="*/ 8385464 w 8385464"/>
                <a:gd name="connsiteY3" fmla="*/ 6858000 h 6858000"/>
                <a:gd name="connsiteX4" fmla="*/ 0 w 8385464"/>
                <a:gd name="connsiteY4" fmla="*/ 6858000 h 6858000"/>
                <a:gd name="connsiteX5" fmla="*/ 0 w 8385464"/>
                <a:gd name="connsiteY5" fmla="*/ 0 h 6858000"/>
                <a:gd name="connsiteX0" fmla="*/ 0 w 8385464"/>
                <a:gd name="connsiteY0" fmla="*/ 0 h 6858000"/>
                <a:gd name="connsiteX1" fmla="*/ 8385464 w 8385464"/>
                <a:gd name="connsiteY1" fmla="*/ 0 h 6858000"/>
                <a:gd name="connsiteX2" fmla="*/ 6993083 w 8385464"/>
                <a:gd name="connsiteY2" fmla="*/ 3740727 h 6858000"/>
                <a:gd name="connsiteX3" fmla="*/ 8385464 w 8385464"/>
                <a:gd name="connsiteY3" fmla="*/ 6858000 h 6858000"/>
                <a:gd name="connsiteX4" fmla="*/ 0 w 8385464"/>
                <a:gd name="connsiteY4" fmla="*/ 6858000 h 6858000"/>
                <a:gd name="connsiteX5" fmla="*/ 0 w 8385464"/>
                <a:gd name="connsiteY5" fmla="*/ 0 h 6858000"/>
                <a:gd name="connsiteX0" fmla="*/ 0 w 8385464"/>
                <a:gd name="connsiteY0" fmla="*/ 0 h 6858000"/>
                <a:gd name="connsiteX1" fmla="*/ 8385464 w 8385464"/>
                <a:gd name="connsiteY1" fmla="*/ 0 h 6858000"/>
                <a:gd name="connsiteX2" fmla="*/ 6993083 w 8385464"/>
                <a:gd name="connsiteY2" fmla="*/ 3740727 h 6858000"/>
                <a:gd name="connsiteX3" fmla="*/ 8385464 w 8385464"/>
                <a:gd name="connsiteY3" fmla="*/ 6858000 h 6858000"/>
                <a:gd name="connsiteX4" fmla="*/ 0 w 8385464"/>
                <a:gd name="connsiteY4" fmla="*/ 6858000 h 6858000"/>
                <a:gd name="connsiteX5" fmla="*/ 0 w 8385464"/>
                <a:gd name="connsiteY5" fmla="*/ 0 h 6858000"/>
                <a:gd name="connsiteX0" fmla="*/ 0 w 8385464"/>
                <a:gd name="connsiteY0" fmla="*/ 0 h 6858000"/>
                <a:gd name="connsiteX1" fmla="*/ 8385464 w 8385464"/>
                <a:gd name="connsiteY1" fmla="*/ 0 h 6858000"/>
                <a:gd name="connsiteX2" fmla="*/ 6286501 w 8385464"/>
                <a:gd name="connsiteY2" fmla="*/ 4634345 h 6858000"/>
                <a:gd name="connsiteX3" fmla="*/ 8385464 w 8385464"/>
                <a:gd name="connsiteY3" fmla="*/ 6858000 h 6858000"/>
                <a:gd name="connsiteX4" fmla="*/ 0 w 8385464"/>
                <a:gd name="connsiteY4" fmla="*/ 6858000 h 6858000"/>
                <a:gd name="connsiteX5" fmla="*/ 0 w 8385464"/>
                <a:gd name="connsiteY5" fmla="*/ 0 h 6858000"/>
                <a:gd name="connsiteX0" fmla="*/ 0 w 8385464"/>
                <a:gd name="connsiteY0" fmla="*/ 0 h 6889173"/>
                <a:gd name="connsiteX1" fmla="*/ 8385464 w 8385464"/>
                <a:gd name="connsiteY1" fmla="*/ 0 h 6889173"/>
                <a:gd name="connsiteX2" fmla="*/ 6286501 w 8385464"/>
                <a:gd name="connsiteY2" fmla="*/ 4634345 h 6889173"/>
                <a:gd name="connsiteX3" fmla="*/ 6878783 w 8385464"/>
                <a:gd name="connsiteY3" fmla="*/ 6889173 h 6889173"/>
                <a:gd name="connsiteX4" fmla="*/ 0 w 8385464"/>
                <a:gd name="connsiteY4" fmla="*/ 6858000 h 6889173"/>
                <a:gd name="connsiteX5" fmla="*/ 0 w 8385464"/>
                <a:gd name="connsiteY5" fmla="*/ 0 h 6889173"/>
                <a:gd name="connsiteX0" fmla="*/ 0 w 8385464"/>
                <a:gd name="connsiteY0" fmla="*/ 0 h 6889173"/>
                <a:gd name="connsiteX1" fmla="*/ 8385464 w 8385464"/>
                <a:gd name="connsiteY1" fmla="*/ 0 h 6889173"/>
                <a:gd name="connsiteX2" fmla="*/ 6255328 w 8385464"/>
                <a:gd name="connsiteY2" fmla="*/ 5029200 h 6889173"/>
                <a:gd name="connsiteX3" fmla="*/ 6878783 w 8385464"/>
                <a:gd name="connsiteY3" fmla="*/ 6889173 h 6889173"/>
                <a:gd name="connsiteX4" fmla="*/ 0 w 8385464"/>
                <a:gd name="connsiteY4" fmla="*/ 6858000 h 6889173"/>
                <a:gd name="connsiteX5" fmla="*/ 0 w 8385464"/>
                <a:gd name="connsiteY5" fmla="*/ 0 h 6889173"/>
                <a:gd name="connsiteX0" fmla="*/ 0 w 8385464"/>
                <a:gd name="connsiteY0" fmla="*/ 0 h 6889173"/>
                <a:gd name="connsiteX1" fmla="*/ 8385464 w 8385464"/>
                <a:gd name="connsiteY1" fmla="*/ 0 h 6889173"/>
                <a:gd name="connsiteX2" fmla="*/ 6255328 w 8385464"/>
                <a:gd name="connsiteY2" fmla="*/ 5029200 h 6889173"/>
                <a:gd name="connsiteX3" fmla="*/ 6878783 w 8385464"/>
                <a:gd name="connsiteY3" fmla="*/ 6889173 h 6889173"/>
                <a:gd name="connsiteX4" fmla="*/ 0 w 8385464"/>
                <a:gd name="connsiteY4" fmla="*/ 6858000 h 6889173"/>
                <a:gd name="connsiteX5" fmla="*/ 0 w 8385464"/>
                <a:gd name="connsiteY5" fmla="*/ 0 h 6889173"/>
                <a:gd name="connsiteX0" fmla="*/ 0 w 8385464"/>
                <a:gd name="connsiteY0" fmla="*/ 0 h 6889173"/>
                <a:gd name="connsiteX1" fmla="*/ 8385464 w 8385464"/>
                <a:gd name="connsiteY1" fmla="*/ 0 h 6889173"/>
                <a:gd name="connsiteX2" fmla="*/ 6255328 w 8385464"/>
                <a:gd name="connsiteY2" fmla="*/ 5029200 h 6889173"/>
                <a:gd name="connsiteX3" fmla="*/ 6878783 w 8385464"/>
                <a:gd name="connsiteY3" fmla="*/ 6889173 h 6889173"/>
                <a:gd name="connsiteX4" fmla="*/ 0 w 8385464"/>
                <a:gd name="connsiteY4" fmla="*/ 6858000 h 6889173"/>
                <a:gd name="connsiteX5" fmla="*/ 0 w 8385464"/>
                <a:gd name="connsiteY5" fmla="*/ 0 h 6889173"/>
                <a:gd name="connsiteX0" fmla="*/ 0 w 8385464"/>
                <a:gd name="connsiteY0" fmla="*/ 0 h 6889173"/>
                <a:gd name="connsiteX1" fmla="*/ 8385464 w 8385464"/>
                <a:gd name="connsiteY1" fmla="*/ 0 h 6889173"/>
                <a:gd name="connsiteX2" fmla="*/ 6255328 w 8385464"/>
                <a:gd name="connsiteY2" fmla="*/ 5029200 h 6889173"/>
                <a:gd name="connsiteX3" fmla="*/ 6878783 w 8385464"/>
                <a:gd name="connsiteY3" fmla="*/ 6889173 h 6889173"/>
                <a:gd name="connsiteX4" fmla="*/ 0 w 8385464"/>
                <a:gd name="connsiteY4" fmla="*/ 6858000 h 6889173"/>
                <a:gd name="connsiteX5" fmla="*/ 0 w 8385464"/>
                <a:gd name="connsiteY5" fmla="*/ 0 h 6889173"/>
                <a:gd name="connsiteX0" fmla="*/ 0 w 11367745"/>
                <a:gd name="connsiteY0" fmla="*/ 12032 h 6901205"/>
                <a:gd name="connsiteX1" fmla="*/ 11367745 w 11367745"/>
                <a:gd name="connsiteY1" fmla="*/ 0 h 6901205"/>
                <a:gd name="connsiteX2" fmla="*/ 6255328 w 11367745"/>
                <a:gd name="connsiteY2" fmla="*/ 5041232 h 6901205"/>
                <a:gd name="connsiteX3" fmla="*/ 6878783 w 11367745"/>
                <a:gd name="connsiteY3" fmla="*/ 6901205 h 6901205"/>
                <a:gd name="connsiteX4" fmla="*/ 0 w 11367745"/>
                <a:gd name="connsiteY4" fmla="*/ 6870032 h 6901205"/>
                <a:gd name="connsiteX5" fmla="*/ 0 w 11367745"/>
                <a:gd name="connsiteY5" fmla="*/ 12032 h 6901205"/>
                <a:gd name="connsiteX0" fmla="*/ 0 w 11367745"/>
                <a:gd name="connsiteY0" fmla="*/ 12032 h 6901205"/>
                <a:gd name="connsiteX1" fmla="*/ 11367745 w 11367745"/>
                <a:gd name="connsiteY1" fmla="*/ 0 h 6901205"/>
                <a:gd name="connsiteX2" fmla="*/ 6255328 w 11367745"/>
                <a:gd name="connsiteY2" fmla="*/ 5041232 h 6901205"/>
                <a:gd name="connsiteX3" fmla="*/ 6878783 w 11367745"/>
                <a:gd name="connsiteY3" fmla="*/ 6901205 h 6901205"/>
                <a:gd name="connsiteX4" fmla="*/ 0 w 11367745"/>
                <a:gd name="connsiteY4" fmla="*/ 6870032 h 6901205"/>
                <a:gd name="connsiteX5" fmla="*/ 0 w 11367745"/>
                <a:gd name="connsiteY5" fmla="*/ 12032 h 6901205"/>
                <a:gd name="connsiteX0" fmla="*/ 0 w 11367745"/>
                <a:gd name="connsiteY0" fmla="*/ 12032 h 6901205"/>
                <a:gd name="connsiteX1" fmla="*/ 11367745 w 11367745"/>
                <a:gd name="connsiteY1" fmla="*/ 0 h 6901205"/>
                <a:gd name="connsiteX2" fmla="*/ 6255328 w 11367745"/>
                <a:gd name="connsiteY2" fmla="*/ 5041232 h 6901205"/>
                <a:gd name="connsiteX3" fmla="*/ 6878783 w 11367745"/>
                <a:gd name="connsiteY3" fmla="*/ 6901205 h 6901205"/>
                <a:gd name="connsiteX4" fmla="*/ 0 w 11367745"/>
                <a:gd name="connsiteY4" fmla="*/ 6870032 h 6901205"/>
                <a:gd name="connsiteX5" fmla="*/ 0 w 11367745"/>
                <a:gd name="connsiteY5" fmla="*/ 12032 h 6901205"/>
                <a:gd name="connsiteX0" fmla="*/ 0 w 11367745"/>
                <a:gd name="connsiteY0" fmla="*/ 12032 h 6901205"/>
                <a:gd name="connsiteX1" fmla="*/ 11367745 w 11367745"/>
                <a:gd name="connsiteY1" fmla="*/ 0 h 6901205"/>
                <a:gd name="connsiteX2" fmla="*/ 6255328 w 11367745"/>
                <a:gd name="connsiteY2" fmla="*/ 5041232 h 6901205"/>
                <a:gd name="connsiteX3" fmla="*/ 6878783 w 11367745"/>
                <a:gd name="connsiteY3" fmla="*/ 6901205 h 6901205"/>
                <a:gd name="connsiteX4" fmla="*/ 0 w 11367745"/>
                <a:gd name="connsiteY4" fmla="*/ 6870032 h 6901205"/>
                <a:gd name="connsiteX5" fmla="*/ 0 w 11367745"/>
                <a:gd name="connsiteY5" fmla="*/ 12032 h 6901205"/>
                <a:gd name="connsiteX0" fmla="*/ 0 w 11367745"/>
                <a:gd name="connsiteY0" fmla="*/ 12032 h 6901205"/>
                <a:gd name="connsiteX1" fmla="*/ 11367745 w 11367745"/>
                <a:gd name="connsiteY1" fmla="*/ 0 h 6901205"/>
                <a:gd name="connsiteX2" fmla="*/ 6255328 w 11367745"/>
                <a:gd name="connsiteY2" fmla="*/ 5041232 h 6901205"/>
                <a:gd name="connsiteX3" fmla="*/ 6843698 w 11367745"/>
                <a:gd name="connsiteY3" fmla="*/ 6901205 h 6901205"/>
                <a:gd name="connsiteX4" fmla="*/ 0 w 11367745"/>
                <a:gd name="connsiteY4" fmla="*/ 6870032 h 6901205"/>
                <a:gd name="connsiteX5" fmla="*/ 0 w 11367745"/>
                <a:gd name="connsiteY5" fmla="*/ 12032 h 6901205"/>
                <a:gd name="connsiteX0" fmla="*/ 0 w 11367745"/>
                <a:gd name="connsiteY0" fmla="*/ 12032 h 6877142"/>
                <a:gd name="connsiteX1" fmla="*/ 11367745 w 11367745"/>
                <a:gd name="connsiteY1" fmla="*/ 0 h 6877142"/>
                <a:gd name="connsiteX2" fmla="*/ 6255328 w 11367745"/>
                <a:gd name="connsiteY2" fmla="*/ 5041232 h 6877142"/>
                <a:gd name="connsiteX3" fmla="*/ 6808614 w 11367745"/>
                <a:gd name="connsiteY3" fmla="*/ 6877142 h 6877142"/>
                <a:gd name="connsiteX4" fmla="*/ 0 w 11367745"/>
                <a:gd name="connsiteY4" fmla="*/ 6870032 h 6877142"/>
                <a:gd name="connsiteX5" fmla="*/ 0 w 11367745"/>
                <a:gd name="connsiteY5" fmla="*/ 12032 h 6877142"/>
                <a:gd name="connsiteX0" fmla="*/ 0 w 11367745"/>
                <a:gd name="connsiteY0" fmla="*/ 12032 h 6877142"/>
                <a:gd name="connsiteX1" fmla="*/ 11367745 w 11367745"/>
                <a:gd name="connsiteY1" fmla="*/ 0 h 6877142"/>
                <a:gd name="connsiteX2" fmla="*/ 4933499 w 11367745"/>
                <a:gd name="connsiteY2" fmla="*/ 4207042 h 6877142"/>
                <a:gd name="connsiteX3" fmla="*/ 6808614 w 11367745"/>
                <a:gd name="connsiteY3" fmla="*/ 6877142 h 6877142"/>
                <a:gd name="connsiteX4" fmla="*/ 0 w 11367745"/>
                <a:gd name="connsiteY4" fmla="*/ 6870032 h 6877142"/>
                <a:gd name="connsiteX5" fmla="*/ 0 w 11367745"/>
                <a:gd name="connsiteY5" fmla="*/ 12032 h 6877142"/>
                <a:gd name="connsiteX0" fmla="*/ 0 w 11367745"/>
                <a:gd name="connsiteY0" fmla="*/ 12032 h 6877142"/>
                <a:gd name="connsiteX1" fmla="*/ 11367745 w 11367745"/>
                <a:gd name="connsiteY1" fmla="*/ 0 h 6877142"/>
                <a:gd name="connsiteX2" fmla="*/ 4933499 w 11367745"/>
                <a:gd name="connsiteY2" fmla="*/ 4207042 h 6877142"/>
                <a:gd name="connsiteX3" fmla="*/ 5354604 w 11367745"/>
                <a:gd name="connsiteY3" fmla="*/ 6877142 h 6877142"/>
                <a:gd name="connsiteX4" fmla="*/ 0 w 11367745"/>
                <a:gd name="connsiteY4" fmla="*/ 6870032 h 6877142"/>
                <a:gd name="connsiteX5" fmla="*/ 0 w 11367745"/>
                <a:gd name="connsiteY5" fmla="*/ 12032 h 6877142"/>
                <a:gd name="connsiteX0" fmla="*/ 0 w 11367745"/>
                <a:gd name="connsiteY0" fmla="*/ 12032 h 6877142"/>
                <a:gd name="connsiteX1" fmla="*/ 11367745 w 11367745"/>
                <a:gd name="connsiteY1" fmla="*/ 0 h 6877142"/>
                <a:gd name="connsiteX2" fmla="*/ 4933499 w 11367745"/>
                <a:gd name="connsiteY2" fmla="*/ 4207042 h 6877142"/>
                <a:gd name="connsiteX3" fmla="*/ 5354604 w 11367745"/>
                <a:gd name="connsiteY3" fmla="*/ 6877142 h 6877142"/>
                <a:gd name="connsiteX4" fmla="*/ 0 w 11367745"/>
                <a:gd name="connsiteY4" fmla="*/ 6870032 h 6877142"/>
                <a:gd name="connsiteX5" fmla="*/ 0 w 11367745"/>
                <a:gd name="connsiteY5" fmla="*/ 12032 h 6877142"/>
                <a:gd name="connsiteX0" fmla="*/ 0 w 11367745"/>
                <a:gd name="connsiteY0" fmla="*/ 12032 h 6877142"/>
                <a:gd name="connsiteX1" fmla="*/ 11367745 w 11367745"/>
                <a:gd name="connsiteY1" fmla="*/ 0 h 6877142"/>
                <a:gd name="connsiteX2" fmla="*/ 3507531 w 11367745"/>
                <a:gd name="connsiteY2" fmla="*/ 4207042 h 6877142"/>
                <a:gd name="connsiteX3" fmla="*/ 5354604 w 11367745"/>
                <a:gd name="connsiteY3" fmla="*/ 6877142 h 6877142"/>
                <a:gd name="connsiteX4" fmla="*/ 0 w 11367745"/>
                <a:gd name="connsiteY4" fmla="*/ 6870032 h 6877142"/>
                <a:gd name="connsiteX5" fmla="*/ 0 w 11367745"/>
                <a:gd name="connsiteY5" fmla="*/ 12032 h 6877142"/>
                <a:gd name="connsiteX0" fmla="*/ 0 w 11367745"/>
                <a:gd name="connsiteY0" fmla="*/ 12032 h 6870032"/>
                <a:gd name="connsiteX1" fmla="*/ 11367745 w 11367745"/>
                <a:gd name="connsiteY1" fmla="*/ 0 h 6870032"/>
                <a:gd name="connsiteX2" fmla="*/ 3507531 w 11367745"/>
                <a:gd name="connsiteY2" fmla="*/ 4207042 h 6870032"/>
                <a:gd name="connsiteX3" fmla="*/ 3976167 w 11367745"/>
                <a:gd name="connsiteY3" fmla="*/ 6839042 h 6870032"/>
                <a:gd name="connsiteX4" fmla="*/ 0 w 11367745"/>
                <a:gd name="connsiteY4" fmla="*/ 6870032 h 6870032"/>
                <a:gd name="connsiteX5" fmla="*/ 0 w 11367745"/>
                <a:gd name="connsiteY5" fmla="*/ 12032 h 68700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367745" h="6870032">
                  <a:moveTo>
                    <a:pt x="0" y="12032"/>
                  </a:moveTo>
                  <a:lnTo>
                    <a:pt x="11367745" y="0"/>
                  </a:lnTo>
                  <a:cubicBezTo>
                    <a:pt x="9493718" y="1572491"/>
                    <a:pt x="4203722" y="2709657"/>
                    <a:pt x="3507531" y="4207042"/>
                  </a:cubicBezTo>
                  <a:cubicBezTo>
                    <a:pt x="3950876" y="5523223"/>
                    <a:pt x="3449696" y="5387779"/>
                    <a:pt x="3976167" y="6839042"/>
                  </a:cubicBezTo>
                  <a:lnTo>
                    <a:pt x="0" y="6870032"/>
                  </a:lnTo>
                  <a:lnTo>
                    <a:pt x="0" y="12032"/>
                  </a:lnTo>
                  <a:close/>
                </a:path>
              </a:pathLst>
            </a:custGeom>
            <a:solidFill>
              <a:schemeClr val="tx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16" name="Right Triangle 3">
              <a:extLst>
                <a:ext uri="{FF2B5EF4-FFF2-40B4-BE49-F238E27FC236}">
                  <a16:creationId xmlns:a16="http://schemas.microsoft.com/office/drawing/2014/main" id="{56990D95-B6C6-4723-82D2-F9651330B7FE}"/>
                </a:ext>
              </a:extLst>
            </p:cNvPr>
            <p:cNvSpPr/>
            <p:nvPr/>
          </p:nvSpPr>
          <p:spPr>
            <a:xfrm flipH="1">
              <a:off x="-6515" y="4242391"/>
              <a:ext cx="712079" cy="2616194"/>
            </a:xfrm>
            <a:custGeom>
              <a:avLst/>
              <a:gdLst>
                <a:gd name="connsiteX0" fmla="*/ 0 w 1155025"/>
                <a:gd name="connsiteY0" fmla="*/ 2849526 h 2849526"/>
                <a:gd name="connsiteX1" fmla="*/ 0 w 1155025"/>
                <a:gd name="connsiteY1" fmla="*/ 0 h 2849526"/>
                <a:gd name="connsiteX2" fmla="*/ 1155025 w 1155025"/>
                <a:gd name="connsiteY2" fmla="*/ 2849526 h 2849526"/>
                <a:gd name="connsiteX3" fmla="*/ 0 w 1155025"/>
                <a:gd name="connsiteY3" fmla="*/ 2849526 h 2849526"/>
                <a:gd name="connsiteX0" fmla="*/ 606055 w 1761080"/>
                <a:gd name="connsiteY0" fmla="*/ 2870791 h 2870791"/>
                <a:gd name="connsiteX1" fmla="*/ 0 w 1761080"/>
                <a:gd name="connsiteY1" fmla="*/ 0 h 2870791"/>
                <a:gd name="connsiteX2" fmla="*/ 1761080 w 1761080"/>
                <a:gd name="connsiteY2" fmla="*/ 2870791 h 2870791"/>
                <a:gd name="connsiteX3" fmla="*/ 606055 w 1761080"/>
                <a:gd name="connsiteY3" fmla="*/ 2870791 h 2870791"/>
                <a:gd name="connsiteX0" fmla="*/ 350874 w 1505899"/>
                <a:gd name="connsiteY0" fmla="*/ 2626242 h 2626242"/>
                <a:gd name="connsiteX1" fmla="*/ 0 w 1505899"/>
                <a:gd name="connsiteY1" fmla="*/ 0 h 2626242"/>
                <a:gd name="connsiteX2" fmla="*/ 1505899 w 1505899"/>
                <a:gd name="connsiteY2" fmla="*/ 2626242 h 2626242"/>
                <a:gd name="connsiteX3" fmla="*/ 350874 w 1505899"/>
                <a:gd name="connsiteY3" fmla="*/ 2626242 h 2626242"/>
                <a:gd name="connsiteX0" fmla="*/ 350874 w 712079"/>
                <a:gd name="connsiteY0" fmla="*/ 2626242 h 2626242"/>
                <a:gd name="connsiteX1" fmla="*/ 0 w 712079"/>
                <a:gd name="connsiteY1" fmla="*/ 0 h 2626242"/>
                <a:gd name="connsiteX2" fmla="*/ 712079 w 712079"/>
                <a:gd name="connsiteY2" fmla="*/ 1279763 h 2626242"/>
                <a:gd name="connsiteX3" fmla="*/ 350874 w 712079"/>
                <a:gd name="connsiteY3" fmla="*/ 2626242 h 2626242"/>
                <a:gd name="connsiteX0" fmla="*/ 692518 w 712079"/>
                <a:gd name="connsiteY0" fmla="*/ 2626242 h 2626242"/>
                <a:gd name="connsiteX1" fmla="*/ 0 w 712079"/>
                <a:gd name="connsiteY1" fmla="*/ 0 h 2626242"/>
                <a:gd name="connsiteX2" fmla="*/ 712079 w 712079"/>
                <a:gd name="connsiteY2" fmla="*/ 1279763 h 2626242"/>
                <a:gd name="connsiteX3" fmla="*/ 692518 w 712079"/>
                <a:gd name="connsiteY3" fmla="*/ 2626242 h 2626242"/>
                <a:gd name="connsiteX0" fmla="*/ 692518 w 712079"/>
                <a:gd name="connsiteY0" fmla="*/ 2626242 h 2626242"/>
                <a:gd name="connsiteX1" fmla="*/ 0 w 712079"/>
                <a:gd name="connsiteY1" fmla="*/ 0 h 2626242"/>
                <a:gd name="connsiteX2" fmla="*/ 712079 w 712079"/>
                <a:gd name="connsiteY2" fmla="*/ 1264691 h 2626242"/>
                <a:gd name="connsiteX3" fmla="*/ 692518 w 712079"/>
                <a:gd name="connsiteY3" fmla="*/ 2626242 h 2626242"/>
                <a:gd name="connsiteX0" fmla="*/ 702567 w 712079"/>
                <a:gd name="connsiteY0" fmla="*/ 2616194 h 2616194"/>
                <a:gd name="connsiteX1" fmla="*/ 0 w 712079"/>
                <a:gd name="connsiteY1" fmla="*/ 0 h 2616194"/>
                <a:gd name="connsiteX2" fmla="*/ 712079 w 712079"/>
                <a:gd name="connsiteY2" fmla="*/ 1264691 h 2616194"/>
                <a:gd name="connsiteX3" fmla="*/ 702567 w 712079"/>
                <a:gd name="connsiteY3" fmla="*/ 2616194 h 2616194"/>
                <a:gd name="connsiteX0" fmla="*/ 702567 w 712079"/>
                <a:gd name="connsiteY0" fmla="*/ 2616194 h 2616194"/>
                <a:gd name="connsiteX1" fmla="*/ 605080 w 712079"/>
                <a:gd name="connsiteY1" fmla="*/ 2258893 h 2616194"/>
                <a:gd name="connsiteX2" fmla="*/ 0 w 712079"/>
                <a:gd name="connsiteY2" fmla="*/ 0 h 2616194"/>
                <a:gd name="connsiteX3" fmla="*/ 712079 w 712079"/>
                <a:gd name="connsiteY3" fmla="*/ 1264691 h 2616194"/>
                <a:gd name="connsiteX4" fmla="*/ 702567 w 712079"/>
                <a:gd name="connsiteY4" fmla="*/ 2616194 h 2616194"/>
                <a:gd name="connsiteX0" fmla="*/ 702567 w 712079"/>
                <a:gd name="connsiteY0" fmla="*/ 2616194 h 2616194"/>
                <a:gd name="connsiteX1" fmla="*/ 665371 w 712079"/>
                <a:gd name="connsiteY1" fmla="*/ 2615609 h 2616194"/>
                <a:gd name="connsiteX2" fmla="*/ 0 w 712079"/>
                <a:gd name="connsiteY2" fmla="*/ 0 h 2616194"/>
                <a:gd name="connsiteX3" fmla="*/ 712079 w 712079"/>
                <a:gd name="connsiteY3" fmla="*/ 1264691 h 2616194"/>
                <a:gd name="connsiteX4" fmla="*/ 702567 w 712079"/>
                <a:gd name="connsiteY4" fmla="*/ 2616194 h 26161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12079" h="2616194">
                  <a:moveTo>
                    <a:pt x="702567" y="2616194"/>
                  </a:moveTo>
                  <a:lnTo>
                    <a:pt x="665371" y="2615609"/>
                  </a:lnTo>
                  <a:lnTo>
                    <a:pt x="0" y="0"/>
                  </a:lnTo>
                  <a:lnTo>
                    <a:pt x="712079" y="1264691"/>
                  </a:lnTo>
                  <a:cubicBezTo>
                    <a:pt x="708908" y="1715192"/>
                    <a:pt x="705738" y="2165693"/>
                    <a:pt x="702567" y="2616194"/>
                  </a:cubicBezTo>
                  <a:close/>
                </a:path>
              </a:pathLst>
            </a:custGeom>
            <a:gradFill>
              <a:gsLst>
                <a:gs pos="2000">
                  <a:srgbClr val="62B53F"/>
                </a:gs>
                <a:gs pos="52000">
                  <a:srgbClr val="529533"/>
                </a:gs>
              </a:gsLst>
              <a:lin ang="14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17" name="Right Triangle 3">
              <a:extLst>
                <a:ext uri="{FF2B5EF4-FFF2-40B4-BE49-F238E27FC236}">
                  <a16:creationId xmlns:a16="http://schemas.microsoft.com/office/drawing/2014/main" id="{EC9B2ECA-C14A-4E87-A3F3-80BB4481D7A8}"/>
                </a:ext>
              </a:extLst>
            </p:cNvPr>
            <p:cNvSpPr/>
            <p:nvPr/>
          </p:nvSpPr>
          <p:spPr>
            <a:xfrm>
              <a:off x="16636" y="3818487"/>
              <a:ext cx="963639" cy="3051545"/>
            </a:xfrm>
            <a:custGeom>
              <a:avLst/>
              <a:gdLst>
                <a:gd name="connsiteX0" fmla="*/ 0 w 1155025"/>
                <a:gd name="connsiteY0" fmla="*/ 2849526 h 2849526"/>
                <a:gd name="connsiteX1" fmla="*/ 0 w 1155025"/>
                <a:gd name="connsiteY1" fmla="*/ 0 h 2849526"/>
                <a:gd name="connsiteX2" fmla="*/ 1155025 w 1155025"/>
                <a:gd name="connsiteY2" fmla="*/ 2849526 h 2849526"/>
                <a:gd name="connsiteX3" fmla="*/ 0 w 1155025"/>
                <a:gd name="connsiteY3" fmla="*/ 2849526 h 2849526"/>
                <a:gd name="connsiteX0" fmla="*/ 606055 w 1761080"/>
                <a:gd name="connsiteY0" fmla="*/ 2870791 h 2870791"/>
                <a:gd name="connsiteX1" fmla="*/ 0 w 1761080"/>
                <a:gd name="connsiteY1" fmla="*/ 0 h 2870791"/>
                <a:gd name="connsiteX2" fmla="*/ 1761080 w 1761080"/>
                <a:gd name="connsiteY2" fmla="*/ 2870791 h 2870791"/>
                <a:gd name="connsiteX3" fmla="*/ 606055 w 1761080"/>
                <a:gd name="connsiteY3" fmla="*/ 2870791 h 2870791"/>
                <a:gd name="connsiteX0" fmla="*/ 350874 w 1505899"/>
                <a:gd name="connsiteY0" fmla="*/ 2626242 h 2626242"/>
                <a:gd name="connsiteX1" fmla="*/ 0 w 1505899"/>
                <a:gd name="connsiteY1" fmla="*/ 0 h 2626242"/>
                <a:gd name="connsiteX2" fmla="*/ 1505899 w 1505899"/>
                <a:gd name="connsiteY2" fmla="*/ 2626242 h 2626242"/>
                <a:gd name="connsiteX3" fmla="*/ 350874 w 1505899"/>
                <a:gd name="connsiteY3" fmla="*/ 2626242 h 2626242"/>
                <a:gd name="connsiteX0" fmla="*/ 0 w 1155025"/>
                <a:gd name="connsiteY0" fmla="*/ 3051545 h 3051545"/>
                <a:gd name="connsiteX1" fmla="*/ 733647 w 1155025"/>
                <a:gd name="connsiteY1" fmla="*/ 0 h 3051545"/>
                <a:gd name="connsiteX2" fmla="*/ 1155025 w 1155025"/>
                <a:gd name="connsiteY2" fmla="*/ 3051545 h 3051545"/>
                <a:gd name="connsiteX3" fmla="*/ 0 w 1155025"/>
                <a:gd name="connsiteY3" fmla="*/ 3051545 h 3051545"/>
                <a:gd name="connsiteX0" fmla="*/ 0 w 963639"/>
                <a:gd name="connsiteY0" fmla="*/ 3051545 h 3051545"/>
                <a:gd name="connsiteX1" fmla="*/ 733647 w 963639"/>
                <a:gd name="connsiteY1" fmla="*/ 0 h 3051545"/>
                <a:gd name="connsiteX2" fmla="*/ 963639 w 963639"/>
                <a:gd name="connsiteY2" fmla="*/ 3051545 h 3051545"/>
                <a:gd name="connsiteX3" fmla="*/ 0 w 963639"/>
                <a:gd name="connsiteY3" fmla="*/ 3051545 h 3051545"/>
                <a:gd name="connsiteX0" fmla="*/ 0 w 963639"/>
                <a:gd name="connsiteY0" fmla="*/ 3051545 h 3051545"/>
                <a:gd name="connsiteX1" fmla="*/ 754912 w 963639"/>
                <a:gd name="connsiteY1" fmla="*/ 0 h 3051545"/>
                <a:gd name="connsiteX2" fmla="*/ 963639 w 963639"/>
                <a:gd name="connsiteY2" fmla="*/ 3051545 h 3051545"/>
                <a:gd name="connsiteX3" fmla="*/ 0 w 963639"/>
                <a:gd name="connsiteY3" fmla="*/ 3051545 h 3051545"/>
              </a:gdLst>
              <a:ahLst/>
              <a:cxnLst>
                <a:cxn ang="0">
                  <a:pos x="connsiteX0" y="connsiteY0"/>
                </a:cxn>
                <a:cxn ang="0">
                  <a:pos x="connsiteX1" y="connsiteY1"/>
                </a:cxn>
                <a:cxn ang="0">
                  <a:pos x="connsiteX2" y="connsiteY2"/>
                </a:cxn>
                <a:cxn ang="0">
                  <a:pos x="connsiteX3" y="connsiteY3"/>
                </a:cxn>
              </a:cxnLst>
              <a:rect l="l" t="t" r="r" b="b"/>
              <a:pathLst>
                <a:path w="963639" h="3051545">
                  <a:moveTo>
                    <a:pt x="0" y="3051545"/>
                  </a:moveTo>
                  <a:lnTo>
                    <a:pt x="754912" y="0"/>
                  </a:lnTo>
                  <a:lnTo>
                    <a:pt x="963639" y="3051545"/>
                  </a:lnTo>
                  <a:lnTo>
                    <a:pt x="0" y="3051545"/>
                  </a:lnTo>
                  <a:close/>
                </a:path>
              </a:pathLst>
            </a:custGeom>
            <a:gradFill>
              <a:gsLst>
                <a:gs pos="27000">
                  <a:srgbClr val="5EAC3E"/>
                </a:gs>
                <a:gs pos="64000">
                  <a:srgbClr val="67BD42"/>
                </a:gs>
              </a:gsLst>
              <a:lin ang="7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24" name="Right Triangle 3">
              <a:extLst>
                <a:ext uri="{FF2B5EF4-FFF2-40B4-BE49-F238E27FC236}">
                  <a16:creationId xmlns:a16="http://schemas.microsoft.com/office/drawing/2014/main" id="{9AFA1F9D-E0DB-427A-8D67-2A3C457C3A94}"/>
                </a:ext>
              </a:extLst>
            </p:cNvPr>
            <p:cNvSpPr/>
            <p:nvPr/>
          </p:nvSpPr>
          <p:spPr>
            <a:xfrm rot="12173926">
              <a:off x="1003907" y="-465745"/>
              <a:ext cx="1014731" cy="6395388"/>
            </a:xfrm>
            <a:custGeom>
              <a:avLst/>
              <a:gdLst>
                <a:gd name="connsiteX0" fmla="*/ 0 w 1155025"/>
                <a:gd name="connsiteY0" fmla="*/ 2849526 h 2849526"/>
                <a:gd name="connsiteX1" fmla="*/ 0 w 1155025"/>
                <a:gd name="connsiteY1" fmla="*/ 0 h 2849526"/>
                <a:gd name="connsiteX2" fmla="*/ 1155025 w 1155025"/>
                <a:gd name="connsiteY2" fmla="*/ 2849526 h 2849526"/>
                <a:gd name="connsiteX3" fmla="*/ 0 w 1155025"/>
                <a:gd name="connsiteY3" fmla="*/ 2849526 h 2849526"/>
                <a:gd name="connsiteX0" fmla="*/ 606055 w 1761080"/>
                <a:gd name="connsiteY0" fmla="*/ 2870791 h 2870791"/>
                <a:gd name="connsiteX1" fmla="*/ 0 w 1761080"/>
                <a:gd name="connsiteY1" fmla="*/ 0 h 2870791"/>
                <a:gd name="connsiteX2" fmla="*/ 1761080 w 1761080"/>
                <a:gd name="connsiteY2" fmla="*/ 2870791 h 2870791"/>
                <a:gd name="connsiteX3" fmla="*/ 606055 w 1761080"/>
                <a:gd name="connsiteY3" fmla="*/ 2870791 h 2870791"/>
                <a:gd name="connsiteX0" fmla="*/ 350874 w 1505899"/>
                <a:gd name="connsiteY0" fmla="*/ 2626242 h 2626242"/>
                <a:gd name="connsiteX1" fmla="*/ 0 w 1505899"/>
                <a:gd name="connsiteY1" fmla="*/ 0 h 2626242"/>
                <a:gd name="connsiteX2" fmla="*/ 1505899 w 1505899"/>
                <a:gd name="connsiteY2" fmla="*/ 2626242 h 2626242"/>
                <a:gd name="connsiteX3" fmla="*/ 350874 w 1505899"/>
                <a:gd name="connsiteY3" fmla="*/ 2626242 h 2626242"/>
                <a:gd name="connsiteX0" fmla="*/ 0 w 1155025"/>
                <a:gd name="connsiteY0" fmla="*/ 3051545 h 3051545"/>
                <a:gd name="connsiteX1" fmla="*/ 733647 w 1155025"/>
                <a:gd name="connsiteY1" fmla="*/ 0 h 3051545"/>
                <a:gd name="connsiteX2" fmla="*/ 1155025 w 1155025"/>
                <a:gd name="connsiteY2" fmla="*/ 3051545 h 3051545"/>
                <a:gd name="connsiteX3" fmla="*/ 0 w 1155025"/>
                <a:gd name="connsiteY3" fmla="*/ 3051545 h 3051545"/>
                <a:gd name="connsiteX0" fmla="*/ 0 w 963639"/>
                <a:gd name="connsiteY0" fmla="*/ 3051545 h 3051545"/>
                <a:gd name="connsiteX1" fmla="*/ 733647 w 963639"/>
                <a:gd name="connsiteY1" fmla="*/ 0 h 3051545"/>
                <a:gd name="connsiteX2" fmla="*/ 963639 w 963639"/>
                <a:gd name="connsiteY2" fmla="*/ 3051545 h 3051545"/>
                <a:gd name="connsiteX3" fmla="*/ 0 w 963639"/>
                <a:gd name="connsiteY3" fmla="*/ 3051545 h 3051545"/>
                <a:gd name="connsiteX0" fmla="*/ 0 w 963639"/>
                <a:gd name="connsiteY0" fmla="*/ 3051545 h 3051545"/>
                <a:gd name="connsiteX1" fmla="*/ 754912 w 963639"/>
                <a:gd name="connsiteY1" fmla="*/ 0 h 3051545"/>
                <a:gd name="connsiteX2" fmla="*/ 963639 w 963639"/>
                <a:gd name="connsiteY2" fmla="*/ 3051545 h 3051545"/>
                <a:gd name="connsiteX3" fmla="*/ 0 w 963639"/>
                <a:gd name="connsiteY3" fmla="*/ 3051545 h 3051545"/>
                <a:gd name="connsiteX0" fmla="*/ 0 w 1014731"/>
                <a:gd name="connsiteY0" fmla="*/ 3477101 h 3477101"/>
                <a:gd name="connsiteX1" fmla="*/ 806004 w 1014731"/>
                <a:gd name="connsiteY1" fmla="*/ 0 h 3477101"/>
                <a:gd name="connsiteX2" fmla="*/ 1014731 w 1014731"/>
                <a:gd name="connsiteY2" fmla="*/ 3051545 h 3477101"/>
                <a:gd name="connsiteX3" fmla="*/ 0 w 1014731"/>
                <a:gd name="connsiteY3" fmla="*/ 3477101 h 3477101"/>
                <a:gd name="connsiteX0" fmla="*/ 0 w 1014731"/>
                <a:gd name="connsiteY0" fmla="*/ 5974885 h 5974885"/>
                <a:gd name="connsiteX1" fmla="*/ 789755 w 1014731"/>
                <a:gd name="connsiteY1" fmla="*/ 0 h 5974885"/>
                <a:gd name="connsiteX2" fmla="*/ 1014731 w 1014731"/>
                <a:gd name="connsiteY2" fmla="*/ 5549329 h 5974885"/>
                <a:gd name="connsiteX3" fmla="*/ 0 w 1014731"/>
                <a:gd name="connsiteY3" fmla="*/ 5974885 h 5974885"/>
                <a:gd name="connsiteX0" fmla="*/ 0 w 1014731"/>
                <a:gd name="connsiteY0" fmla="*/ 7343100 h 7343100"/>
                <a:gd name="connsiteX1" fmla="*/ 978069 w 1014731"/>
                <a:gd name="connsiteY1" fmla="*/ 0 h 7343100"/>
                <a:gd name="connsiteX2" fmla="*/ 1014731 w 1014731"/>
                <a:gd name="connsiteY2" fmla="*/ 6917544 h 7343100"/>
                <a:gd name="connsiteX3" fmla="*/ 0 w 1014731"/>
                <a:gd name="connsiteY3" fmla="*/ 7343100 h 7343100"/>
                <a:gd name="connsiteX0" fmla="*/ 0 w 1014731"/>
                <a:gd name="connsiteY0" fmla="*/ 7503364 h 7503364"/>
                <a:gd name="connsiteX1" fmla="*/ 945205 w 1014731"/>
                <a:gd name="connsiteY1" fmla="*/ 0 h 7503364"/>
                <a:gd name="connsiteX2" fmla="*/ 1014731 w 1014731"/>
                <a:gd name="connsiteY2" fmla="*/ 7077808 h 7503364"/>
                <a:gd name="connsiteX3" fmla="*/ 0 w 1014731"/>
                <a:gd name="connsiteY3" fmla="*/ 7503364 h 7503364"/>
                <a:gd name="connsiteX0" fmla="*/ 0 w 1014731"/>
                <a:gd name="connsiteY0" fmla="*/ 7503364 h 7503364"/>
                <a:gd name="connsiteX1" fmla="*/ 762176 w 1014731"/>
                <a:gd name="connsiteY1" fmla="*/ 1360664 h 7503364"/>
                <a:gd name="connsiteX2" fmla="*/ 945205 w 1014731"/>
                <a:gd name="connsiteY2" fmla="*/ 0 h 7503364"/>
                <a:gd name="connsiteX3" fmla="*/ 1014731 w 1014731"/>
                <a:gd name="connsiteY3" fmla="*/ 7077808 h 7503364"/>
                <a:gd name="connsiteX4" fmla="*/ 0 w 1014731"/>
                <a:gd name="connsiteY4" fmla="*/ 7503364 h 7503364"/>
                <a:gd name="connsiteX0" fmla="*/ 0 w 1014731"/>
                <a:gd name="connsiteY0" fmla="*/ 7503364 h 7503364"/>
                <a:gd name="connsiteX1" fmla="*/ 793220 w 1014731"/>
                <a:gd name="connsiteY1" fmla="*/ 1227564 h 7503364"/>
                <a:gd name="connsiteX2" fmla="*/ 945205 w 1014731"/>
                <a:gd name="connsiteY2" fmla="*/ 0 h 7503364"/>
                <a:gd name="connsiteX3" fmla="*/ 1014731 w 1014731"/>
                <a:gd name="connsiteY3" fmla="*/ 7077808 h 7503364"/>
                <a:gd name="connsiteX4" fmla="*/ 0 w 1014731"/>
                <a:gd name="connsiteY4" fmla="*/ 7503364 h 7503364"/>
                <a:gd name="connsiteX0" fmla="*/ 0 w 1014731"/>
                <a:gd name="connsiteY0" fmla="*/ 6275800 h 6275800"/>
                <a:gd name="connsiteX1" fmla="*/ 793220 w 1014731"/>
                <a:gd name="connsiteY1" fmla="*/ 0 h 6275800"/>
                <a:gd name="connsiteX2" fmla="*/ 963930 w 1014731"/>
                <a:gd name="connsiteY2" fmla="*/ 237103 h 6275800"/>
                <a:gd name="connsiteX3" fmla="*/ 1014731 w 1014731"/>
                <a:gd name="connsiteY3" fmla="*/ 5850244 h 6275800"/>
                <a:gd name="connsiteX4" fmla="*/ 0 w 1014731"/>
                <a:gd name="connsiteY4" fmla="*/ 6275800 h 6275800"/>
                <a:gd name="connsiteX0" fmla="*/ 0 w 1014731"/>
                <a:gd name="connsiteY0" fmla="*/ 6321680 h 6321680"/>
                <a:gd name="connsiteX1" fmla="*/ 850196 w 1014731"/>
                <a:gd name="connsiteY1" fmla="*/ 0 h 6321680"/>
                <a:gd name="connsiteX2" fmla="*/ 963930 w 1014731"/>
                <a:gd name="connsiteY2" fmla="*/ 282983 h 6321680"/>
                <a:gd name="connsiteX3" fmla="*/ 1014731 w 1014731"/>
                <a:gd name="connsiteY3" fmla="*/ 5896124 h 6321680"/>
                <a:gd name="connsiteX4" fmla="*/ 0 w 1014731"/>
                <a:gd name="connsiteY4" fmla="*/ 6321680 h 6321680"/>
                <a:gd name="connsiteX0" fmla="*/ 0 w 1014731"/>
                <a:gd name="connsiteY0" fmla="*/ 6337721 h 6337721"/>
                <a:gd name="connsiteX1" fmla="*/ 810697 w 1014731"/>
                <a:gd name="connsiteY1" fmla="*/ 0 h 6337721"/>
                <a:gd name="connsiteX2" fmla="*/ 963930 w 1014731"/>
                <a:gd name="connsiteY2" fmla="*/ 299024 h 6337721"/>
                <a:gd name="connsiteX3" fmla="*/ 1014731 w 1014731"/>
                <a:gd name="connsiteY3" fmla="*/ 5912165 h 6337721"/>
                <a:gd name="connsiteX4" fmla="*/ 0 w 1014731"/>
                <a:gd name="connsiteY4" fmla="*/ 6337721 h 6337721"/>
                <a:gd name="connsiteX0" fmla="*/ 0 w 1014731"/>
                <a:gd name="connsiteY0" fmla="*/ 6337721 h 6337721"/>
                <a:gd name="connsiteX1" fmla="*/ 810697 w 1014731"/>
                <a:gd name="connsiteY1" fmla="*/ 0 h 6337721"/>
                <a:gd name="connsiteX2" fmla="*/ 961456 w 1014731"/>
                <a:gd name="connsiteY2" fmla="*/ 267345 h 6337721"/>
                <a:gd name="connsiteX3" fmla="*/ 1014731 w 1014731"/>
                <a:gd name="connsiteY3" fmla="*/ 5912165 h 6337721"/>
                <a:gd name="connsiteX4" fmla="*/ 0 w 1014731"/>
                <a:gd name="connsiteY4" fmla="*/ 6337721 h 6337721"/>
                <a:gd name="connsiteX0" fmla="*/ 0 w 1014731"/>
                <a:gd name="connsiteY0" fmla="*/ 6343586 h 6343586"/>
                <a:gd name="connsiteX1" fmla="*/ 824582 w 1014731"/>
                <a:gd name="connsiteY1" fmla="*/ 0 h 6343586"/>
                <a:gd name="connsiteX2" fmla="*/ 961456 w 1014731"/>
                <a:gd name="connsiteY2" fmla="*/ 273210 h 6343586"/>
                <a:gd name="connsiteX3" fmla="*/ 1014731 w 1014731"/>
                <a:gd name="connsiteY3" fmla="*/ 5918030 h 6343586"/>
                <a:gd name="connsiteX4" fmla="*/ 0 w 1014731"/>
                <a:gd name="connsiteY4" fmla="*/ 6343586 h 6343586"/>
                <a:gd name="connsiteX0" fmla="*/ 0 w 1014731"/>
                <a:gd name="connsiteY0" fmla="*/ 6343586 h 6343586"/>
                <a:gd name="connsiteX1" fmla="*/ 824582 w 1014731"/>
                <a:gd name="connsiteY1" fmla="*/ 0 h 6343586"/>
                <a:gd name="connsiteX2" fmla="*/ 945417 w 1014731"/>
                <a:gd name="connsiteY2" fmla="*/ 312710 h 6343586"/>
                <a:gd name="connsiteX3" fmla="*/ 1014731 w 1014731"/>
                <a:gd name="connsiteY3" fmla="*/ 5918030 h 6343586"/>
                <a:gd name="connsiteX4" fmla="*/ 0 w 1014731"/>
                <a:gd name="connsiteY4" fmla="*/ 6343586 h 6343586"/>
                <a:gd name="connsiteX0" fmla="*/ 0 w 1014731"/>
                <a:gd name="connsiteY0" fmla="*/ 6343586 h 6343586"/>
                <a:gd name="connsiteX1" fmla="*/ 824582 w 1014731"/>
                <a:gd name="connsiteY1" fmla="*/ 0 h 6343586"/>
                <a:gd name="connsiteX2" fmla="*/ 937597 w 1014731"/>
                <a:gd name="connsiteY2" fmla="*/ 294197 h 6343586"/>
                <a:gd name="connsiteX3" fmla="*/ 1014731 w 1014731"/>
                <a:gd name="connsiteY3" fmla="*/ 5918030 h 6343586"/>
                <a:gd name="connsiteX4" fmla="*/ 0 w 1014731"/>
                <a:gd name="connsiteY4" fmla="*/ 6343586 h 6343586"/>
                <a:gd name="connsiteX0" fmla="*/ 0 w 1014731"/>
                <a:gd name="connsiteY0" fmla="*/ 6343586 h 6343586"/>
                <a:gd name="connsiteX1" fmla="*/ 824582 w 1014731"/>
                <a:gd name="connsiteY1" fmla="*/ 0 h 6343586"/>
                <a:gd name="connsiteX2" fmla="*/ 942225 w 1014731"/>
                <a:gd name="connsiteY2" fmla="*/ 292242 h 6343586"/>
                <a:gd name="connsiteX3" fmla="*/ 1014731 w 1014731"/>
                <a:gd name="connsiteY3" fmla="*/ 5918030 h 6343586"/>
                <a:gd name="connsiteX4" fmla="*/ 0 w 1014731"/>
                <a:gd name="connsiteY4" fmla="*/ 6343586 h 6343586"/>
                <a:gd name="connsiteX0" fmla="*/ 0 w 1014731"/>
                <a:gd name="connsiteY0" fmla="*/ 6395388 h 6395388"/>
                <a:gd name="connsiteX1" fmla="*/ 796930 w 1014731"/>
                <a:gd name="connsiteY1" fmla="*/ 0 h 6395388"/>
                <a:gd name="connsiteX2" fmla="*/ 942225 w 1014731"/>
                <a:gd name="connsiteY2" fmla="*/ 344044 h 6395388"/>
                <a:gd name="connsiteX3" fmla="*/ 1014731 w 1014731"/>
                <a:gd name="connsiteY3" fmla="*/ 5969832 h 6395388"/>
                <a:gd name="connsiteX4" fmla="*/ 0 w 1014731"/>
                <a:gd name="connsiteY4" fmla="*/ 6395388 h 63953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14731" h="6395388">
                  <a:moveTo>
                    <a:pt x="0" y="6395388"/>
                  </a:moveTo>
                  <a:lnTo>
                    <a:pt x="796930" y="0"/>
                  </a:lnTo>
                  <a:lnTo>
                    <a:pt x="942225" y="344044"/>
                  </a:lnTo>
                  <a:lnTo>
                    <a:pt x="1014731" y="5969832"/>
                  </a:lnTo>
                  <a:lnTo>
                    <a:pt x="0" y="6395388"/>
                  </a:lnTo>
                  <a:close/>
                </a:path>
              </a:pathLst>
            </a:custGeom>
            <a:gradFill>
              <a:gsLst>
                <a:gs pos="34000">
                  <a:schemeClr val="bg2"/>
                </a:gs>
                <a:gs pos="100000">
                  <a:srgbClr val="5BA23C"/>
                </a:gs>
              </a:gsLst>
              <a:lin ang="21594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grpSp>
    </p:spTree>
    <p:extLst>
      <p:ext uri="{BB962C8B-B14F-4D97-AF65-F5344CB8AC3E}">
        <p14:creationId xmlns:p14="http://schemas.microsoft.com/office/powerpoint/2010/main" val="13488526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p:cSld name="Cover w Image">
    <p:bg>
      <p:bgRef idx="1001">
        <a:schemeClr val="bg1"/>
      </p:bgRef>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37373" y="5059333"/>
            <a:ext cx="4754880" cy="342017"/>
          </a:xfrm>
        </p:spPr>
        <p:txBody>
          <a:bodyPr vert="horz" wrap="square" lIns="0" tIns="9525" rIns="0" bIns="0" rtlCol="0">
            <a:spAutoFit/>
          </a:bodyPr>
          <a:lstStyle>
            <a:lvl1pPr marL="0" indent="0">
              <a:buNone/>
              <a:defRPr lang="en-US" sz="2400" b="1" kern="1200" spc="-4" dirty="0">
                <a:solidFill>
                  <a:schemeClr val="tx1"/>
                </a:solidFill>
                <a:latin typeface="+mj-lt"/>
                <a:ea typeface="+mn-ea"/>
                <a:cs typeface="PTCRaleway ExtraBold"/>
              </a:defRPr>
            </a:lvl1pPr>
          </a:lstStyle>
          <a:p>
            <a:pPr marL="9525" lvl="0">
              <a:spcBef>
                <a:spcPts val="75"/>
              </a:spcBef>
            </a:pPr>
            <a:r>
              <a:rPr lang="en-US"/>
              <a:t>Presenter’s Name</a:t>
            </a:r>
          </a:p>
        </p:txBody>
      </p:sp>
      <p:sp>
        <p:nvSpPr>
          <p:cNvPr id="8" name="Text Placeholder 7"/>
          <p:cNvSpPr>
            <a:spLocks noGrp="1"/>
          </p:cNvSpPr>
          <p:nvPr>
            <p:ph type="body" sz="quarter" idx="10" hasCustomPrompt="1"/>
          </p:nvPr>
        </p:nvSpPr>
        <p:spPr bwMode="gray">
          <a:xfrm>
            <a:off x="457383" y="5396933"/>
            <a:ext cx="4572000" cy="221599"/>
          </a:xfrm>
        </p:spPr>
        <p:txBody>
          <a:bodyPr>
            <a:noAutofit/>
          </a:bodyPr>
          <a:lstStyle>
            <a:lvl1pPr marL="0" indent="0" algn="l">
              <a:spcBef>
                <a:spcPts val="0"/>
              </a:spcBef>
              <a:buNone/>
              <a:defRPr lang="en-US" sz="1700" i="1" kern="1200" spc="8" dirty="0">
                <a:solidFill>
                  <a:schemeClr val="tx1"/>
                </a:solidFill>
                <a:latin typeface="+mj-lt"/>
                <a:ea typeface="+mn-ea"/>
                <a:cs typeface="PTCRaleway"/>
              </a:defRPr>
            </a:lvl1pPr>
            <a:lvl2pPr marL="455613" indent="0">
              <a:buNone/>
              <a:defRPr>
                <a:solidFill>
                  <a:schemeClr val="bg1"/>
                </a:solidFill>
              </a:defRPr>
            </a:lvl2pPr>
            <a:lvl3pPr marL="914400" indent="0">
              <a:buNone/>
              <a:defRPr>
                <a:solidFill>
                  <a:schemeClr val="bg1"/>
                </a:solidFill>
              </a:defRPr>
            </a:lvl3pPr>
            <a:lvl4pPr marL="1371600" indent="0">
              <a:buNone/>
              <a:defRPr>
                <a:solidFill>
                  <a:schemeClr val="bg1"/>
                </a:solidFill>
              </a:defRPr>
            </a:lvl4pPr>
            <a:lvl5pPr marL="1828800" indent="0">
              <a:buNone/>
              <a:defRPr>
                <a:solidFill>
                  <a:schemeClr val="bg1"/>
                </a:solidFill>
              </a:defRPr>
            </a:lvl5pPr>
          </a:lstStyle>
          <a:p>
            <a:pPr lvl="0"/>
            <a:r>
              <a:rPr lang="en-US"/>
              <a:t>Presenter’s Title</a:t>
            </a:r>
          </a:p>
        </p:txBody>
      </p:sp>
      <p:sp>
        <p:nvSpPr>
          <p:cNvPr id="10" name="Text Placeholder 9"/>
          <p:cNvSpPr>
            <a:spLocks noGrp="1"/>
          </p:cNvSpPr>
          <p:nvPr>
            <p:ph type="body" sz="quarter" idx="12" hasCustomPrompt="1"/>
          </p:nvPr>
        </p:nvSpPr>
        <p:spPr bwMode="gray">
          <a:xfrm>
            <a:off x="483723" y="6399289"/>
            <a:ext cx="3749040" cy="196592"/>
          </a:xfrm>
        </p:spPr>
        <p:txBody>
          <a:bodyPr vert="horz" wrap="square" lIns="0" tIns="9525" rIns="0" bIns="0" rtlCol="0" anchor="ctr" anchorCtr="0">
            <a:spAutoFit/>
          </a:bodyPr>
          <a:lstStyle>
            <a:lvl1pPr marL="0" indent="0">
              <a:buFontTx/>
              <a:buNone/>
              <a:defRPr lang="en-US" sz="1350" spc="8" dirty="0">
                <a:solidFill>
                  <a:schemeClr val="tx2">
                    <a:lumMod val="50000"/>
                  </a:schemeClr>
                </a:solidFill>
                <a:latin typeface="+mj-lt"/>
                <a:cs typeface="PTCRaleway"/>
              </a:defRPr>
            </a:lvl1pPr>
          </a:lstStyle>
          <a:p>
            <a:pPr marL="9525" lvl="0">
              <a:spcBef>
                <a:spcPts val="75"/>
              </a:spcBef>
            </a:pPr>
            <a:r>
              <a:rPr lang="en-US" dirty="0"/>
              <a:t>Add Date</a:t>
            </a:r>
          </a:p>
        </p:txBody>
      </p:sp>
      <p:sp>
        <p:nvSpPr>
          <p:cNvPr id="2" name="Title 1"/>
          <p:cNvSpPr>
            <a:spLocks noGrp="1"/>
          </p:cNvSpPr>
          <p:nvPr>
            <p:ph type="ctrTitle" hasCustomPrompt="1"/>
          </p:nvPr>
        </p:nvSpPr>
        <p:spPr bwMode="ltGray">
          <a:xfrm>
            <a:off x="427702" y="2708808"/>
            <a:ext cx="4409826" cy="1065933"/>
          </a:xfrm>
        </p:spPr>
        <p:txBody>
          <a:bodyPr vert="horz" wrap="square" lIns="0" tIns="9525" rIns="0" bIns="0" rtlCol="0" anchor="ctr" anchorCtr="0">
            <a:spAutoFit/>
          </a:bodyPr>
          <a:lstStyle>
            <a:lvl1pPr>
              <a:defRPr lang="en-US" sz="4200" b="1" dirty="0">
                <a:solidFill>
                  <a:schemeClr val="tx1"/>
                </a:solidFill>
              </a:defRPr>
            </a:lvl1pPr>
          </a:lstStyle>
          <a:p>
            <a:pPr marL="9525">
              <a:lnSpc>
                <a:spcPct val="78000"/>
              </a:lnSpc>
              <a:spcBef>
                <a:spcPts val="75"/>
              </a:spcBef>
              <a:tabLst>
                <a:tab pos="2245519" algn="l"/>
              </a:tabLst>
            </a:pPr>
            <a:r>
              <a:rPr lang="en-US" sz="4400" b="1" dirty="0"/>
              <a:t>PRESENTATION TITLE</a:t>
            </a:r>
          </a:p>
        </p:txBody>
      </p:sp>
      <p:pic>
        <p:nvPicPr>
          <p:cNvPr id="12" name="Graphic 11">
            <a:extLst>
              <a:ext uri="{FF2B5EF4-FFF2-40B4-BE49-F238E27FC236}">
                <a16:creationId xmlns:a16="http://schemas.microsoft.com/office/drawing/2014/main" id="{686A903A-4982-424F-B3B0-9B8CF40D994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040" y="6017774"/>
            <a:ext cx="2892560" cy="215304"/>
          </a:xfrm>
          <a:prstGeom prst="rect">
            <a:avLst/>
          </a:prstGeom>
        </p:spPr>
      </p:pic>
      <p:grpSp>
        <p:nvGrpSpPr>
          <p:cNvPr id="4" name="Group 3">
            <a:extLst>
              <a:ext uri="{FF2B5EF4-FFF2-40B4-BE49-F238E27FC236}">
                <a16:creationId xmlns:a16="http://schemas.microsoft.com/office/drawing/2014/main" id="{A9112476-DA2C-46A6-9213-5CA80A53F74F}"/>
              </a:ext>
            </a:extLst>
          </p:cNvPr>
          <p:cNvGrpSpPr/>
          <p:nvPr userDrawn="1"/>
        </p:nvGrpSpPr>
        <p:grpSpPr>
          <a:xfrm>
            <a:off x="4974342" y="0"/>
            <a:ext cx="7217659" cy="6867927"/>
            <a:chOff x="4974342" y="0"/>
            <a:chExt cx="7217659" cy="6867927"/>
          </a:xfrm>
          <a:blipFill dpi="0" rotWithShape="1">
            <a:blip r:embed="rId4"/>
            <a:srcRect/>
            <a:stretch>
              <a:fillRect l="-1000" t="-2000"/>
            </a:stretch>
          </a:blipFill>
        </p:grpSpPr>
        <p:sp>
          <p:nvSpPr>
            <p:cNvPr id="15" name="Freeform: Shape 17">
              <a:extLst>
                <a:ext uri="{FF2B5EF4-FFF2-40B4-BE49-F238E27FC236}">
                  <a16:creationId xmlns:a16="http://schemas.microsoft.com/office/drawing/2014/main" id="{03572900-C8B4-4FAF-9AE0-E3560497EC94}"/>
                </a:ext>
              </a:extLst>
            </p:cNvPr>
            <p:cNvSpPr/>
            <p:nvPr/>
          </p:nvSpPr>
          <p:spPr>
            <a:xfrm>
              <a:off x="4974342" y="0"/>
              <a:ext cx="4554128" cy="6139965"/>
            </a:xfrm>
            <a:custGeom>
              <a:avLst/>
              <a:gdLst>
                <a:gd name="connsiteX0" fmla="*/ 1298953 w 4554128"/>
                <a:gd name="connsiteY0" fmla="*/ 0 h 6139965"/>
                <a:gd name="connsiteX1" fmla="*/ 4554128 w 4554128"/>
                <a:gd name="connsiteY1" fmla="*/ 0 h 6139965"/>
                <a:gd name="connsiteX2" fmla="*/ 2231403 w 4554128"/>
                <a:gd name="connsiteY2" fmla="*/ 6139965 h 6139965"/>
                <a:gd name="connsiteX3" fmla="*/ 0 w 4554128"/>
                <a:gd name="connsiteY3" fmla="*/ 3393340 h 6139965"/>
                <a:gd name="connsiteX4" fmla="*/ 1298953 w 4554128"/>
                <a:gd name="connsiteY4" fmla="*/ 0 h 61399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54128" h="6139965">
                  <a:moveTo>
                    <a:pt x="1298953" y="0"/>
                  </a:moveTo>
                  <a:lnTo>
                    <a:pt x="4554128" y="0"/>
                  </a:lnTo>
                  <a:lnTo>
                    <a:pt x="2231403" y="6139965"/>
                  </a:lnTo>
                  <a:lnTo>
                    <a:pt x="0" y="3393340"/>
                  </a:lnTo>
                  <a:lnTo>
                    <a:pt x="1298953"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Bef>
                  <a:spcPts val="800"/>
                </a:spcBef>
              </a:pPr>
              <a:endParaRPr lang="en-US">
                <a:solidFill>
                  <a:schemeClr val="bg1"/>
                </a:solidFill>
              </a:endParaRPr>
            </a:p>
          </p:txBody>
        </p:sp>
        <p:sp>
          <p:nvSpPr>
            <p:cNvPr id="16" name="Freeform: Shape 23">
              <a:extLst>
                <a:ext uri="{FF2B5EF4-FFF2-40B4-BE49-F238E27FC236}">
                  <a16:creationId xmlns:a16="http://schemas.microsoft.com/office/drawing/2014/main" id="{EAC1E2BB-6C9C-4678-9B6B-89CCFC6E6ECD}"/>
                </a:ext>
              </a:extLst>
            </p:cNvPr>
            <p:cNvSpPr/>
            <p:nvPr/>
          </p:nvSpPr>
          <p:spPr>
            <a:xfrm>
              <a:off x="9482470" y="0"/>
              <a:ext cx="2709530" cy="2273732"/>
            </a:xfrm>
            <a:custGeom>
              <a:avLst/>
              <a:gdLst>
                <a:gd name="connsiteX0" fmla="*/ 866270 w 2709530"/>
                <a:gd name="connsiteY0" fmla="*/ 0 h 2273732"/>
                <a:gd name="connsiteX1" fmla="*/ 2709530 w 2709530"/>
                <a:gd name="connsiteY1" fmla="*/ 0 h 2273732"/>
                <a:gd name="connsiteX2" fmla="*/ 2709530 w 2709530"/>
                <a:gd name="connsiteY2" fmla="*/ 1843430 h 2273732"/>
                <a:gd name="connsiteX3" fmla="*/ 0 w 2709530"/>
                <a:gd name="connsiteY3" fmla="*/ 2273732 h 2273732"/>
                <a:gd name="connsiteX4" fmla="*/ 866270 w 2709530"/>
                <a:gd name="connsiteY4" fmla="*/ 0 h 22737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09530" h="2273732">
                  <a:moveTo>
                    <a:pt x="866270" y="0"/>
                  </a:moveTo>
                  <a:lnTo>
                    <a:pt x="2709530" y="0"/>
                  </a:lnTo>
                  <a:lnTo>
                    <a:pt x="2709530" y="1843430"/>
                  </a:lnTo>
                  <a:lnTo>
                    <a:pt x="0" y="2273732"/>
                  </a:lnTo>
                  <a:lnTo>
                    <a:pt x="86627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Bef>
                  <a:spcPts val="800"/>
                </a:spcBef>
              </a:pPr>
              <a:endParaRPr lang="en-US">
                <a:solidFill>
                  <a:schemeClr val="bg1"/>
                </a:solidFill>
              </a:endParaRPr>
            </a:p>
          </p:txBody>
        </p:sp>
        <p:sp>
          <p:nvSpPr>
            <p:cNvPr id="17" name="Freeform: Shape 31">
              <a:extLst>
                <a:ext uri="{FF2B5EF4-FFF2-40B4-BE49-F238E27FC236}">
                  <a16:creationId xmlns:a16="http://schemas.microsoft.com/office/drawing/2014/main" id="{B7471F1D-1107-442C-8B1E-D54C148C5EB9}"/>
                </a:ext>
              </a:extLst>
            </p:cNvPr>
            <p:cNvSpPr/>
            <p:nvPr/>
          </p:nvSpPr>
          <p:spPr>
            <a:xfrm>
              <a:off x="7809494" y="2296870"/>
              <a:ext cx="4382507" cy="4571057"/>
            </a:xfrm>
            <a:custGeom>
              <a:avLst/>
              <a:gdLst>
                <a:gd name="connsiteX0" fmla="*/ 4382507 w 4382507"/>
                <a:gd name="connsiteY0" fmla="*/ 0 h 4571057"/>
                <a:gd name="connsiteX1" fmla="*/ 4382507 w 4382507"/>
                <a:gd name="connsiteY1" fmla="*/ 2755449 h 4571057"/>
                <a:gd name="connsiteX2" fmla="*/ 3801694 w 4382507"/>
                <a:gd name="connsiteY2" fmla="*/ 2849114 h 4571057"/>
                <a:gd name="connsiteX3" fmla="*/ 3484270 w 4382507"/>
                <a:gd name="connsiteY3" fmla="*/ 3687382 h 4571057"/>
                <a:gd name="connsiteX4" fmla="*/ 4382507 w 4382507"/>
                <a:gd name="connsiteY4" fmla="*/ 3541255 h 4571057"/>
                <a:gd name="connsiteX5" fmla="*/ 4382507 w 4382507"/>
                <a:gd name="connsiteY5" fmla="*/ 4571057 h 4571057"/>
                <a:gd name="connsiteX6" fmla="*/ 304272 w 4382507"/>
                <a:gd name="connsiteY6" fmla="*/ 4571057 h 4571057"/>
                <a:gd name="connsiteX7" fmla="*/ 0 w 4382507"/>
                <a:gd name="connsiteY7" fmla="*/ 4196530 h 4571057"/>
                <a:gd name="connsiteX8" fmla="*/ 1397515 w 4382507"/>
                <a:gd name="connsiteY8" fmla="*/ 474048 h 4571057"/>
                <a:gd name="connsiteX9" fmla="*/ 4382507 w 4382507"/>
                <a:gd name="connsiteY9" fmla="*/ 0 h 4571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82507" h="4571057">
                  <a:moveTo>
                    <a:pt x="4382507" y="0"/>
                  </a:moveTo>
                  <a:lnTo>
                    <a:pt x="4382507" y="2755449"/>
                  </a:lnTo>
                  <a:lnTo>
                    <a:pt x="3801694" y="2849114"/>
                  </a:lnTo>
                  <a:lnTo>
                    <a:pt x="3484270" y="3687382"/>
                  </a:lnTo>
                  <a:lnTo>
                    <a:pt x="4382507" y="3541255"/>
                  </a:lnTo>
                  <a:lnTo>
                    <a:pt x="4382507" y="4571057"/>
                  </a:lnTo>
                  <a:lnTo>
                    <a:pt x="304272" y="4571057"/>
                  </a:lnTo>
                  <a:lnTo>
                    <a:pt x="0" y="4196530"/>
                  </a:lnTo>
                  <a:lnTo>
                    <a:pt x="1397515" y="474048"/>
                  </a:lnTo>
                  <a:lnTo>
                    <a:pt x="4382507"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Bef>
                  <a:spcPts val="800"/>
                </a:spcBef>
              </a:pPr>
              <a:endParaRPr lang="en-US">
                <a:solidFill>
                  <a:schemeClr val="bg1"/>
                </a:solidFill>
              </a:endParaRPr>
            </a:p>
          </p:txBody>
        </p:sp>
      </p:grpSp>
      <p:pic>
        <p:nvPicPr>
          <p:cNvPr id="14" name="Graphic 13">
            <a:extLst>
              <a:ext uri="{FF2B5EF4-FFF2-40B4-BE49-F238E27FC236}">
                <a16:creationId xmlns:a16="http://schemas.microsoft.com/office/drawing/2014/main" id="{9DFEF7AB-D202-411C-88E8-EE2C07650B05}"/>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29184" y="116399"/>
            <a:ext cx="3968766" cy="1609344"/>
          </a:xfrm>
          <a:prstGeom prst="rect">
            <a:avLst/>
          </a:prstGeom>
        </p:spPr>
      </p:pic>
    </p:spTree>
    <p:extLst>
      <p:ext uri="{BB962C8B-B14F-4D97-AF65-F5344CB8AC3E}">
        <p14:creationId xmlns:p14="http://schemas.microsoft.com/office/powerpoint/2010/main" val="30656767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dt="0"/>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p:cSld name="1_Cover w Image">
    <p:bg>
      <p:bgRef idx="1001">
        <a:schemeClr val="bg1"/>
      </p:bgRef>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gray">
          <a:xfrm>
            <a:off x="437373" y="5059333"/>
            <a:ext cx="4754880" cy="342017"/>
          </a:xfrm>
        </p:spPr>
        <p:txBody>
          <a:bodyPr vert="horz" wrap="square" lIns="0" tIns="9525" rIns="0" bIns="0" rtlCol="0">
            <a:spAutoFit/>
          </a:bodyPr>
          <a:lstStyle>
            <a:lvl1pPr marL="0" indent="0">
              <a:buNone/>
              <a:defRPr lang="en-US" sz="2400" b="1" kern="1200" spc="-4" dirty="0">
                <a:solidFill>
                  <a:schemeClr val="tx1"/>
                </a:solidFill>
                <a:latin typeface="+mj-lt"/>
                <a:ea typeface="+mn-ea"/>
                <a:cs typeface="PTCRaleway ExtraBold"/>
              </a:defRPr>
            </a:lvl1pPr>
          </a:lstStyle>
          <a:p>
            <a:pPr marL="9525" lvl="0">
              <a:spcBef>
                <a:spcPts val="75"/>
              </a:spcBef>
            </a:pPr>
            <a:r>
              <a:rPr lang="en-US"/>
              <a:t>Presenter’s Name</a:t>
            </a:r>
          </a:p>
        </p:txBody>
      </p:sp>
      <p:sp>
        <p:nvSpPr>
          <p:cNvPr id="8" name="Text Placeholder 7"/>
          <p:cNvSpPr>
            <a:spLocks noGrp="1"/>
          </p:cNvSpPr>
          <p:nvPr>
            <p:ph type="body" sz="quarter" idx="10" hasCustomPrompt="1"/>
          </p:nvPr>
        </p:nvSpPr>
        <p:spPr bwMode="gray">
          <a:xfrm>
            <a:off x="457383" y="5396933"/>
            <a:ext cx="4572000" cy="221599"/>
          </a:xfrm>
        </p:spPr>
        <p:txBody>
          <a:bodyPr>
            <a:noAutofit/>
          </a:bodyPr>
          <a:lstStyle>
            <a:lvl1pPr marL="0" indent="0" algn="l">
              <a:spcBef>
                <a:spcPts val="0"/>
              </a:spcBef>
              <a:buNone/>
              <a:defRPr lang="en-US" sz="1700" i="1" kern="1200" spc="8" dirty="0">
                <a:solidFill>
                  <a:schemeClr val="tx1"/>
                </a:solidFill>
                <a:latin typeface="+mj-lt"/>
                <a:ea typeface="+mn-ea"/>
                <a:cs typeface="PTCRaleway"/>
              </a:defRPr>
            </a:lvl1pPr>
            <a:lvl2pPr marL="455613" indent="0">
              <a:buNone/>
              <a:defRPr>
                <a:solidFill>
                  <a:schemeClr val="bg1"/>
                </a:solidFill>
              </a:defRPr>
            </a:lvl2pPr>
            <a:lvl3pPr marL="914400" indent="0">
              <a:buNone/>
              <a:defRPr>
                <a:solidFill>
                  <a:schemeClr val="bg1"/>
                </a:solidFill>
              </a:defRPr>
            </a:lvl3pPr>
            <a:lvl4pPr marL="1371600" indent="0">
              <a:buNone/>
              <a:defRPr>
                <a:solidFill>
                  <a:schemeClr val="bg1"/>
                </a:solidFill>
              </a:defRPr>
            </a:lvl4pPr>
            <a:lvl5pPr marL="1828800" indent="0">
              <a:buNone/>
              <a:defRPr>
                <a:solidFill>
                  <a:schemeClr val="bg1"/>
                </a:solidFill>
              </a:defRPr>
            </a:lvl5pPr>
          </a:lstStyle>
          <a:p>
            <a:pPr lvl="0"/>
            <a:r>
              <a:rPr lang="en-US"/>
              <a:t>Presenter’s Title</a:t>
            </a:r>
          </a:p>
        </p:txBody>
      </p:sp>
      <p:sp>
        <p:nvSpPr>
          <p:cNvPr id="10" name="Text Placeholder 9"/>
          <p:cNvSpPr>
            <a:spLocks noGrp="1"/>
          </p:cNvSpPr>
          <p:nvPr>
            <p:ph type="body" sz="quarter" idx="12" hasCustomPrompt="1"/>
          </p:nvPr>
        </p:nvSpPr>
        <p:spPr bwMode="gray">
          <a:xfrm>
            <a:off x="483723" y="6399289"/>
            <a:ext cx="3749040" cy="196592"/>
          </a:xfrm>
        </p:spPr>
        <p:txBody>
          <a:bodyPr vert="horz" wrap="square" lIns="0" tIns="9525" rIns="0" bIns="0" rtlCol="0" anchor="ctr" anchorCtr="0">
            <a:spAutoFit/>
          </a:bodyPr>
          <a:lstStyle>
            <a:lvl1pPr marL="0" indent="0">
              <a:buFontTx/>
              <a:buNone/>
              <a:defRPr lang="en-US" sz="1350" spc="8" dirty="0">
                <a:solidFill>
                  <a:schemeClr val="tx2">
                    <a:lumMod val="50000"/>
                  </a:schemeClr>
                </a:solidFill>
                <a:latin typeface="+mj-lt"/>
                <a:cs typeface="PTCRaleway"/>
              </a:defRPr>
            </a:lvl1pPr>
          </a:lstStyle>
          <a:p>
            <a:pPr marL="9525" lvl="0">
              <a:spcBef>
                <a:spcPts val="75"/>
              </a:spcBef>
            </a:pPr>
            <a:r>
              <a:rPr lang="en-US" dirty="0"/>
              <a:t>Add Date</a:t>
            </a:r>
          </a:p>
        </p:txBody>
      </p:sp>
      <p:sp>
        <p:nvSpPr>
          <p:cNvPr id="2" name="Title 1"/>
          <p:cNvSpPr>
            <a:spLocks noGrp="1"/>
          </p:cNvSpPr>
          <p:nvPr>
            <p:ph type="ctrTitle" hasCustomPrompt="1"/>
          </p:nvPr>
        </p:nvSpPr>
        <p:spPr bwMode="ltGray">
          <a:xfrm>
            <a:off x="427702" y="2708808"/>
            <a:ext cx="4409826" cy="1065933"/>
          </a:xfrm>
        </p:spPr>
        <p:txBody>
          <a:bodyPr vert="horz" wrap="square" lIns="0" tIns="9525" rIns="0" bIns="0" rtlCol="0" anchor="ctr" anchorCtr="0">
            <a:spAutoFit/>
          </a:bodyPr>
          <a:lstStyle>
            <a:lvl1pPr>
              <a:defRPr lang="en-US" sz="4200" b="1" dirty="0">
                <a:solidFill>
                  <a:schemeClr val="tx1"/>
                </a:solidFill>
              </a:defRPr>
            </a:lvl1pPr>
          </a:lstStyle>
          <a:p>
            <a:pPr marL="9525">
              <a:lnSpc>
                <a:spcPct val="78000"/>
              </a:lnSpc>
              <a:spcBef>
                <a:spcPts val="75"/>
              </a:spcBef>
              <a:tabLst>
                <a:tab pos="2245519" algn="l"/>
              </a:tabLst>
            </a:pPr>
            <a:r>
              <a:rPr lang="en-US" sz="4400" b="1" dirty="0"/>
              <a:t>PRESENTATION TITLE</a:t>
            </a:r>
          </a:p>
        </p:txBody>
      </p:sp>
      <p:pic>
        <p:nvPicPr>
          <p:cNvPr id="12" name="Graphic 11">
            <a:extLst>
              <a:ext uri="{FF2B5EF4-FFF2-40B4-BE49-F238E27FC236}">
                <a16:creationId xmlns:a16="http://schemas.microsoft.com/office/drawing/2014/main" id="{686A903A-4982-424F-B3B0-9B8CF40D994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3040" y="6017774"/>
            <a:ext cx="2892560" cy="215304"/>
          </a:xfrm>
          <a:prstGeom prst="rect">
            <a:avLst/>
          </a:prstGeom>
        </p:spPr>
      </p:pic>
      <p:grpSp>
        <p:nvGrpSpPr>
          <p:cNvPr id="4" name="Group 3">
            <a:extLst>
              <a:ext uri="{FF2B5EF4-FFF2-40B4-BE49-F238E27FC236}">
                <a16:creationId xmlns:a16="http://schemas.microsoft.com/office/drawing/2014/main" id="{A9112476-DA2C-46A6-9213-5CA80A53F74F}"/>
              </a:ext>
            </a:extLst>
          </p:cNvPr>
          <p:cNvGrpSpPr/>
          <p:nvPr userDrawn="1"/>
        </p:nvGrpSpPr>
        <p:grpSpPr>
          <a:xfrm>
            <a:off x="4974342" y="0"/>
            <a:ext cx="7217659" cy="6867927"/>
            <a:chOff x="4974342" y="0"/>
            <a:chExt cx="7217659" cy="6867927"/>
          </a:xfrm>
          <a:blipFill dpi="0" rotWithShape="1">
            <a:blip r:embed="rId4"/>
            <a:srcRect/>
            <a:stretch>
              <a:fillRect l="-6000" t="-2000" r="-10000"/>
            </a:stretch>
          </a:blipFill>
        </p:grpSpPr>
        <p:sp>
          <p:nvSpPr>
            <p:cNvPr id="15" name="Freeform: Shape 17">
              <a:extLst>
                <a:ext uri="{FF2B5EF4-FFF2-40B4-BE49-F238E27FC236}">
                  <a16:creationId xmlns:a16="http://schemas.microsoft.com/office/drawing/2014/main" id="{03572900-C8B4-4FAF-9AE0-E3560497EC94}"/>
                </a:ext>
              </a:extLst>
            </p:cNvPr>
            <p:cNvSpPr/>
            <p:nvPr/>
          </p:nvSpPr>
          <p:spPr>
            <a:xfrm>
              <a:off x="4974342" y="0"/>
              <a:ext cx="4554128" cy="6139965"/>
            </a:xfrm>
            <a:custGeom>
              <a:avLst/>
              <a:gdLst>
                <a:gd name="connsiteX0" fmla="*/ 1298953 w 4554128"/>
                <a:gd name="connsiteY0" fmla="*/ 0 h 6139965"/>
                <a:gd name="connsiteX1" fmla="*/ 4554128 w 4554128"/>
                <a:gd name="connsiteY1" fmla="*/ 0 h 6139965"/>
                <a:gd name="connsiteX2" fmla="*/ 2231403 w 4554128"/>
                <a:gd name="connsiteY2" fmla="*/ 6139965 h 6139965"/>
                <a:gd name="connsiteX3" fmla="*/ 0 w 4554128"/>
                <a:gd name="connsiteY3" fmla="*/ 3393340 h 6139965"/>
                <a:gd name="connsiteX4" fmla="*/ 1298953 w 4554128"/>
                <a:gd name="connsiteY4" fmla="*/ 0 h 61399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54128" h="6139965">
                  <a:moveTo>
                    <a:pt x="1298953" y="0"/>
                  </a:moveTo>
                  <a:lnTo>
                    <a:pt x="4554128" y="0"/>
                  </a:lnTo>
                  <a:lnTo>
                    <a:pt x="2231403" y="6139965"/>
                  </a:lnTo>
                  <a:lnTo>
                    <a:pt x="0" y="3393340"/>
                  </a:lnTo>
                  <a:lnTo>
                    <a:pt x="1298953"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Bef>
                  <a:spcPts val="800"/>
                </a:spcBef>
              </a:pPr>
              <a:endParaRPr lang="en-US">
                <a:solidFill>
                  <a:schemeClr val="bg1"/>
                </a:solidFill>
              </a:endParaRPr>
            </a:p>
          </p:txBody>
        </p:sp>
        <p:sp>
          <p:nvSpPr>
            <p:cNvPr id="16" name="Freeform: Shape 23">
              <a:extLst>
                <a:ext uri="{FF2B5EF4-FFF2-40B4-BE49-F238E27FC236}">
                  <a16:creationId xmlns:a16="http://schemas.microsoft.com/office/drawing/2014/main" id="{EAC1E2BB-6C9C-4678-9B6B-89CCFC6E6ECD}"/>
                </a:ext>
              </a:extLst>
            </p:cNvPr>
            <p:cNvSpPr/>
            <p:nvPr/>
          </p:nvSpPr>
          <p:spPr>
            <a:xfrm>
              <a:off x="9482470" y="0"/>
              <a:ext cx="2709530" cy="2273732"/>
            </a:xfrm>
            <a:custGeom>
              <a:avLst/>
              <a:gdLst>
                <a:gd name="connsiteX0" fmla="*/ 866270 w 2709530"/>
                <a:gd name="connsiteY0" fmla="*/ 0 h 2273732"/>
                <a:gd name="connsiteX1" fmla="*/ 2709530 w 2709530"/>
                <a:gd name="connsiteY1" fmla="*/ 0 h 2273732"/>
                <a:gd name="connsiteX2" fmla="*/ 2709530 w 2709530"/>
                <a:gd name="connsiteY2" fmla="*/ 1843430 h 2273732"/>
                <a:gd name="connsiteX3" fmla="*/ 0 w 2709530"/>
                <a:gd name="connsiteY3" fmla="*/ 2273732 h 2273732"/>
                <a:gd name="connsiteX4" fmla="*/ 866270 w 2709530"/>
                <a:gd name="connsiteY4" fmla="*/ 0 h 22737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09530" h="2273732">
                  <a:moveTo>
                    <a:pt x="866270" y="0"/>
                  </a:moveTo>
                  <a:lnTo>
                    <a:pt x="2709530" y="0"/>
                  </a:lnTo>
                  <a:lnTo>
                    <a:pt x="2709530" y="1843430"/>
                  </a:lnTo>
                  <a:lnTo>
                    <a:pt x="0" y="2273732"/>
                  </a:lnTo>
                  <a:lnTo>
                    <a:pt x="86627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Bef>
                  <a:spcPts val="800"/>
                </a:spcBef>
              </a:pPr>
              <a:endParaRPr lang="en-US">
                <a:solidFill>
                  <a:schemeClr val="bg1"/>
                </a:solidFill>
              </a:endParaRPr>
            </a:p>
          </p:txBody>
        </p:sp>
        <p:sp>
          <p:nvSpPr>
            <p:cNvPr id="17" name="Freeform: Shape 31">
              <a:extLst>
                <a:ext uri="{FF2B5EF4-FFF2-40B4-BE49-F238E27FC236}">
                  <a16:creationId xmlns:a16="http://schemas.microsoft.com/office/drawing/2014/main" id="{B7471F1D-1107-442C-8B1E-D54C148C5EB9}"/>
                </a:ext>
              </a:extLst>
            </p:cNvPr>
            <p:cNvSpPr/>
            <p:nvPr/>
          </p:nvSpPr>
          <p:spPr>
            <a:xfrm>
              <a:off x="7809494" y="2296870"/>
              <a:ext cx="4382507" cy="4571057"/>
            </a:xfrm>
            <a:custGeom>
              <a:avLst/>
              <a:gdLst>
                <a:gd name="connsiteX0" fmla="*/ 4382507 w 4382507"/>
                <a:gd name="connsiteY0" fmla="*/ 0 h 4571057"/>
                <a:gd name="connsiteX1" fmla="*/ 4382507 w 4382507"/>
                <a:gd name="connsiteY1" fmla="*/ 2755449 h 4571057"/>
                <a:gd name="connsiteX2" fmla="*/ 3801694 w 4382507"/>
                <a:gd name="connsiteY2" fmla="*/ 2849114 h 4571057"/>
                <a:gd name="connsiteX3" fmla="*/ 3484270 w 4382507"/>
                <a:gd name="connsiteY3" fmla="*/ 3687382 h 4571057"/>
                <a:gd name="connsiteX4" fmla="*/ 4382507 w 4382507"/>
                <a:gd name="connsiteY4" fmla="*/ 3541255 h 4571057"/>
                <a:gd name="connsiteX5" fmla="*/ 4382507 w 4382507"/>
                <a:gd name="connsiteY5" fmla="*/ 4571057 h 4571057"/>
                <a:gd name="connsiteX6" fmla="*/ 304272 w 4382507"/>
                <a:gd name="connsiteY6" fmla="*/ 4571057 h 4571057"/>
                <a:gd name="connsiteX7" fmla="*/ 0 w 4382507"/>
                <a:gd name="connsiteY7" fmla="*/ 4196530 h 4571057"/>
                <a:gd name="connsiteX8" fmla="*/ 1397515 w 4382507"/>
                <a:gd name="connsiteY8" fmla="*/ 474048 h 4571057"/>
                <a:gd name="connsiteX9" fmla="*/ 4382507 w 4382507"/>
                <a:gd name="connsiteY9" fmla="*/ 0 h 4571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382507" h="4571057">
                  <a:moveTo>
                    <a:pt x="4382507" y="0"/>
                  </a:moveTo>
                  <a:lnTo>
                    <a:pt x="4382507" y="2755449"/>
                  </a:lnTo>
                  <a:lnTo>
                    <a:pt x="3801694" y="2849114"/>
                  </a:lnTo>
                  <a:lnTo>
                    <a:pt x="3484270" y="3687382"/>
                  </a:lnTo>
                  <a:lnTo>
                    <a:pt x="4382507" y="3541255"/>
                  </a:lnTo>
                  <a:lnTo>
                    <a:pt x="4382507" y="4571057"/>
                  </a:lnTo>
                  <a:lnTo>
                    <a:pt x="304272" y="4571057"/>
                  </a:lnTo>
                  <a:lnTo>
                    <a:pt x="0" y="4196530"/>
                  </a:lnTo>
                  <a:lnTo>
                    <a:pt x="1397515" y="474048"/>
                  </a:lnTo>
                  <a:lnTo>
                    <a:pt x="4382507"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Bef>
                  <a:spcPts val="800"/>
                </a:spcBef>
              </a:pPr>
              <a:endParaRPr lang="en-US">
                <a:solidFill>
                  <a:schemeClr val="bg1"/>
                </a:solidFill>
              </a:endParaRPr>
            </a:p>
          </p:txBody>
        </p:sp>
      </p:grpSp>
      <p:pic>
        <p:nvPicPr>
          <p:cNvPr id="14" name="Graphic 13">
            <a:extLst>
              <a:ext uri="{FF2B5EF4-FFF2-40B4-BE49-F238E27FC236}">
                <a16:creationId xmlns:a16="http://schemas.microsoft.com/office/drawing/2014/main" id="{9DFEF7AB-D202-411C-88E8-EE2C07650B05}"/>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29184" y="116399"/>
            <a:ext cx="3968766" cy="1609344"/>
          </a:xfrm>
          <a:prstGeom prst="rect">
            <a:avLst/>
          </a:prstGeom>
        </p:spPr>
      </p:pic>
    </p:spTree>
    <p:extLst>
      <p:ext uri="{BB962C8B-B14F-4D97-AF65-F5344CB8AC3E}">
        <p14:creationId xmlns:p14="http://schemas.microsoft.com/office/powerpoint/2010/main" val="201384388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dt="0"/>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1_Divider">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94C2D668-A66C-4169-B72A-C6DE8266140B}"/>
              </a:ext>
            </a:extLst>
          </p:cNvPr>
          <p:cNvPicPr>
            <a:picLocks noChangeAspect="1"/>
          </p:cNvPicPr>
          <p:nvPr userDrawn="1"/>
        </p:nvPicPr>
        <p:blipFill>
          <a:blip r:embed="rId2" cstate="email">
            <a:alphaModFix amt="30000"/>
            <a:extLst>
              <a:ext uri="{28A0092B-C50C-407E-A947-70E740481C1C}">
                <a14:useLocalDpi xmlns:a14="http://schemas.microsoft.com/office/drawing/2010/main"/>
              </a:ext>
            </a:extLst>
          </a:blip>
          <a:srcRect/>
          <a:stretch/>
        </p:blipFill>
        <p:spPr>
          <a:xfrm>
            <a:off x="0" y="0"/>
            <a:ext cx="12188960" cy="6858000"/>
          </a:xfrm>
          <a:prstGeom prst="rect">
            <a:avLst/>
          </a:prstGeom>
        </p:spPr>
      </p:pic>
      <p:sp>
        <p:nvSpPr>
          <p:cNvPr id="25" name="Rectangle: Rounded Corners 24">
            <a:extLst>
              <a:ext uri="{FF2B5EF4-FFF2-40B4-BE49-F238E27FC236}">
                <a16:creationId xmlns:a16="http://schemas.microsoft.com/office/drawing/2014/main" id="{940A4664-7303-44CA-9BE8-4A22FD0D7EBF}"/>
              </a:ext>
            </a:extLst>
          </p:cNvPr>
          <p:cNvSpPr/>
          <p:nvPr userDrawn="1"/>
        </p:nvSpPr>
        <p:spPr>
          <a:xfrm rot="18679580">
            <a:off x="5571697" y="2250091"/>
            <a:ext cx="5236260" cy="1832698"/>
          </a:xfrm>
          <a:prstGeom prst="roundRect">
            <a:avLst/>
          </a:prstGeom>
          <a:solidFill>
            <a:srgbClr val="F8F9FA">
              <a:alpha val="64000"/>
            </a:srgbClr>
          </a:solidFill>
          <a:ln>
            <a:noFill/>
          </a:ln>
          <a:effectLst>
            <a:softEdge rad="444500"/>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Bef>
                <a:spcPts val="800"/>
              </a:spcBef>
            </a:pPr>
            <a:endParaRPr lang="en-US">
              <a:solidFill>
                <a:schemeClr val="bg1"/>
              </a:solidFill>
            </a:endParaRPr>
          </a:p>
        </p:txBody>
      </p:sp>
      <p:sp>
        <p:nvSpPr>
          <p:cNvPr id="23" name="Rectangle: Rounded Corners 22">
            <a:extLst>
              <a:ext uri="{FF2B5EF4-FFF2-40B4-BE49-F238E27FC236}">
                <a16:creationId xmlns:a16="http://schemas.microsoft.com/office/drawing/2014/main" id="{010A2FC2-4C43-4567-9BC7-9E1FB152702F}"/>
              </a:ext>
            </a:extLst>
          </p:cNvPr>
          <p:cNvSpPr/>
          <p:nvPr userDrawn="1"/>
        </p:nvSpPr>
        <p:spPr>
          <a:xfrm>
            <a:off x="1817683" y="2478001"/>
            <a:ext cx="5236260" cy="1832698"/>
          </a:xfrm>
          <a:prstGeom prst="roundRect">
            <a:avLst/>
          </a:prstGeom>
          <a:gradFill>
            <a:gsLst>
              <a:gs pos="0">
                <a:srgbClr val="F0F2F6"/>
              </a:gs>
              <a:gs pos="100000">
                <a:srgbClr val="F0F2F5"/>
              </a:gs>
            </a:gsLst>
            <a:lin ang="5400000" scaled="1"/>
          </a:gradFill>
          <a:ln>
            <a:noFill/>
          </a:ln>
          <a:effectLst>
            <a:softEdge rad="444500"/>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Bef>
                <a:spcPts val="800"/>
              </a:spcBef>
            </a:pPr>
            <a:endParaRPr lang="en-US">
              <a:solidFill>
                <a:schemeClr val="bg1"/>
              </a:solidFill>
            </a:endParaRPr>
          </a:p>
        </p:txBody>
      </p:sp>
      <p:sp>
        <p:nvSpPr>
          <p:cNvPr id="22" name="Title 21"/>
          <p:cNvSpPr>
            <a:spLocks noGrp="1"/>
          </p:cNvSpPr>
          <p:nvPr>
            <p:ph type="title" hasCustomPrompt="1"/>
          </p:nvPr>
        </p:nvSpPr>
        <p:spPr bwMode="gray">
          <a:xfrm>
            <a:off x="2665327" y="3088211"/>
            <a:ext cx="8869680" cy="692497"/>
          </a:xfrm>
        </p:spPr>
        <p:txBody>
          <a:bodyPr anchor="ctr" anchorCtr="0">
            <a:spAutoFit/>
          </a:bodyPr>
          <a:lstStyle>
            <a:lvl1pPr algn="l">
              <a:lnSpc>
                <a:spcPct val="100000"/>
              </a:lnSpc>
              <a:defRPr lang="en-US" sz="5000" b="1" dirty="0">
                <a:solidFill>
                  <a:schemeClr val="tx1"/>
                </a:solidFill>
              </a:defRPr>
            </a:lvl1pPr>
          </a:lstStyle>
          <a:p>
            <a:pPr marL="0" lvl="0">
              <a:lnSpc>
                <a:spcPct val="90000"/>
              </a:lnSpc>
              <a:spcBef>
                <a:spcPts val="1200"/>
              </a:spcBef>
            </a:pPr>
            <a:r>
              <a:rPr lang="en-US" dirty="0"/>
              <a:t>Divider – 1 line of text</a:t>
            </a:r>
          </a:p>
        </p:txBody>
      </p:sp>
      <p:grpSp>
        <p:nvGrpSpPr>
          <p:cNvPr id="21" name="Group 20">
            <a:extLst>
              <a:ext uri="{FF2B5EF4-FFF2-40B4-BE49-F238E27FC236}">
                <a16:creationId xmlns:a16="http://schemas.microsoft.com/office/drawing/2014/main" id="{7C7F3B32-EE76-44C5-8359-BC4ACEC00C40}"/>
              </a:ext>
            </a:extLst>
          </p:cNvPr>
          <p:cNvGrpSpPr/>
          <p:nvPr userDrawn="1"/>
        </p:nvGrpSpPr>
        <p:grpSpPr>
          <a:xfrm>
            <a:off x="0" y="3166440"/>
            <a:ext cx="2455333" cy="537112"/>
            <a:chOff x="0" y="3161621"/>
            <a:chExt cx="2455333" cy="537112"/>
          </a:xfrm>
        </p:grpSpPr>
        <p:sp>
          <p:nvSpPr>
            <p:cNvPr id="13" name="Rectangle 12">
              <a:extLst>
                <a:ext uri="{FF2B5EF4-FFF2-40B4-BE49-F238E27FC236}">
                  <a16:creationId xmlns:a16="http://schemas.microsoft.com/office/drawing/2014/main" id="{DF2B67A1-EE4B-45BF-9BBC-A9A3AB5F7F53}"/>
                </a:ext>
              </a:extLst>
            </p:cNvPr>
            <p:cNvSpPr/>
            <p:nvPr userDrawn="1"/>
          </p:nvSpPr>
          <p:spPr>
            <a:xfrm>
              <a:off x="0" y="3161621"/>
              <a:ext cx="2455333" cy="537112"/>
            </a:xfrm>
            <a:prstGeom prst="rect">
              <a:avLst/>
            </a:prstGeom>
            <a:solidFill>
              <a:srgbClr val="7BC15E"/>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Bef>
                  <a:spcPts val="800"/>
                </a:spcBef>
              </a:pPr>
              <a:endParaRPr lang="es-PE">
                <a:solidFill>
                  <a:schemeClr val="bg1"/>
                </a:solidFill>
              </a:endParaRPr>
            </a:p>
          </p:txBody>
        </p:sp>
        <p:sp>
          <p:nvSpPr>
            <p:cNvPr id="50" name="Freeform: Shape 49">
              <a:extLst>
                <a:ext uri="{FF2B5EF4-FFF2-40B4-BE49-F238E27FC236}">
                  <a16:creationId xmlns:a16="http://schemas.microsoft.com/office/drawing/2014/main" id="{95DA7B0E-0DF0-4795-BC40-8582B80C8C7D}"/>
                </a:ext>
              </a:extLst>
            </p:cNvPr>
            <p:cNvSpPr/>
            <p:nvPr userDrawn="1"/>
          </p:nvSpPr>
          <p:spPr>
            <a:xfrm rot="16200000" flipH="1">
              <a:off x="310000" y="3115270"/>
              <a:ext cx="4756" cy="274320"/>
            </a:xfrm>
            <a:custGeom>
              <a:avLst/>
              <a:gdLst>
                <a:gd name="connsiteX0" fmla="*/ 0 w 19050"/>
                <a:gd name="connsiteY0" fmla="*/ 0 h 732567"/>
                <a:gd name="connsiteX1" fmla="*/ 19050 w 19050"/>
                <a:gd name="connsiteY1" fmla="*/ 0 h 732567"/>
                <a:gd name="connsiteX2" fmla="*/ 19050 w 19050"/>
                <a:gd name="connsiteY2" fmla="*/ 732568 h 732567"/>
                <a:gd name="connsiteX3" fmla="*/ 0 w 19050"/>
                <a:gd name="connsiteY3" fmla="*/ 732568 h 732567"/>
              </a:gdLst>
              <a:ahLst/>
              <a:cxnLst>
                <a:cxn ang="0">
                  <a:pos x="connsiteX0" y="connsiteY0"/>
                </a:cxn>
                <a:cxn ang="0">
                  <a:pos x="connsiteX1" y="connsiteY1"/>
                </a:cxn>
                <a:cxn ang="0">
                  <a:pos x="connsiteX2" y="connsiteY2"/>
                </a:cxn>
                <a:cxn ang="0">
                  <a:pos x="connsiteX3" y="connsiteY3"/>
                </a:cxn>
              </a:cxnLst>
              <a:rect l="l" t="t" r="r" b="b"/>
              <a:pathLst>
                <a:path w="19050" h="732567">
                  <a:moveTo>
                    <a:pt x="0" y="0"/>
                  </a:moveTo>
                  <a:lnTo>
                    <a:pt x="19050" y="0"/>
                  </a:lnTo>
                  <a:lnTo>
                    <a:pt x="19050" y="732568"/>
                  </a:lnTo>
                  <a:lnTo>
                    <a:pt x="0" y="732568"/>
                  </a:lnTo>
                  <a:close/>
                </a:path>
              </a:pathLst>
            </a:custGeom>
            <a:solidFill>
              <a:schemeClr val="bg1"/>
            </a:solidFill>
            <a:ln w="9525" cap="flat">
              <a:solidFill>
                <a:schemeClr val="bg1"/>
              </a:solidFill>
              <a:prstDash val="solid"/>
              <a:miter/>
            </a:ln>
          </p:spPr>
          <p:txBody>
            <a:bodyPr rtlCol="0" anchor="ctr"/>
            <a:lstStyle/>
            <a:p>
              <a:endParaRPr lang="en-US"/>
            </a:p>
          </p:txBody>
        </p:sp>
        <p:sp>
          <p:nvSpPr>
            <p:cNvPr id="51" name="Freeform: Shape 50">
              <a:extLst>
                <a:ext uri="{FF2B5EF4-FFF2-40B4-BE49-F238E27FC236}">
                  <a16:creationId xmlns:a16="http://schemas.microsoft.com/office/drawing/2014/main" id="{132EA109-B6D2-47CB-9BC9-D55B0F9A6750}"/>
                </a:ext>
              </a:extLst>
            </p:cNvPr>
            <p:cNvSpPr/>
            <p:nvPr userDrawn="1"/>
          </p:nvSpPr>
          <p:spPr>
            <a:xfrm rot="16200000" flipH="1">
              <a:off x="82144" y="3339115"/>
              <a:ext cx="182880" cy="4755"/>
            </a:xfrm>
            <a:custGeom>
              <a:avLst/>
              <a:gdLst>
                <a:gd name="connsiteX0" fmla="*/ 0 w 734853"/>
                <a:gd name="connsiteY0" fmla="*/ 0 h 19049"/>
                <a:gd name="connsiteX1" fmla="*/ 734854 w 734853"/>
                <a:gd name="connsiteY1" fmla="*/ 0 h 19049"/>
                <a:gd name="connsiteX2" fmla="*/ 734854 w 734853"/>
                <a:gd name="connsiteY2" fmla="*/ 19050 h 19049"/>
                <a:gd name="connsiteX3" fmla="*/ 0 w 734853"/>
                <a:gd name="connsiteY3" fmla="*/ 19050 h 19049"/>
              </a:gdLst>
              <a:ahLst/>
              <a:cxnLst>
                <a:cxn ang="0">
                  <a:pos x="connsiteX0" y="connsiteY0"/>
                </a:cxn>
                <a:cxn ang="0">
                  <a:pos x="connsiteX1" y="connsiteY1"/>
                </a:cxn>
                <a:cxn ang="0">
                  <a:pos x="connsiteX2" y="connsiteY2"/>
                </a:cxn>
                <a:cxn ang="0">
                  <a:pos x="connsiteX3" y="connsiteY3"/>
                </a:cxn>
              </a:cxnLst>
              <a:rect l="l" t="t" r="r" b="b"/>
              <a:pathLst>
                <a:path w="734853" h="19049">
                  <a:moveTo>
                    <a:pt x="0" y="0"/>
                  </a:moveTo>
                  <a:lnTo>
                    <a:pt x="734854" y="0"/>
                  </a:lnTo>
                  <a:lnTo>
                    <a:pt x="734854" y="19050"/>
                  </a:lnTo>
                  <a:lnTo>
                    <a:pt x="0" y="19050"/>
                  </a:lnTo>
                  <a:close/>
                </a:path>
              </a:pathLst>
            </a:custGeom>
            <a:solidFill>
              <a:schemeClr val="bg1"/>
            </a:solidFill>
            <a:ln w="3175" cap="flat">
              <a:solidFill>
                <a:schemeClr val="bg1"/>
              </a:solidFill>
              <a:prstDash val="solid"/>
              <a:miter/>
            </a:ln>
          </p:spPr>
          <p:txBody>
            <a:bodyPr rtlCol="0" anchor="ctr"/>
            <a:lstStyle/>
            <a:p>
              <a:endParaRPr lang="en-US"/>
            </a:p>
          </p:txBody>
        </p:sp>
        <p:pic>
          <p:nvPicPr>
            <p:cNvPr id="24" name="Picture 23">
              <a:extLst>
                <a:ext uri="{FF2B5EF4-FFF2-40B4-BE49-F238E27FC236}">
                  <a16:creationId xmlns:a16="http://schemas.microsoft.com/office/drawing/2014/main" id="{6D0CF51F-F4CE-426F-AB3D-EFB191BB1445}"/>
                </a:ext>
              </a:extLst>
            </p:cNvPr>
            <p:cNvPicPr>
              <a:picLocks noChangeAspect="1"/>
            </p:cNvPicPr>
            <p:nvPr userDrawn="1"/>
          </p:nvPicPr>
          <p:blipFill rotWithShape="1">
            <a:blip r:embed="rId3" cstate="screen">
              <a:alphaModFix amt="50000"/>
              <a:extLst>
                <a:ext uri="{28A0092B-C50C-407E-A947-70E740481C1C}">
                  <a14:useLocalDpi xmlns:a14="http://schemas.microsoft.com/office/drawing/2010/main"/>
                </a:ext>
              </a:extLst>
            </a:blip>
            <a:srcRect l="47779" r="6346"/>
            <a:stretch/>
          </p:blipFill>
          <p:spPr>
            <a:xfrm>
              <a:off x="1722355" y="3238216"/>
              <a:ext cx="647967" cy="373101"/>
            </a:xfrm>
            <a:prstGeom prst="rect">
              <a:avLst/>
            </a:prstGeom>
          </p:spPr>
        </p:pic>
        <p:cxnSp>
          <p:nvCxnSpPr>
            <p:cNvPr id="20" name="Straight Connector 19">
              <a:extLst>
                <a:ext uri="{FF2B5EF4-FFF2-40B4-BE49-F238E27FC236}">
                  <a16:creationId xmlns:a16="http://schemas.microsoft.com/office/drawing/2014/main" id="{B8A23F11-3EF7-4BB7-9396-70D452EECC1B}"/>
                </a:ext>
              </a:extLst>
            </p:cNvPr>
            <p:cNvCxnSpPr/>
            <p:nvPr userDrawn="1"/>
          </p:nvCxnSpPr>
          <p:spPr>
            <a:xfrm>
              <a:off x="176782" y="3325341"/>
              <a:ext cx="0" cy="365760"/>
            </a:xfrm>
            <a:prstGeom prst="line">
              <a:avLst/>
            </a:prstGeom>
            <a:ln w="3175">
              <a:solidFill>
                <a:schemeClr val="bg1">
                  <a:alpha val="49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8861043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userDrawn="1">
  <p:cSld name="Agenda">
    <p:spTree>
      <p:nvGrpSpPr>
        <p:cNvPr id="1" name=""/>
        <p:cNvGrpSpPr/>
        <p:nvPr/>
      </p:nvGrpSpPr>
      <p:grpSpPr>
        <a:xfrm>
          <a:off x="0" y="0"/>
          <a:ext cx="0" cy="0"/>
          <a:chOff x="0" y="0"/>
          <a:chExt cx="0" cy="0"/>
        </a:xfrm>
      </p:grpSpPr>
      <p:sp>
        <p:nvSpPr>
          <p:cNvPr id="51" name="Freeform: Shape 50">
            <a:extLst>
              <a:ext uri="{FF2B5EF4-FFF2-40B4-BE49-F238E27FC236}">
                <a16:creationId xmlns:a16="http://schemas.microsoft.com/office/drawing/2014/main" id="{7040E846-1D5C-4E41-B0F7-5EC3673E0D47}"/>
              </a:ext>
            </a:extLst>
          </p:cNvPr>
          <p:cNvSpPr/>
          <p:nvPr userDrawn="1"/>
        </p:nvSpPr>
        <p:spPr>
          <a:xfrm>
            <a:off x="10100761" y="2762"/>
            <a:ext cx="702181" cy="675861"/>
          </a:xfrm>
          <a:custGeom>
            <a:avLst/>
            <a:gdLst>
              <a:gd name="connsiteX0" fmla="*/ 219875 w 702181"/>
              <a:gd name="connsiteY0" fmla="*/ 0 h 675861"/>
              <a:gd name="connsiteX1" fmla="*/ 570965 w 702181"/>
              <a:gd name="connsiteY1" fmla="*/ 0 h 675861"/>
              <a:gd name="connsiteX2" fmla="*/ 702181 w 702181"/>
              <a:gd name="connsiteY2" fmla="*/ 183874 h 675861"/>
              <a:gd name="connsiteX3" fmla="*/ 351091 w 702181"/>
              <a:gd name="connsiteY3" fmla="*/ 675861 h 675861"/>
              <a:gd name="connsiteX4" fmla="*/ 0 w 702181"/>
              <a:gd name="connsiteY4" fmla="*/ 675861 h 675861"/>
              <a:gd name="connsiteX5" fmla="*/ 351091 w 702181"/>
              <a:gd name="connsiteY5" fmla="*/ 183874 h 675861"/>
              <a:gd name="connsiteX6" fmla="*/ 219875 w 702181"/>
              <a:gd name="connsiteY6" fmla="*/ 0 h 6758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02181" h="675861">
                <a:moveTo>
                  <a:pt x="219875" y="0"/>
                </a:moveTo>
                <a:lnTo>
                  <a:pt x="570965" y="0"/>
                </a:lnTo>
                <a:lnTo>
                  <a:pt x="702181" y="183874"/>
                </a:lnTo>
                <a:lnTo>
                  <a:pt x="351091" y="675861"/>
                </a:lnTo>
                <a:lnTo>
                  <a:pt x="0" y="675861"/>
                </a:lnTo>
                <a:lnTo>
                  <a:pt x="351091" y="183874"/>
                </a:lnTo>
                <a:lnTo>
                  <a:pt x="219875" y="0"/>
                </a:lnTo>
                <a:close/>
              </a:path>
            </a:pathLst>
          </a:custGeom>
          <a:solidFill>
            <a:srgbClr val="C8C9C7">
              <a:alpha val="9000"/>
            </a:srgbClr>
          </a:solid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R="0" lvl="0" indent="0" algn="ctr" defTabSz="914400" fontAlgn="auto">
              <a:lnSpc>
                <a:spcPct val="90000"/>
              </a:lnSpc>
              <a:spcBef>
                <a:spcPts val="800"/>
              </a:spcBef>
              <a:spcAft>
                <a:spcPts val="0"/>
              </a:spcAft>
              <a:buClrTx/>
              <a:buSzTx/>
              <a:buFontTx/>
              <a:buNone/>
              <a:tabLst/>
            </a:pPr>
            <a:endParaRPr kumimoji="0" lang="en-US" sz="1800" b="0" i="0" u="none" strike="noStrike" kern="0" cap="none" spc="0" normalizeH="0" baseline="0" noProof="0" dirty="0">
              <a:ln>
                <a:noFill/>
              </a:ln>
              <a:solidFill>
                <a:srgbClr val="FFFFFF"/>
              </a:solidFill>
              <a:effectLst/>
              <a:uLnTx/>
              <a:uFillTx/>
              <a:latin typeface="PTCRaleway"/>
            </a:endParaRPr>
          </a:p>
        </p:txBody>
      </p:sp>
      <p:sp>
        <p:nvSpPr>
          <p:cNvPr id="20" name="Content Placeholder 3"/>
          <p:cNvSpPr>
            <a:spLocks noGrp="1"/>
          </p:cNvSpPr>
          <p:nvPr>
            <p:ph sz="half" idx="2" hasCustomPrompt="1"/>
          </p:nvPr>
        </p:nvSpPr>
        <p:spPr>
          <a:xfrm>
            <a:off x="5092016" y="2730899"/>
            <a:ext cx="6113720" cy="1402435"/>
          </a:xfrm>
        </p:spPr>
        <p:txBody>
          <a:bodyPr vert="horz" lIns="0" tIns="0" rIns="0" bIns="0" rtlCol="0" anchor="ctr" anchorCtr="0">
            <a:spAutoFit/>
          </a:bodyPr>
          <a:lstStyle>
            <a:lvl1pPr>
              <a:defRPr lang="en-US" dirty="0"/>
            </a:lvl1pPr>
            <a:lvl2pPr>
              <a:defRPr lang="en-US" dirty="0"/>
            </a:lvl2pPr>
            <a:lvl3pPr>
              <a:defRPr lang="en-US" dirty="0"/>
            </a:lvl3pPr>
            <a:lvl4pPr>
              <a:defRPr lang="en-US" dirty="0"/>
            </a:lvl4pPr>
            <a:lvl5pPr>
              <a:defRPr lang="en-US" dirty="0"/>
            </a:lvl5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16" name="Straight Connector 15">
            <a:extLst>
              <a:ext uri="{FF2B5EF4-FFF2-40B4-BE49-F238E27FC236}">
                <a16:creationId xmlns:a16="http://schemas.microsoft.com/office/drawing/2014/main" id="{3647C623-B09A-46D5-BE23-B5285BBAD043}"/>
              </a:ext>
            </a:extLst>
          </p:cNvPr>
          <p:cNvCxnSpPr/>
          <p:nvPr/>
        </p:nvCxnSpPr>
        <p:spPr>
          <a:xfrm>
            <a:off x="4080163" y="1054677"/>
            <a:ext cx="0" cy="4754880"/>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sp>
        <p:nvSpPr>
          <p:cNvPr id="8" name="Rectangle 7">
            <a:extLst>
              <a:ext uri="{FF2B5EF4-FFF2-40B4-BE49-F238E27FC236}">
                <a16:creationId xmlns:a16="http://schemas.microsoft.com/office/drawing/2014/main" id="{B0D03874-045E-487B-95DF-2D080FE61FFD}"/>
              </a:ext>
            </a:extLst>
          </p:cNvPr>
          <p:cNvSpPr/>
          <p:nvPr/>
        </p:nvSpPr>
        <p:spPr>
          <a:xfrm flipH="1" flipV="1">
            <a:off x="510776" y="2887137"/>
            <a:ext cx="960120" cy="4571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Bef>
                <a:spcPts val="800"/>
              </a:spcBef>
            </a:pPr>
            <a:endParaRPr lang="en-US">
              <a:solidFill>
                <a:schemeClr val="bg1"/>
              </a:solidFill>
            </a:endParaRPr>
          </a:p>
        </p:txBody>
      </p:sp>
      <p:sp>
        <p:nvSpPr>
          <p:cNvPr id="10" name="Text Placeholder 2">
            <a:extLst>
              <a:ext uri="{FF2B5EF4-FFF2-40B4-BE49-F238E27FC236}">
                <a16:creationId xmlns:a16="http://schemas.microsoft.com/office/drawing/2014/main" id="{A860E4D6-2036-44DC-984D-7A163253F772}"/>
              </a:ext>
            </a:extLst>
          </p:cNvPr>
          <p:cNvSpPr>
            <a:spLocks noGrp="1"/>
          </p:cNvSpPr>
          <p:nvPr>
            <p:ph type="body" sz="quarter" idx="10" hasCustomPrompt="1"/>
          </p:nvPr>
        </p:nvSpPr>
        <p:spPr>
          <a:xfrm>
            <a:off x="458788" y="3225800"/>
            <a:ext cx="3414712" cy="502061"/>
          </a:xfrm>
        </p:spPr>
        <p:txBody>
          <a:bodyPr vert="horz" wrap="square" lIns="0" tIns="9525" rIns="0" bIns="0" rtlCol="0" anchor="t" anchorCtr="0">
            <a:spAutoFit/>
          </a:bodyPr>
          <a:lstStyle>
            <a:lvl1pPr marL="0" indent="0">
              <a:buFontTx/>
              <a:buNone/>
              <a:defRPr lang="en-US" sz="4000" b="1" cap="all" baseline="0" dirty="0">
                <a:solidFill>
                  <a:schemeClr val="tx1"/>
                </a:solidFill>
              </a:defRPr>
            </a:lvl1pPr>
          </a:lstStyle>
          <a:p>
            <a:pPr marL="0" lvl="0">
              <a:lnSpc>
                <a:spcPct val="80000"/>
              </a:lnSpc>
              <a:spcBef>
                <a:spcPct val="0"/>
              </a:spcBef>
            </a:pPr>
            <a:r>
              <a:rPr lang="en-US" dirty="0"/>
              <a:t>agenda</a:t>
            </a:r>
          </a:p>
        </p:txBody>
      </p:sp>
      <p:pic>
        <p:nvPicPr>
          <p:cNvPr id="49" name="Graphic 48">
            <a:extLst>
              <a:ext uri="{FF2B5EF4-FFF2-40B4-BE49-F238E27FC236}">
                <a16:creationId xmlns:a16="http://schemas.microsoft.com/office/drawing/2014/main" id="{5EFD8A7B-D58D-4112-B693-C03F32A431D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5443" y="4871963"/>
            <a:ext cx="58992" cy="1828800"/>
          </a:xfrm>
          <a:prstGeom prst="rect">
            <a:avLst/>
          </a:prstGeom>
        </p:spPr>
      </p:pic>
      <p:sp>
        <p:nvSpPr>
          <p:cNvPr id="54" name="Freeform: Shape 53">
            <a:extLst>
              <a:ext uri="{FF2B5EF4-FFF2-40B4-BE49-F238E27FC236}">
                <a16:creationId xmlns:a16="http://schemas.microsoft.com/office/drawing/2014/main" id="{436B54C1-653F-4869-947F-6C172CCB93A1}"/>
              </a:ext>
            </a:extLst>
          </p:cNvPr>
          <p:cNvSpPr/>
          <p:nvPr userDrawn="1"/>
        </p:nvSpPr>
        <p:spPr>
          <a:xfrm>
            <a:off x="0" y="6624535"/>
            <a:ext cx="12188952" cy="233465"/>
          </a:xfrm>
          <a:custGeom>
            <a:avLst/>
            <a:gdLst>
              <a:gd name="connsiteX0" fmla="*/ 8949770 w 11969877"/>
              <a:gd name="connsiteY0" fmla="*/ 0 h 233465"/>
              <a:gd name="connsiteX1" fmla="*/ 11969877 w 11969877"/>
              <a:gd name="connsiteY1" fmla="*/ 0 h 233465"/>
              <a:gd name="connsiteX2" fmla="*/ 11969877 w 11969877"/>
              <a:gd name="connsiteY2" fmla="*/ 233465 h 233465"/>
              <a:gd name="connsiteX3" fmla="*/ 9027859 w 11969877"/>
              <a:gd name="connsiteY3" fmla="*/ 233465 h 233465"/>
              <a:gd name="connsiteX4" fmla="*/ 1048596 w 11969877"/>
              <a:gd name="connsiteY4" fmla="*/ 233465 h 233465"/>
              <a:gd name="connsiteX5" fmla="*/ 33436 w 11969877"/>
              <a:gd name="connsiteY5" fmla="*/ 233465 h 233465"/>
              <a:gd name="connsiteX6" fmla="*/ 0 w 11969877"/>
              <a:gd name="connsiteY6" fmla="*/ 233465 h 233465"/>
              <a:gd name="connsiteX7" fmla="*/ 0 w 11969877"/>
              <a:gd name="connsiteY7" fmla="*/ 169375 h 233465"/>
              <a:gd name="connsiteX8" fmla="*/ 0 w 11969877"/>
              <a:gd name="connsiteY8" fmla="*/ 126232 h 233465"/>
              <a:gd name="connsiteX9" fmla="*/ 0 w 11969877"/>
              <a:gd name="connsiteY9" fmla="*/ 109891 h 233465"/>
              <a:gd name="connsiteX10" fmla="*/ 8695556 w 11969877"/>
              <a:gd name="connsiteY10" fmla="*/ 109891 h 233465"/>
              <a:gd name="connsiteX11" fmla="*/ 8949770 w 11969877"/>
              <a:gd name="connsiteY11" fmla="*/ 0 h 233465"/>
              <a:gd name="connsiteX0" fmla="*/ 8949770 w 11969877"/>
              <a:gd name="connsiteY0" fmla="*/ 0 h 233465"/>
              <a:gd name="connsiteX1" fmla="*/ 11969877 w 11969877"/>
              <a:gd name="connsiteY1" fmla="*/ 0 h 233465"/>
              <a:gd name="connsiteX2" fmla="*/ 11969877 w 11969877"/>
              <a:gd name="connsiteY2" fmla="*/ 233465 h 233465"/>
              <a:gd name="connsiteX3" fmla="*/ 9027859 w 11969877"/>
              <a:gd name="connsiteY3" fmla="*/ 233465 h 233465"/>
              <a:gd name="connsiteX4" fmla="*/ 1048596 w 11969877"/>
              <a:gd name="connsiteY4" fmla="*/ 233465 h 233465"/>
              <a:gd name="connsiteX5" fmla="*/ 33436 w 11969877"/>
              <a:gd name="connsiteY5" fmla="*/ 233465 h 233465"/>
              <a:gd name="connsiteX6" fmla="*/ 0 w 11969877"/>
              <a:gd name="connsiteY6" fmla="*/ 233465 h 233465"/>
              <a:gd name="connsiteX7" fmla="*/ 0 w 11969877"/>
              <a:gd name="connsiteY7" fmla="*/ 169375 h 233465"/>
              <a:gd name="connsiteX8" fmla="*/ 0 w 11969877"/>
              <a:gd name="connsiteY8" fmla="*/ 126232 h 233465"/>
              <a:gd name="connsiteX9" fmla="*/ 0 w 11969877"/>
              <a:gd name="connsiteY9" fmla="*/ 109891 h 233465"/>
              <a:gd name="connsiteX10" fmla="*/ 8708028 w 11969877"/>
              <a:gd name="connsiteY10" fmla="*/ 141641 h 233465"/>
              <a:gd name="connsiteX11" fmla="*/ 8949770 w 11969877"/>
              <a:gd name="connsiteY11" fmla="*/ 0 h 2334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969877" h="233465">
                <a:moveTo>
                  <a:pt x="8949770" y="0"/>
                </a:moveTo>
                <a:lnTo>
                  <a:pt x="11969877" y="0"/>
                </a:lnTo>
                <a:lnTo>
                  <a:pt x="11969877" y="233465"/>
                </a:lnTo>
                <a:lnTo>
                  <a:pt x="9027859" y="233465"/>
                </a:lnTo>
                <a:lnTo>
                  <a:pt x="1048596" y="233465"/>
                </a:lnTo>
                <a:lnTo>
                  <a:pt x="33436" y="233465"/>
                </a:lnTo>
                <a:lnTo>
                  <a:pt x="0" y="233465"/>
                </a:lnTo>
                <a:lnTo>
                  <a:pt x="0" y="169375"/>
                </a:lnTo>
                <a:lnTo>
                  <a:pt x="0" y="126232"/>
                </a:lnTo>
                <a:lnTo>
                  <a:pt x="0" y="109891"/>
                </a:lnTo>
                <a:lnTo>
                  <a:pt x="8708028" y="141641"/>
                </a:lnTo>
                <a:lnTo>
                  <a:pt x="8949770" y="0"/>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Bef>
                <a:spcPts val="800"/>
              </a:spcBef>
            </a:pPr>
            <a:endParaRPr lang="en-US" sz="1800" dirty="0">
              <a:solidFill>
                <a:schemeClr val="bg1"/>
              </a:solidFill>
            </a:endParaRPr>
          </a:p>
        </p:txBody>
      </p:sp>
      <p:sp>
        <p:nvSpPr>
          <p:cNvPr id="55" name="Freeform 4">
            <a:extLst>
              <a:ext uri="{FF2B5EF4-FFF2-40B4-BE49-F238E27FC236}">
                <a16:creationId xmlns:a16="http://schemas.microsoft.com/office/drawing/2014/main" id="{9A888845-702F-4255-9C1B-82E0DBCA4DC5}"/>
              </a:ext>
            </a:extLst>
          </p:cNvPr>
          <p:cNvSpPr>
            <a:spLocks noChangeAspect="1"/>
          </p:cNvSpPr>
          <p:nvPr userDrawn="1"/>
        </p:nvSpPr>
        <p:spPr>
          <a:xfrm>
            <a:off x="8585655" y="6620256"/>
            <a:ext cx="545655" cy="237744"/>
          </a:xfrm>
          <a:custGeom>
            <a:avLst/>
            <a:gdLst>
              <a:gd name="connsiteX0" fmla="*/ 57150 w 1790700"/>
              <a:gd name="connsiteY0" fmla="*/ 0 h 3086100"/>
              <a:gd name="connsiteX1" fmla="*/ 1790700 w 1790700"/>
              <a:gd name="connsiteY1" fmla="*/ 3086100 h 3086100"/>
              <a:gd name="connsiteX2" fmla="*/ 0 w 1790700"/>
              <a:gd name="connsiteY2" fmla="*/ 3067050 h 3086100"/>
              <a:gd name="connsiteX3" fmla="*/ 0 w 1790700"/>
              <a:gd name="connsiteY3" fmla="*/ 0 h 3086100"/>
              <a:gd name="connsiteX4" fmla="*/ 19050 w 1790700"/>
              <a:gd name="connsiteY4" fmla="*/ 38100 h 3086100"/>
              <a:gd name="connsiteX5" fmla="*/ 19050 w 1790700"/>
              <a:gd name="connsiteY5" fmla="*/ 57150 h 3086100"/>
              <a:gd name="connsiteX0" fmla="*/ 57150 w 1790700"/>
              <a:gd name="connsiteY0" fmla="*/ 0 h 3086100"/>
              <a:gd name="connsiteX1" fmla="*/ 1790700 w 1790700"/>
              <a:gd name="connsiteY1" fmla="*/ 3086100 h 3086100"/>
              <a:gd name="connsiteX2" fmla="*/ 0 w 1790700"/>
              <a:gd name="connsiteY2" fmla="*/ 3067050 h 3086100"/>
              <a:gd name="connsiteX3" fmla="*/ 0 w 1790700"/>
              <a:gd name="connsiteY3" fmla="*/ 0 h 3086100"/>
              <a:gd name="connsiteX4" fmla="*/ 19050 w 1790700"/>
              <a:gd name="connsiteY4" fmla="*/ 38100 h 3086100"/>
              <a:gd name="connsiteX0" fmla="*/ 57150 w 1790700"/>
              <a:gd name="connsiteY0" fmla="*/ 0 h 3086100"/>
              <a:gd name="connsiteX1" fmla="*/ 1790700 w 1790700"/>
              <a:gd name="connsiteY1" fmla="*/ 3086100 h 3086100"/>
              <a:gd name="connsiteX2" fmla="*/ 0 w 1790700"/>
              <a:gd name="connsiteY2" fmla="*/ 3067050 h 3086100"/>
              <a:gd name="connsiteX3" fmla="*/ 0 w 1790700"/>
              <a:gd name="connsiteY3" fmla="*/ 0 h 3086100"/>
              <a:gd name="connsiteX0" fmla="*/ 57150 w 1790700"/>
              <a:gd name="connsiteY0" fmla="*/ 0 h 3086100"/>
              <a:gd name="connsiteX1" fmla="*/ 1790700 w 1790700"/>
              <a:gd name="connsiteY1" fmla="*/ 3086100 h 3086100"/>
              <a:gd name="connsiteX2" fmla="*/ 0 w 1790700"/>
              <a:gd name="connsiteY2" fmla="*/ 3067050 h 3086100"/>
              <a:gd name="connsiteX0" fmla="*/ 0 w 1733550"/>
              <a:gd name="connsiteY0" fmla="*/ 0 h 3086100"/>
              <a:gd name="connsiteX1" fmla="*/ 1733550 w 1733550"/>
              <a:gd name="connsiteY1" fmla="*/ 3086100 h 3086100"/>
              <a:gd name="connsiteX2" fmla="*/ 613087 w 1733550"/>
              <a:gd name="connsiteY2" fmla="*/ 3077523 h 3086100"/>
              <a:gd name="connsiteX0" fmla="*/ 245654 w 1120463"/>
              <a:gd name="connsiteY0" fmla="*/ 0 h 1525705"/>
              <a:gd name="connsiteX1" fmla="*/ 1120463 w 1120463"/>
              <a:gd name="connsiteY1" fmla="*/ 1525705 h 1525705"/>
              <a:gd name="connsiteX2" fmla="*/ 0 w 1120463"/>
              <a:gd name="connsiteY2" fmla="*/ 1517128 h 1525705"/>
              <a:gd name="connsiteX0" fmla="*/ 811167 w 1120463"/>
              <a:gd name="connsiteY0" fmla="*/ 0 h 1211531"/>
              <a:gd name="connsiteX1" fmla="*/ 1120463 w 1120463"/>
              <a:gd name="connsiteY1" fmla="*/ 1211531 h 1211531"/>
              <a:gd name="connsiteX2" fmla="*/ 0 w 1120463"/>
              <a:gd name="connsiteY2" fmla="*/ 1202954 h 1211531"/>
              <a:gd name="connsiteX0" fmla="*/ 874002 w 1183298"/>
              <a:gd name="connsiteY0" fmla="*/ 0 h 1213426"/>
              <a:gd name="connsiteX1" fmla="*/ 1183298 w 1183298"/>
              <a:gd name="connsiteY1" fmla="*/ 1211531 h 1213426"/>
              <a:gd name="connsiteX2" fmla="*/ 0 w 1183298"/>
              <a:gd name="connsiteY2" fmla="*/ 1213426 h 1213426"/>
              <a:gd name="connsiteX0" fmla="*/ 857693 w 1166989"/>
              <a:gd name="connsiteY0" fmla="*/ 0 h 1213426"/>
              <a:gd name="connsiteX1" fmla="*/ 1166989 w 1166989"/>
              <a:gd name="connsiteY1" fmla="*/ 1211531 h 1213426"/>
              <a:gd name="connsiteX2" fmla="*/ 0 w 1166989"/>
              <a:gd name="connsiteY2" fmla="*/ 1213426 h 1213426"/>
              <a:gd name="connsiteX0" fmla="*/ 1062735 w 1166989"/>
              <a:gd name="connsiteY0" fmla="*/ 0 h 857667"/>
              <a:gd name="connsiteX1" fmla="*/ 1166989 w 1166989"/>
              <a:gd name="connsiteY1" fmla="*/ 855772 h 857667"/>
              <a:gd name="connsiteX2" fmla="*/ 0 w 1166989"/>
              <a:gd name="connsiteY2" fmla="*/ 857667 h 857667"/>
              <a:gd name="connsiteX0" fmla="*/ 1037104 w 1166989"/>
              <a:gd name="connsiteY0" fmla="*/ 0 h 928818"/>
              <a:gd name="connsiteX1" fmla="*/ 1166989 w 1166989"/>
              <a:gd name="connsiteY1" fmla="*/ 926923 h 928818"/>
              <a:gd name="connsiteX2" fmla="*/ 0 w 1166989"/>
              <a:gd name="connsiteY2" fmla="*/ 928818 h 928818"/>
              <a:gd name="connsiteX0" fmla="*/ 1037104 w 1037104"/>
              <a:gd name="connsiteY0" fmla="*/ 0 h 962499"/>
              <a:gd name="connsiteX1" fmla="*/ 791077 w 1037104"/>
              <a:gd name="connsiteY1" fmla="*/ 962499 h 962499"/>
              <a:gd name="connsiteX2" fmla="*/ 0 w 1037104"/>
              <a:gd name="connsiteY2" fmla="*/ 928818 h 962499"/>
              <a:gd name="connsiteX0" fmla="*/ 1037104 w 1037104"/>
              <a:gd name="connsiteY0" fmla="*/ 0 h 962499"/>
              <a:gd name="connsiteX1" fmla="*/ 791077 w 1037104"/>
              <a:gd name="connsiteY1" fmla="*/ 962499 h 962499"/>
              <a:gd name="connsiteX2" fmla="*/ 0 w 1037104"/>
              <a:gd name="connsiteY2" fmla="*/ 955031 h 962499"/>
              <a:gd name="connsiteX0" fmla="*/ 1046547 w 1046547"/>
              <a:gd name="connsiteY0" fmla="*/ 0 h 949391"/>
              <a:gd name="connsiteX1" fmla="*/ 791077 w 1046547"/>
              <a:gd name="connsiteY1" fmla="*/ 949391 h 949391"/>
              <a:gd name="connsiteX2" fmla="*/ 0 w 1046547"/>
              <a:gd name="connsiteY2" fmla="*/ 941923 h 949391"/>
            </a:gdLst>
            <a:ahLst/>
            <a:cxnLst>
              <a:cxn ang="0">
                <a:pos x="connsiteX0" y="connsiteY0"/>
              </a:cxn>
              <a:cxn ang="0">
                <a:pos x="connsiteX1" y="connsiteY1"/>
              </a:cxn>
              <a:cxn ang="0">
                <a:pos x="connsiteX2" y="connsiteY2"/>
              </a:cxn>
            </a:cxnLst>
            <a:rect l="l" t="t" r="r" b="b"/>
            <a:pathLst>
              <a:path w="1046547" h="949391">
                <a:moveTo>
                  <a:pt x="1046547" y="0"/>
                </a:moveTo>
                <a:lnTo>
                  <a:pt x="791077" y="949391"/>
                </a:lnTo>
                <a:lnTo>
                  <a:pt x="0" y="941923"/>
                </a:lnTo>
              </a:path>
            </a:pathLst>
          </a:custGeom>
          <a:gradFill>
            <a:gsLst>
              <a:gs pos="35000">
                <a:srgbClr val="6CC04A"/>
              </a:gs>
              <a:gs pos="100000">
                <a:schemeClr val="bg2">
                  <a:lumMod val="60000"/>
                  <a:lumOff val="4000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FFFFFF"/>
              </a:solidFill>
              <a:effectLst/>
              <a:uLnTx/>
              <a:uFillTx/>
              <a:latin typeface="PTCRaleway" panose="020B0503030101060003" pitchFamily="34" charset="0"/>
              <a:ea typeface="+mn-ea"/>
              <a:cs typeface="+mn-cs"/>
            </a:endParaRPr>
          </a:p>
        </p:txBody>
      </p:sp>
      <p:sp>
        <p:nvSpPr>
          <p:cNvPr id="52" name="Freeform: Shape 51">
            <a:extLst>
              <a:ext uri="{FF2B5EF4-FFF2-40B4-BE49-F238E27FC236}">
                <a16:creationId xmlns:a16="http://schemas.microsoft.com/office/drawing/2014/main" id="{22DBE419-5825-42FC-8A68-32F7BF373B77}"/>
              </a:ext>
            </a:extLst>
          </p:cNvPr>
          <p:cNvSpPr/>
          <p:nvPr userDrawn="1"/>
        </p:nvSpPr>
        <p:spPr>
          <a:xfrm>
            <a:off x="10586568" y="2762"/>
            <a:ext cx="702181" cy="675861"/>
          </a:xfrm>
          <a:custGeom>
            <a:avLst/>
            <a:gdLst>
              <a:gd name="connsiteX0" fmla="*/ 219875 w 702181"/>
              <a:gd name="connsiteY0" fmla="*/ 0 h 675861"/>
              <a:gd name="connsiteX1" fmla="*/ 570965 w 702181"/>
              <a:gd name="connsiteY1" fmla="*/ 0 h 675861"/>
              <a:gd name="connsiteX2" fmla="*/ 702181 w 702181"/>
              <a:gd name="connsiteY2" fmla="*/ 183874 h 675861"/>
              <a:gd name="connsiteX3" fmla="*/ 351091 w 702181"/>
              <a:gd name="connsiteY3" fmla="*/ 675861 h 675861"/>
              <a:gd name="connsiteX4" fmla="*/ 0 w 702181"/>
              <a:gd name="connsiteY4" fmla="*/ 675861 h 675861"/>
              <a:gd name="connsiteX5" fmla="*/ 351091 w 702181"/>
              <a:gd name="connsiteY5" fmla="*/ 183874 h 675861"/>
              <a:gd name="connsiteX6" fmla="*/ 219875 w 702181"/>
              <a:gd name="connsiteY6" fmla="*/ 0 h 6758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02181" h="675861">
                <a:moveTo>
                  <a:pt x="219875" y="0"/>
                </a:moveTo>
                <a:lnTo>
                  <a:pt x="570965" y="0"/>
                </a:lnTo>
                <a:lnTo>
                  <a:pt x="702181" y="183874"/>
                </a:lnTo>
                <a:lnTo>
                  <a:pt x="351091" y="675861"/>
                </a:lnTo>
                <a:lnTo>
                  <a:pt x="0" y="675861"/>
                </a:lnTo>
                <a:lnTo>
                  <a:pt x="351091" y="183874"/>
                </a:lnTo>
                <a:lnTo>
                  <a:pt x="219875" y="0"/>
                </a:lnTo>
                <a:close/>
              </a:path>
            </a:pathLst>
          </a:custGeom>
          <a:solidFill>
            <a:srgbClr val="C8C9C7">
              <a:alpha val="14000"/>
            </a:srgbClr>
          </a:solid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90000"/>
              </a:lnSpc>
              <a:spcBef>
                <a:spcPts val="80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PTCRaleway"/>
              <a:ea typeface="+mn-ea"/>
              <a:cs typeface="+mn-cs"/>
            </a:endParaRPr>
          </a:p>
        </p:txBody>
      </p:sp>
      <p:sp>
        <p:nvSpPr>
          <p:cNvPr id="53" name="Freeform: Shape 52">
            <a:extLst>
              <a:ext uri="{FF2B5EF4-FFF2-40B4-BE49-F238E27FC236}">
                <a16:creationId xmlns:a16="http://schemas.microsoft.com/office/drawing/2014/main" id="{FA2E5586-27CA-4BF8-B076-383D4E5E9CBB}"/>
              </a:ext>
            </a:extLst>
          </p:cNvPr>
          <p:cNvSpPr/>
          <p:nvPr userDrawn="1"/>
        </p:nvSpPr>
        <p:spPr>
          <a:xfrm>
            <a:off x="11072375" y="2762"/>
            <a:ext cx="702181" cy="675861"/>
          </a:xfrm>
          <a:custGeom>
            <a:avLst/>
            <a:gdLst>
              <a:gd name="connsiteX0" fmla="*/ 219875 w 702181"/>
              <a:gd name="connsiteY0" fmla="*/ 0 h 675861"/>
              <a:gd name="connsiteX1" fmla="*/ 570965 w 702181"/>
              <a:gd name="connsiteY1" fmla="*/ 0 h 675861"/>
              <a:gd name="connsiteX2" fmla="*/ 702181 w 702181"/>
              <a:gd name="connsiteY2" fmla="*/ 183874 h 675861"/>
              <a:gd name="connsiteX3" fmla="*/ 351091 w 702181"/>
              <a:gd name="connsiteY3" fmla="*/ 675861 h 675861"/>
              <a:gd name="connsiteX4" fmla="*/ 0 w 702181"/>
              <a:gd name="connsiteY4" fmla="*/ 675861 h 675861"/>
              <a:gd name="connsiteX5" fmla="*/ 351091 w 702181"/>
              <a:gd name="connsiteY5" fmla="*/ 183874 h 675861"/>
              <a:gd name="connsiteX6" fmla="*/ 219875 w 702181"/>
              <a:gd name="connsiteY6" fmla="*/ 0 h 6758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02181" h="675861">
                <a:moveTo>
                  <a:pt x="219875" y="0"/>
                </a:moveTo>
                <a:lnTo>
                  <a:pt x="570965" y="0"/>
                </a:lnTo>
                <a:lnTo>
                  <a:pt x="702181" y="183874"/>
                </a:lnTo>
                <a:lnTo>
                  <a:pt x="351091" y="675861"/>
                </a:lnTo>
                <a:lnTo>
                  <a:pt x="0" y="675861"/>
                </a:lnTo>
                <a:lnTo>
                  <a:pt x="351091" y="183874"/>
                </a:lnTo>
                <a:lnTo>
                  <a:pt x="219875" y="0"/>
                </a:lnTo>
                <a:close/>
              </a:path>
            </a:pathLst>
          </a:custGeom>
          <a:solidFill>
            <a:srgbClr val="C8C9C7">
              <a:alpha val="20000"/>
            </a:srgbClr>
          </a:solid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90000"/>
              </a:lnSpc>
              <a:spcBef>
                <a:spcPts val="80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PTCRaleway"/>
              <a:ea typeface="+mn-ea"/>
              <a:cs typeface="+mn-cs"/>
            </a:endParaRPr>
          </a:p>
        </p:txBody>
      </p:sp>
      <p:grpSp>
        <p:nvGrpSpPr>
          <p:cNvPr id="56" name="Group 55">
            <a:extLst>
              <a:ext uri="{FF2B5EF4-FFF2-40B4-BE49-F238E27FC236}">
                <a16:creationId xmlns:a16="http://schemas.microsoft.com/office/drawing/2014/main" id="{E6BADC80-74EA-4093-94B8-2B57F68FD1D8}"/>
              </a:ext>
            </a:extLst>
          </p:cNvPr>
          <p:cNvGrpSpPr/>
          <p:nvPr userDrawn="1"/>
        </p:nvGrpSpPr>
        <p:grpSpPr>
          <a:xfrm>
            <a:off x="11042268" y="241617"/>
            <a:ext cx="932562" cy="679259"/>
            <a:chOff x="11042268" y="267017"/>
            <a:chExt cx="932562" cy="679259"/>
          </a:xfrm>
        </p:grpSpPr>
        <p:grpSp>
          <p:nvGrpSpPr>
            <p:cNvPr id="57" name="Graphic 42">
              <a:extLst>
                <a:ext uri="{FF2B5EF4-FFF2-40B4-BE49-F238E27FC236}">
                  <a16:creationId xmlns:a16="http://schemas.microsoft.com/office/drawing/2014/main" id="{BFA9F52E-93C8-47F4-88E3-BDC8247E1830}"/>
                </a:ext>
              </a:extLst>
            </p:cNvPr>
            <p:cNvGrpSpPr/>
            <p:nvPr/>
          </p:nvGrpSpPr>
          <p:grpSpPr>
            <a:xfrm flipV="1">
              <a:off x="11042268" y="267017"/>
              <a:ext cx="907034" cy="112903"/>
              <a:chOff x="10978768" y="6357873"/>
              <a:chExt cx="907034" cy="112903"/>
            </a:xfrm>
            <a:solidFill>
              <a:srgbClr val="B8B7B9"/>
            </a:solidFill>
          </p:grpSpPr>
          <p:sp>
            <p:nvSpPr>
              <p:cNvPr id="67" name="Freeform: Shape 66">
                <a:extLst>
                  <a:ext uri="{FF2B5EF4-FFF2-40B4-BE49-F238E27FC236}">
                    <a16:creationId xmlns:a16="http://schemas.microsoft.com/office/drawing/2014/main" id="{54E24622-0387-433E-82BF-84D08C3905C8}"/>
                  </a:ext>
                </a:extLst>
              </p:cNvPr>
              <p:cNvSpPr/>
              <p:nvPr/>
            </p:nvSpPr>
            <p:spPr>
              <a:xfrm>
                <a:off x="10978768" y="6393878"/>
                <a:ext cx="16447" cy="76898"/>
              </a:xfrm>
              <a:custGeom>
                <a:avLst/>
                <a:gdLst>
                  <a:gd name="connsiteX0" fmla="*/ 0 w 16447"/>
                  <a:gd name="connsiteY0" fmla="*/ 76899 h 76898"/>
                  <a:gd name="connsiteX1" fmla="*/ 0 w 16447"/>
                  <a:gd name="connsiteY1" fmla="*/ 0 h 76898"/>
                  <a:gd name="connsiteX2" fmla="*/ 16447 w 16447"/>
                  <a:gd name="connsiteY2" fmla="*/ 0 h 76898"/>
                  <a:gd name="connsiteX3" fmla="*/ 16447 w 16447"/>
                  <a:gd name="connsiteY3" fmla="*/ 76899 h 76898"/>
                  <a:gd name="connsiteX4" fmla="*/ 0 w 16447"/>
                  <a:gd name="connsiteY4" fmla="*/ 76899 h 768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447" h="76898">
                    <a:moveTo>
                      <a:pt x="0" y="76899"/>
                    </a:moveTo>
                    <a:lnTo>
                      <a:pt x="0" y="0"/>
                    </a:lnTo>
                    <a:lnTo>
                      <a:pt x="16447" y="0"/>
                    </a:lnTo>
                    <a:lnTo>
                      <a:pt x="16447" y="76899"/>
                    </a:lnTo>
                    <a:lnTo>
                      <a:pt x="0" y="76899"/>
                    </a:lnTo>
                    <a:close/>
                  </a:path>
                </a:pathLst>
              </a:custGeom>
              <a:solidFill>
                <a:srgbClr val="B8B7B9"/>
              </a:solidFill>
              <a:ln w="6350"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D4647"/>
                  </a:solidFill>
                  <a:effectLst/>
                  <a:uLnTx/>
                  <a:uFillTx/>
                </a:endParaRPr>
              </a:p>
            </p:txBody>
          </p:sp>
          <p:sp>
            <p:nvSpPr>
              <p:cNvPr id="68" name="Freeform: Shape 67">
                <a:extLst>
                  <a:ext uri="{FF2B5EF4-FFF2-40B4-BE49-F238E27FC236}">
                    <a16:creationId xmlns:a16="http://schemas.microsoft.com/office/drawing/2014/main" id="{01C570B7-C941-48C9-B4DF-4A879F2FE10F}"/>
                  </a:ext>
                </a:extLst>
              </p:cNvPr>
              <p:cNvSpPr/>
              <p:nvPr/>
            </p:nvSpPr>
            <p:spPr>
              <a:xfrm>
                <a:off x="11041824" y="6393878"/>
                <a:ext cx="16446" cy="76898"/>
              </a:xfrm>
              <a:custGeom>
                <a:avLst/>
                <a:gdLst>
                  <a:gd name="connsiteX0" fmla="*/ 0 w 16446"/>
                  <a:gd name="connsiteY0" fmla="*/ 76899 h 76898"/>
                  <a:gd name="connsiteX1" fmla="*/ 0 w 16446"/>
                  <a:gd name="connsiteY1" fmla="*/ 0 h 76898"/>
                  <a:gd name="connsiteX2" fmla="*/ 16446 w 16446"/>
                  <a:gd name="connsiteY2" fmla="*/ 0 h 76898"/>
                  <a:gd name="connsiteX3" fmla="*/ 16446 w 16446"/>
                  <a:gd name="connsiteY3" fmla="*/ 76899 h 76898"/>
                  <a:gd name="connsiteX4" fmla="*/ 0 w 16446"/>
                  <a:gd name="connsiteY4" fmla="*/ 76899 h 768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446" h="76898">
                    <a:moveTo>
                      <a:pt x="0" y="76899"/>
                    </a:moveTo>
                    <a:lnTo>
                      <a:pt x="0" y="0"/>
                    </a:lnTo>
                    <a:lnTo>
                      <a:pt x="16446" y="0"/>
                    </a:lnTo>
                    <a:lnTo>
                      <a:pt x="16446" y="76899"/>
                    </a:lnTo>
                    <a:lnTo>
                      <a:pt x="0" y="76899"/>
                    </a:lnTo>
                    <a:close/>
                  </a:path>
                </a:pathLst>
              </a:custGeom>
              <a:solidFill>
                <a:srgbClr val="B8B7B9"/>
              </a:solidFill>
              <a:ln w="6350"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D4647"/>
                  </a:solidFill>
                  <a:effectLst/>
                  <a:uLnTx/>
                  <a:uFillTx/>
                </a:endParaRPr>
              </a:p>
            </p:txBody>
          </p:sp>
          <p:sp>
            <p:nvSpPr>
              <p:cNvPr id="69" name="Freeform: Shape 68">
                <a:extLst>
                  <a:ext uri="{FF2B5EF4-FFF2-40B4-BE49-F238E27FC236}">
                    <a16:creationId xmlns:a16="http://schemas.microsoft.com/office/drawing/2014/main" id="{98B0C69C-C402-42C7-BEED-F25380BF0765}"/>
                  </a:ext>
                </a:extLst>
              </p:cNvPr>
              <p:cNvSpPr/>
              <p:nvPr/>
            </p:nvSpPr>
            <p:spPr>
              <a:xfrm>
                <a:off x="11104880" y="6393878"/>
                <a:ext cx="16446" cy="76898"/>
              </a:xfrm>
              <a:custGeom>
                <a:avLst/>
                <a:gdLst>
                  <a:gd name="connsiteX0" fmla="*/ 0 w 16446"/>
                  <a:gd name="connsiteY0" fmla="*/ 76899 h 76898"/>
                  <a:gd name="connsiteX1" fmla="*/ 0 w 16446"/>
                  <a:gd name="connsiteY1" fmla="*/ 0 h 76898"/>
                  <a:gd name="connsiteX2" fmla="*/ 16446 w 16446"/>
                  <a:gd name="connsiteY2" fmla="*/ 0 h 76898"/>
                  <a:gd name="connsiteX3" fmla="*/ 16446 w 16446"/>
                  <a:gd name="connsiteY3" fmla="*/ 76899 h 76898"/>
                  <a:gd name="connsiteX4" fmla="*/ 0 w 16446"/>
                  <a:gd name="connsiteY4" fmla="*/ 76899 h 768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446" h="76898">
                    <a:moveTo>
                      <a:pt x="0" y="76899"/>
                    </a:moveTo>
                    <a:lnTo>
                      <a:pt x="0" y="0"/>
                    </a:lnTo>
                    <a:lnTo>
                      <a:pt x="16446" y="0"/>
                    </a:lnTo>
                    <a:lnTo>
                      <a:pt x="16446" y="76899"/>
                    </a:lnTo>
                    <a:lnTo>
                      <a:pt x="0" y="76899"/>
                    </a:lnTo>
                    <a:close/>
                  </a:path>
                </a:pathLst>
              </a:custGeom>
              <a:solidFill>
                <a:srgbClr val="B8B7B9"/>
              </a:solidFill>
              <a:ln w="6350"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D4647"/>
                  </a:solidFill>
                  <a:effectLst/>
                  <a:uLnTx/>
                  <a:uFillTx/>
                </a:endParaRPr>
              </a:p>
            </p:txBody>
          </p:sp>
          <p:sp>
            <p:nvSpPr>
              <p:cNvPr id="70" name="Freeform: Shape 69">
                <a:extLst>
                  <a:ext uri="{FF2B5EF4-FFF2-40B4-BE49-F238E27FC236}">
                    <a16:creationId xmlns:a16="http://schemas.microsoft.com/office/drawing/2014/main" id="{63157511-D43C-4555-8DFF-228BD5191FAD}"/>
                  </a:ext>
                </a:extLst>
              </p:cNvPr>
              <p:cNvSpPr/>
              <p:nvPr/>
            </p:nvSpPr>
            <p:spPr>
              <a:xfrm>
                <a:off x="11167998" y="6357873"/>
                <a:ext cx="16382" cy="112903"/>
              </a:xfrm>
              <a:custGeom>
                <a:avLst/>
                <a:gdLst>
                  <a:gd name="connsiteX0" fmla="*/ 0 w 16382"/>
                  <a:gd name="connsiteY0" fmla="*/ 112903 h 112903"/>
                  <a:gd name="connsiteX1" fmla="*/ 0 w 16382"/>
                  <a:gd name="connsiteY1" fmla="*/ 0 h 112903"/>
                  <a:gd name="connsiteX2" fmla="*/ 16383 w 16382"/>
                  <a:gd name="connsiteY2" fmla="*/ 0 h 112903"/>
                  <a:gd name="connsiteX3" fmla="*/ 16383 w 16382"/>
                  <a:gd name="connsiteY3" fmla="*/ 112903 h 112903"/>
                  <a:gd name="connsiteX4" fmla="*/ 0 w 16382"/>
                  <a:gd name="connsiteY4" fmla="*/ 112903 h 1129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382" h="112903">
                    <a:moveTo>
                      <a:pt x="0" y="112903"/>
                    </a:moveTo>
                    <a:lnTo>
                      <a:pt x="0" y="0"/>
                    </a:lnTo>
                    <a:lnTo>
                      <a:pt x="16383" y="0"/>
                    </a:lnTo>
                    <a:lnTo>
                      <a:pt x="16383" y="112903"/>
                    </a:lnTo>
                    <a:lnTo>
                      <a:pt x="0" y="112903"/>
                    </a:lnTo>
                    <a:close/>
                  </a:path>
                </a:pathLst>
              </a:custGeom>
              <a:solidFill>
                <a:srgbClr val="B8B7B9"/>
              </a:solidFill>
              <a:ln w="6350"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D4647"/>
                  </a:solidFill>
                  <a:effectLst/>
                  <a:uLnTx/>
                  <a:uFillTx/>
                </a:endParaRPr>
              </a:p>
            </p:txBody>
          </p:sp>
          <p:sp>
            <p:nvSpPr>
              <p:cNvPr id="71" name="Freeform: Shape 70">
                <a:extLst>
                  <a:ext uri="{FF2B5EF4-FFF2-40B4-BE49-F238E27FC236}">
                    <a16:creationId xmlns:a16="http://schemas.microsoft.com/office/drawing/2014/main" id="{F8A6BD5E-AE51-495E-A97B-65D98DC6B4E1}"/>
                  </a:ext>
                </a:extLst>
              </p:cNvPr>
              <p:cNvSpPr/>
              <p:nvPr/>
            </p:nvSpPr>
            <p:spPr>
              <a:xfrm>
                <a:off x="11233594" y="6393878"/>
                <a:ext cx="16447" cy="76898"/>
              </a:xfrm>
              <a:custGeom>
                <a:avLst/>
                <a:gdLst>
                  <a:gd name="connsiteX0" fmla="*/ 0 w 16447"/>
                  <a:gd name="connsiteY0" fmla="*/ 76899 h 76898"/>
                  <a:gd name="connsiteX1" fmla="*/ 0 w 16447"/>
                  <a:gd name="connsiteY1" fmla="*/ 0 h 76898"/>
                  <a:gd name="connsiteX2" fmla="*/ 16447 w 16447"/>
                  <a:gd name="connsiteY2" fmla="*/ 0 h 76898"/>
                  <a:gd name="connsiteX3" fmla="*/ 16447 w 16447"/>
                  <a:gd name="connsiteY3" fmla="*/ 76899 h 76898"/>
                  <a:gd name="connsiteX4" fmla="*/ 0 w 16447"/>
                  <a:gd name="connsiteY4" fmla="*/ 76899 h 768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447" h="76898">
                    <a:moveTo>
                      <a:pt x="0" y="76899"/>
                    </a:moveTo>
                    <a:lnTo>
                      <a:pt x="0" y="0"/>
                    </a:lnTo>
                    <a:lnTo>
                      <a:pt x="16447" y="0"/>
                    </a:lnTo>
                    <a:lnTo>
                      <a:pt x="16447" y="76899"/>
                    </a:lnTo>
                    <a:lnTo>
                      <a:pt x="0" y="76899"/>
                    </a:lnTo>
                    <a:close/>
                  </a:path>
                </a:pathLst>
              </a:custGeom>
              <a:solidFill>
                <a:srgbClr val="B8B7B9"/>
              </a:solidFill>
              <a:ln w="6350"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D4647"/>
                  </a:solidFill>
                  <a:effectLst/>
                  <a:uLnTx/>
                  <a:uFillTx/>
                </a:endParaRPr>
              </a:p>
            </p:txBody>
          </p:sp>
          <p:sp>
            <p:nvSpPr>
              <p:cNvPr id="72" name="Freeform: Shape 71">
                <a:extLst>
                  <a:ext uri="{FF2B5EF4-FFF2-40B4-BE49-F238E27FC236}">
                    <a16:creationId xmlns:a16="http://schemas.microsoft.com/office/drawing/2014/main" id="{EC1F52B5-570E-4103-B06C-AA7ED1CACB39}"/>
                  </a:ext>
                </a:extLst>
              </p:cNvPr>
              <p:cNvSpPr/>
              <p:nvPr/>
            </p:nvSpPr>
            <p:spPr>
              <a:xfrm>
                <a:off x="11488419" y="6393878"/>
                <a:ext cx="16447" cy="76898"/>
              </a:xfrm>
              <a:custGeom>
                <a:avLst/>
                <a:gdLst>
                  <a:gd name="connsiteX0" fmla="*/ 0 w 16447"/>
                  <a:gd name="connsiteY0" fmla="*/ 76899 h 76898"/>
                  <a:gd name="connsiteX1" fmla="*/ 0 w 16447"/>
                  <a:gd name="connsiteY1" fmla="*/ 0 h 76898"/>
                  <a:gd name="connsiteX2" fmla="*/ 16447 w 16447"/>
                  <a:gd name="connsiteY2" fmla="*/ 0 h 76898"/>
                  <a:gd name="connsiteX3" fmla="*/ 16447 w 16447"/>
                  <a:gd name="connsiteY3" fmla="*/ 76899 h 76898"/>
                  <a:gd name="connsiteX4" fmla="*/ 0 w 16447"/>
                  <a:gd name="connsiteY4" fmla="*/ 76899 h 768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447" h="76898">
                    <a:moveTo>
                      <a:pt x="0" y="76899"/>
                    </a:moveTo>
                    <a:lnTo>
                      <a:pt x="0" y="0"/>
                    </a:lnTo>
                    <a:lnTo>
                      <a:pt x="16447" y="0"/>
                    </a:lnTo>
                    <a:lnTo>
                      <a:pt x="16447" y="76899"/>
                    </a:lnTo>
                    <a:lnTo>
                      <a:pt x="0" y="76899"/>
                    </a:lnTo>
                    <a:close/>
                  </a:path>
                </a:pathLst>
              </a:custGeom>
              <a:solidFill>
                <a:srgbClr val="B8B7B9"/>
              </a:solidFill>
              <a:ln w="6350"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D4647"/>
                  </a:solidFill>
                  <a:effectLst/>
                  <a:uLnTx/>
                  <a:uFillTx/>
                </a:endParaRPr>
              </a:p>
            </p:txBody>
          </p:sp>
          <p:sp>
            <p:nvSpPr>
              <p:cNvPr id="73" name="Freeform: Shape 72">
                <a:extLst>
                  <a:ext uri="{FF2B5EF4-FFF2-40B4-BE49-F238E27FC236}">
                    <a16:creationId xmlns:a16="http://schemas.microsoft.com/office/drawing/2014/main" id="{F4104CB6-7C14-4DAE-AD78-86EEB833A414}"/>
                  </a:ext>
                </a:extLst>
              </p:cNvPr>
              <p:cNvSpPr/>
              <p:nvPr/>
            </p:nvSpPr>
            <p:spPr>
              <a:xfrm>
                <a:off x="11743245" y="6393878"/>
                <a:ext cx="16447" cy="76898"/>
              </a:xfrm>
              <a:custGeom>
                <a:avLst/>
                <a:gdLst>
                  <a:gd name="connsiteX0" fmla="*/ 0 w 16447"/>
                  <a:gd name="connsiteY0" fmla="*/ 76899 h 76898"/>
                  <a:gd name="connsiteX1" fmla="*/ 0 w 16447"/>
                  <a:gd name="connsiteY1" fmla="*/ 0 h 76898"/>
                  <a:gd name="connsiteX2" fmla="*/ 16447 w 16447"/>
                  <a:gd name="connsiteY2" fmla="*/ 0 h 76898"/>
                  <a:gd name="connsiteX3" fmla="*/ 16447 w 16447"/>
                  <a:gd name="connsiteY3" fmla="*/ 76899 h 76898"/>
                  <a:gd name="connsiteX4" fmla="*/ 0 w 16447"/>
                  <a:gd name="connsiteY4" fmla="*/ 76899 h 768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447" h="76898">
                    <a:moveTo>
                      <a:pt x="0" y="76899"/>
                    </a:moveTo>
                    <a:lnTo>
                      <a:pt x="0" y="0"/>
                    </a:lnTo>
                    <a:lnTo>
                      <a:pt x="16447" y="0"/>
                    </a:lnTo>
                    <a:lnTo>
                      <a:pt x="16447" y="76899"/>
                    </a:lnTo>
                    <a:lnTo>
                      <a:pt x="0" y="76899"/>
                    </a:lnTo>
                    <a:close/>
                  </a:path>
                </a:pathLst>
              </a:custGeom>
              <a:solidFill>
                <a:srgbClr val="B8B7B9"/>
              </a:solidFill>
              <a:ln w="6350"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D4647"/>
                  </a:solidFill>
                  <a:effectLst/>
                  <a:uLnTx/>
                  <a:uFillTx/>
                </a:endParaRPr>
              </a:p>
            </p:txBody>
          </p:sp>
          <p:sp>
            <p:nvSpPr>
              <p:cNvPr id="74" name="Freeform: Shape 73">
                <a:extLst>
                  <a:ext uri="{FF2B5EF4-FFF2-40B4-BE49-F238E27FC236}">
                    <a16:creationId xmlns:a16="http://schemas.microsoft.com/office/drawing/2014/main" id="{C0F8F235-261E-4336-A0CE-6A19625BE5FE}"/>
                  </a:ext>
                </a:extLst>
              </p:cNvPr>
              <p:cNvSpPr/>
              <p:nvPr/>
            </p:nvSpPr>
            <p:spPr>
              <a:xfrm>
                <a:off x="11296650" y="6393878"/>
                <a:ext cx="16446" cy="76898"/>
              </a:xfrm>
              <a:custGeom>
                <a:avLst/>
                <a:gdLst>
                  <a:gd name="connsiteX0" fmla="*/ 0 w 16446"/>
                  <a:gd name="connsiteY0" fmla="*/ 76899 h 76898"/>
                  <a:gd name="connsiteX1" fmla="*/ 0 w 16446"/>
                  <a:gd name="connsiteY1" fmla="*/ 0 h 76898"/>
                  <a:gd name="connsiteX2" fmla="*/ 16446 w 16446"/>
                  <a:gd name="connsiteY2" fmla="*/ 0 h 76898"/>
                  <a:gd name="connsiteX3" fmla="*/ 16446 w 16446"/>
                  <a:gd name="connsiteY3" fmla="*/ 76899 h 76898"/>
                  <a:gd name="connsiteX4" fmla="*/ 0 w 16446"/>
                  <a:gd name="connsiteY4" fmla="*/ 76899 h 768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446" h="76898">
                    <a:moveTo>
                      <a:pt x="0" y="76899"/>
                    </a:moveTo>
                    <a:lnTo>
                      <a:pt x="0" y="0"/>
                    </a:lnTo>
                    <a:lnTo>
                      <a:pt x="16446" y="0"/>
                    </a:lnTo>
                    <a:lnTo>
                      <a:pt x="16446" y="76899"/>
                    </a:lnTo>
                    <a:lnTo>
                      <a:pt x="0" y="76899"/>
                    </a:lnTo>
                    <a:close/>
                  </a:path>
                </a:pathLst>
              </a:custGeom>
              <a:solidFill>
                <a:srgbClr val="B8B7B9"/>
              </a:solidFill>
              <a:ln w="6350"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D4647"/>
                  </a:solidFill>
                  <a:effectLst/>
                  <a:uLnTx/>
                  <a:uFillTx/>
                </a:endParaRPr>
              </a:p>
            </p:txBody>
          </p:sp>
          <p:sp>
            <p:nvSpPr>
              <p:cNvPr id="75" name="Freeform: Shape 74">
                <a:extLst>
                  <a:ext uri="{FF2B5EF4-FFF2-40B4-BE49-F238E27FC236}">
                    <a16:creationId xmlns:a16="http://schemas.microsoft.com/office/drawing/2014/main" id="{C43687C3-EADD-49D3-BA73-81B3E98CD1BE}"/>
                  </a:ext>
                </a:extLst>
              </p:cNvPr>
              <p:cNvSpPr/>
              <p:nvPr/>
            </p:nvSpPr>
            <p:spPr>
              <a:xfrm>
                <a:off x="11551475" y="6393878"/>
                <a:ext cx="16446" cy="76898"/>
              </a:xfrm>
              <a:custGeom>
                <a:avLst/>
                <a:gdLst>
                  <a:gd name="connsiteX0" fmla="*/ 0 w 16446"/>
                  <a:gd name="connsiteY0" fmla="*/ 76899 h 76898"/>
                  <a:gd name="connsiteX1" fmla="*/ 0 w 16446"/>
                  <a:gd name="connsiteY1" fmla="*/ 0 h 76898"/>
                  <a:gd name="connsiteX2" fmla="*/ 16446 w 16446"/>
                  <a:gd name="connsiteY2" fmla="*/ 0 h 76898"/>
                  <a:gd name="connsiteX3" fmla="*/ 16446 w 16446"/>
                  <a:gd name="connsiteY3" fmla="*/ 76899 h 76898"/>
                  <a:gd name="connsiteX4" fmla="*/ 0 w 16446"/>
                  <a:gd name="connsiteY4" fmla="*/ 76899 h 768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446" h="76898">
                    <a:moveTo>
                      <a:pt x="0" y="76899"/>
                    </a:moveTo>
                    <a:lnTo>
                      <a:pt x="0" y="0"/>
                    </a:lnTo>
                    <a:lnTo>
                      <a:pt x="16446" y="0"/>
                    </a:lnTo>
                    <a:lnTo>
                      <a:pt x="16446" y="76899"/>
                    </a:lnTo>
                    <a:lnTo>
                      <a:pt x="0" y="76899"/>
                    </a:lnTo>
                    <a:close/>
                  </a:path>
                </a:pathLst>
              </a:custGeom>
              <a:solidFill>
                <a:srgbClr val="B8B7B9"/>
              </a:solidFill>
              <a:ln w="6350"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D4647"/>
                  </a:solidFill>
                  <a:effectLst/>
                  <a:uLnTx/>
                  <a:uFillTx/>
                </a:endParaRPr>
              </a:p>
            </p:txBody>
          </p:sp>
          <p:sp>
            <p:nvSpPr>
              <p:cNvPr id="76" name="Freeform: Shape 75">
                <a:extLst>
                  <a:ext uri="{FF2B5EF4-FFF2-40B4-BE49-F238E27FC236}">
                    <a16:creationId xmlns:a16="http://schemas.microsoft.com/office/drawing/2014/main" id="{D8357641-D1C5-4B2F-B365-CB9A77A9E1CB}"/>
                  </a:ext>
                </a:extLst>
              </p:cNvPr>
              <p:cNvSpPr/>
              <p:nvPr/>
            </p:nvSpPr>
            <p:spPr>
              <a:xfrm>
                <a:off x="11806301" y="6393878"/>
                <a:ext cx="16446" cy="76898"/>
              </a:xfrm>
              <a:custGeom>
                <a:avLst/>
                <a:gdLst>
                  <a:gd name="connsiteX0" fmla="*/ 0 w 16446"/>
                  <a:gd name="connsiteY0" fmla="*/ 76899 h 76898"/>
                  <a:gd name="connsiteX1" fmla="*/ 0 w 16446"/>
                  <a:gd name="connsiteY1" fmla="*/ 0 h 76898"/>
                  <a:gd name="connsiteX2" fmla="*/ 16446 w 16446"/>
                  <a:gd name="connsiteY2" fmla="*/ 0 h 76898"/>
                  <a:gd name="connsiteX3" fmla="*/ 16446 w 16446"/>
                  <a:gd name="connsiteY3" fmla="*/ 76899 h 76898"/>
                  <a:gd name="connsiteX4" fmla="*/ 0 w 16446"/>
                  <a:gd name="connsiteY4" fmla="*/ 76899 h 768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446" h="76898">
                    <a:moveTo>
                      <a:pt x="0" y="76899"/>
                    </a:moveTo>
                    <a:lnTo>
                      <a:pt x="0" y="0"/>
                    </a:lnTo>
                    <a:lnTo>
                      <a:pt x="16446" y="0"/>
                    </a:lnTo>
                    <a:lnTo>
                      <a:pt x="16446" y="76899"/>
                    </a:lnTo>
                    <a:lnTo>
                      <a:pt x="0" y="76899"/>
                    </a:lnTo>
                    <a:close/>
                  </a:path>
                </a:pathLst>
              </a:custGeom>
              <a:solidFill>
                <a:srgbClr val="B8B7B9"/>
              </a:solidFill>
              <a:ln w="6350"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D4647"/>
                  </a:solidFill>
                  <a:effectLst/>
                  <a:uLnTx/>
                  <a:uFillTx/>
                </a:endParaRPr>
              </a:p>
            </p:txBody>
          </p:sp>
          <p:sp>
            <p:nvSpPr>
              <p:cNvPr id="77" name="Freeform: Shape 76">
                <a:extLst>
                  <a:ext uri="{FF2B5EF4-FFF2-40B4-BE49-F238E27FC236}">
                    <a16:creationId xmlns:a16="http://schemas.microsoft.com/office/drawing/2014/main" id="{46495F8F-0348-43A4-8358-40057088198F}"/>
                  </a:ext>
                </a:extLst>
              </p:cNvPr>
              <p:cNvSpPr/>
              <p:nvPr/>
            </p:nvSpPr>
            <p:spPr>
              <a:xfrm>
                <a:off x="11359705" y="6393878"/>
                <a:ext cx="16446" cy="76898"/>
              </a:xfrm>
              <a:custGeom>
                <a:avLst/>
                <a:gdLst>
                  <a:gd name="connsiteX0" fmla="*/ 0 w 16446"/>
                  <a:gd name="connsiteY0" fmla="*/ 76899 h 76898"/>
                  <a:gd name="connsiteX1" fmla="*/ 0 w 16446"/>
                  <a:gd name="connsiteY1" fmla="*/ 0 h 76898"/>
                  <a:gd name="connsiteX2" fmla="*/ 16446 w 16446"/>
                  <a:gd name="connsiteY2" fmla="*/ 0 h 76898"/>
                  <a:gd name="connsiteX3" fmla="*/ 16446 w 16446"/>
                  <a:gd name="connsiteY3" fmla="*/ 76899 h 76898"/>
                  <a:gd name="connsiteX4" fmla="*/ 0 w 16446"/>
                  <a:gd name="connsiteY4" fmla="*/ 76899 h 768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446" h="76898">
                    <a:moveTo>
                      <a:pt x="0" y="76899"/>
                    </a:moveTo>
                    <a:lnTo>
                      <a:pt x="0" y="0"/>
                    </a:lnTo>
                    <a:lnTo>
                      <a:pt x="16446" y="0"/>
                    </a:lnTo>
                    <a:lnTo>
                      <a:pt x="16446" y="76899"/>
                    </a:lnTo>
                    <a:lnTo>
                      <a:pt x="0" y="76899"/>
                    </a:lnTo>
                    <a:close/>
                  </a:path>
                </a:pathLst>
              </a:custGeom>
              <a:solidFill>
                <a:srgbClr val="B8B7B9"/>
              </a:solidFill>
              <a:ln w="6350"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D4647"/>
                  </a:solidFill>
                  <a:effectLst/>
                  <a:uLnTx/>
                  <a:uFillTx/>
                </a:endParaRPr>
              </a:p>
            </p:txBody>
          </p:sp>
          <p:sp>
            <p:nvSpPr>
              <p:cNvPr id="78" name="Freeform: Shape 77">
                <a:extLst>
                  <a:ext uri="{FF2B5EF4-FFF2-40B4-BE49-F238E27FC236}">
                    <a16:creationId xmlns:a16="http://schemas.microsoft.com/office/drawing/2014/main" id="{A3AB7FCF-0813-424F-ACF8-027017E9AA29}"/>
                  </a:ext>
                </a:extLst>
              </p:cNvPr>
              <p:cNvSpPr/>
              <p:nvPr/>
            </p:nvSpPr>
            <p:spPr>
              <a:xfrm>
                <a:off x="11614594" y="6393878"/>
                <a:ext cx="16383" cy="76898"/>
              </a:xfrm>
              <a:custGeom>
                <a:avLst/>
                <a:gdLst>
                  <a:gd name="connsiteX0" fmla="*/ 0 w 16383"/>
                  <a:gd name="connsiteY0" fmla="*/ 76899 h 76898"/>
                  <a:gd name="connsiteX1" fmla="*/ 0 w 16383"/>
                  <a:gd name="connsiteY1" fmla="*/ 0 h 76898"/>
                  <a:gd name="connsiteX2" fmla="*/ 16383 w 16383"/>
                  <a:gd name="connsiteY2" fmla="*/ 0 h 76898"/>
                  <a:gd name="connsiteX3" fmla="*/ 16383 w 16383"/>
                  <a:gd name="connsiteY3" fmla="*/ 76899 h 76898"/>
                  <a:gd name="connsiteX4" fmla="*/ 0 w 16383"/>
                  <a:gd name="connsiteY4" fmla="*/ 76899 h 768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383" h="76898">
                    <a:moveTo>
                      <a:pt x="0" y="76899"/>
                    </a:moveTo>
                    <a:lnTo>
                      <a:pt x="0" y="0"/>
                    </a:lnTo>
                    <a:lnTo>
                      <a:pt x="16383" y="0"/>
                    </a:lnTo>
                    <a:lnTo>
                      <a:pt x="16383" y="76899"/>
                    </a:lnTo>
                    <a:lnTo>
                      <a:pt x="0" y="76899"/>
                    </a:lnTo>
                    <a:close/>
                  </a:path>
                </a:pathLst>
              </a:custGeom>
              <a:solidFill>
                <a:srgbClr val="B8B7B9"/>
              </a:solidFill>
              <a:ln w="6350"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D4647"/>
                  </a:solidFill>
                  <a:effectLst/>
                  <a:uLnTx/>
                  <a:uFillTx/>
                </a:endParaRPr>
              </a:p>
            </p:txBody>
          </p:sp>
          <p:sp>
            <p:nvSpPr>
              <p:cNvPr id="79" name="Freeform: Shape 78">
                <a:extLst>
                  <a:ext uri="{FF2B5EF4-FFF2-40B4-BE49-F238E27FC236}">
                    <a16:creationId xmlns:a16="http://schemas.microsoft.com/office/drawing/2014/main" id="{525AC9BF-5ACD-4CE6-919A-B81D30511CB6}"/>
                  </a:ext>
                </a:extLst>
              </p:cNvPr>
              <p:cNvSpPr/>
              <p:nvPr/>
            </p:nvSpPr>
            <p:spPr>
              <a:xfrm>
                <a:off x="11869419" y="6393878"/>
                <a:ext cx="16383" cy="76898"/>
              </a:xfrm>
              <a:custGeom>
                <a:avLst/>
                <a:gdLst>
                  <a:gd name="connsiteX0" fmla="*/ 0 w 16383"/>
                  <a:gd name="connsiteY0" fmla="*/ 76899 h 76898"/>
                  <a:gd name="connsiteX1" fmla="*/ 0 w 16383"/>
                  <a:gd name="connsiteY1" fmla="*/ 0 h 76898"/>
                  <a:gd name="connsiteX2" fmla="*/ 16383 w 16383"/>
                  <a:gd name="connsiteY2" fmla="*/ 0 h 76898"/>
                  <a:gd name="connsiteX3" fmla="*/ 16383 w 16383"/>
                  <a:gd name="connsiteY3" fmla="*/ 76899 h 76898"/>
                  <a:gd name="connsiteX4" fmla="*/ 0 w 16383"/>
                  <a:gd name="connsiteY4" fmla="*/ 76899 h 768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383" h="76898">
                    <a:moveTo>
                      <a:pt x="0" y="76899"/>
                    </a:moveTo>
                    <a:lnTo>
                      <a:pt x="0" y="0"/>
                    </a:lnTo>
                    <a:lnTo>
                      <a:pt x="16383" y="0"/>
                    </a:lnTo>
                    <a:lnTo>
                      <a:pt x="16383" y="76899"/>
                    </a:lnTo>
                    <a:lnTo>
                      <a:pt x="0" y="76899"/>
                    </a:lnTo>
                    <a:close/>
                  </a:path>
                </a:pathLst>
              </a:custGeom>
              <a:solidFill>
                <a:srgbClr val="B8B7B9"/>
              </a:solidFill>
              <a:ln w="6350"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D4647"/>
                  </a:solidFill>
                  <a:effectLst/>
                  <a:uLnTx/>
                  <a:uFillTx/>
                </a:endParaRPr>
              </a:p>
            </p:txBody>
          </p:sp>
          <p:sp>
            <p:nvSpPr>
              <p:cNvPr id="80" name="Freeform: Shape 79">
                <a:extLst>
                  <a:ext uri="{FF2B5EF4-FFF2-40B4-BE49-F238E27FC236}">
                    <a16:creationId xmlns:a16="http://schemas.microsoft.com/office/drawing/2014/main" id="{AC396447-7DEC-48B7-B978-51DD8EC63955}"/>
                  </a:ext>
                </a:extLst>
              </p:cNvPr>
              <p:cNvSpPr/>
              <p:nvPr/>
            </p:nvSpPr>
            <p:spPr>
              <a:xfrm>
                <a:off x="11422824" y="6357873"/>
                <a:ext cx="16382" cy="112903"/>
              </a:xfrm>
              <a:custGeom>
                <a:avLst/>
                <a:gdLst>
                  <a:gd name="connsiteX0" fmla="*/ 0 w 16382"/>
                  <a:gd name="connsiteY0" fmla="*/ 112903 h 112903"/>
                  <a:gd name="connsiteX1" fmla="*/ 0 w 16382"/>
                  <a:gd name="connsiteY1" fmla="*/ 0 h 112903"/>
                  <a:gd name="connsiteX2" fmla="*/ 16383 w 16382"/>
                  <a:gd name="connsiteY2" fmla="*/ 0 h 112903"/>
                  <a:gd name="connsiteX3" fmla="*/ 16383 w 16382"/>
                  <a:gd name="connsiteY3" fmla="*/ 112903 h 112903"/>
                  <a:gd name="connsiteX4" fmla="*/ 0 w 16382"/>
                  <a:gd name="connsiteY4" fmla="*/ 112903 h 1129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382" h="112903">
                    <a:moveTo>
                      <a:pt x="0" y="112903"/>
                    </a:moveTo>
                    <a:lnTo>
                      <a:pt x="0" y="0"/>
                    </a:lnTo>
                    <a:lnTo>
                      <a:pt x="16383" y="0"/>
                    </a:lnTo>
                    <a:lnTo>
                      <a:pt x="16383" y="112903"/>
                    </a:lnTo>
                    <a:lnTo>
                      <a:pt x="0" y="112903"/>
                    </a:lnTo>
                    <a:close/>
                  </a:path>
                </a:pathLst>
              </a:custGeom>
              <a:solidFill>
                <a:srgbClr val="B8B7B9"/>
              </a:solidFill>
              <a:ln w="6350"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D4647"/>
                  </a:solidFill>
                  <a:effectLst/>
                  <a:uLnTx/>
                  <a:uFillTx/>
                </a:endParaRPr>
              </a:p>
            </p:txBody>
          </p:sp>
          <p:sp>
            <p:nvSpPr>
              <p:cNvPr id="81" name="Freeform: Shape 80">
                <a:extLst>
                  <a:ext uri="{FF2B5EF4-FFF2-40B4-BE49-F238E27FC236}">
                    <a16:creationId xmlns:a16="http://schemas.microsoft.com/office/drawing/2014/main" id="{87375B46-6B92-4464-8171-A51F81DAD3C7}"/>
                  </a:ext>
                </a:extLst>
              </p:cNvPr>
              <p:cNvSpPr/>
              <p:nvPr/>
            </p:nvSpPr>
            <p:spPr>
              <a:xfrm>
                <a:off x="11677650" y="6357873"/>
                <a:ext cx="16446" cy="112903"/>
              </a:xfrm>
              <a:custGeom>
                <a:avLst/>
                <a:gdLst>
                  <a:gd name="connsiteX0" fmla="*/ 0 w 16446"/>
                  <a:gd name="connsiteY0" fmla="*/ 112903 h 112903"/>
                  <a:gd name="connsiteX1" fmla="*/ 0 w 16446"/>
                  <a:gd name="connsiteY1" fmla="*/ 0 h 112903"/>
                  <a:gd name="connsiteX2" fmla="*/ 16446 w 16446"/>
                  <a:gd name="connsiteY2" fmla="*/ 0 h 112903"/>
                  <a:gd name="connsiteX3" fmla="*/ 16446 w 16446"/>
                  <a:gd name="connsiteY3" fmla="*/ 112903 h 112903"/>
                  <a:gd name="connsiteX4" fmla="*/ 0 w 16446"/>
                  <a:gd name="connsiteY4" fmla="*/ 112903 h 1129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446" h="112903">
                    <a:moveTo>
                      <a:pt x="0" y="112903"/>
                    </a:moveTo>
                    <a:lnTo>
                      <a:pt x="0" y="0"/>
                    </a:lnTo>
                    <a:lnTo>
                      <a:pt x="16446" y="0"/>
                    </a:lnTo>
                    <a:lnTo>
                      <a:pt x="16446" y="112903"/>
                    </a:lnTo>
                    <a:lnTo>
                      <a:pt x="0" y="112903"/>
                    </a:lnTo>
                    <a:close/>
                  </a:path>
                </a:pathLst>
              </a:custGeom>
              <a:solidFill>
                <a:srgbClr val="B8B7B9"/>
              </a:solidFill>
              <a:ln w="6350"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D4647"/>
                  </a:solidFill>
                  <a:effectLst/>
                  <a:uLnTx/>
                  <a:uFillTx/>
                </a:endParaRPr>
              </a:p>
            </p:txBody>
          </p:sp>
        </p:grpSp>
        <p:sp>
          <p:nvSpPr>
            <p:cNvPr id="58" name="Freeform: Shape 57">
              <a:extLst>
                <a:ext uri="{FF2B5EF4-FFF2-40B4-BE49-F238E27FC236}">
                  <a16:creationId xmlns:a16="http://schemas.microsoft.com/office/drawing/2014/main" id="{EAF4DB2F-0ADB-4695-B312-8F915EF22EEF}"/>
                </a:ext>
              </a:extLst>
            </p:cNvPr>
            <p:cNvSpPr/>
            <p:nvPr/>
          </p:nvSpPr>
          <p:spPr>
            <a:xfrm rot="5400000" flipV="1">
              <a:off x="11916016" y="424307"/>
              <a:ext cx="43688" cy="43687"/>
            </a:xfrm>
            <a:custGeom>
              <a:avLst/>
              <a:gdLst>
                <a:gd name="connsiteX0" fmla="*/ 0 w 43688"/>
                <a:gd name="connsiteY0" fmla="*/ 0 h 43687"/>
                <a:gd name="connsiteX1" fmla="*/ 43688 w 43688"/>
                <a:gd name="connsiteY1" fmla="*/ 0 h 43687"/>
                <a:gd name="connsiteX2" fmla="*/ 43688 w 43688"/>
                <a:gd name="connsiteY2" fmla="*/ 43688 h 43687"/>
                <a:gd name="connsiteX3" fmla="*/ 0 w 43688"/>
                <a:gd name="connsiteY3" fmla="*/ 43688 h 43687"/>
              </a:gdLst>
              <a:ahLst/>
              <a:cxnLst>
                <a:cxn ang="0">
                  <a:pos x="connsiteX0" y="connsiteY0"/>
                </a:cxn>
                <a:cxn ang="0">
                  <a:pos x="connsiteX1" y="connsiteY1"/>
                </a:cxn>
                <a:cxn ang="0">
                  <a:pos x="connsiteX2" y="connsiteY2"/>
                </a:cxn>
                <a:cxn ang="0">
                  <a:pos x="connsiteX3" y="connsiteY3"/>
                </a:cxn>
              </a:cxnLst>
              <a:rect l="l" t="t" r="r" b="b"/>
              <a:pathLst>
                <a:path w="43688" h="43687">
                  <a:moveTo>
                    <a:pt x="0" y="0"/>
                  </a:moveTo>
                  <a:lnTo>
                    <a:pt x="43688" y="0"/>
                  </a:lnTo>
                  <a:lnTo>
                    <a:pt x="43688" y="43688"/>
                  </a:lnTo>
                  <a:lnTo>
                    <a:pt x="0" y="43688"/>
                  </a:lnTo>
                  <a:close/>
                </a:path>
              </a:pathLst>
            </a:custGeom>
            <a:noFill/>
            <a:ln w="3175" cap="flat">
              <a:solidFill>
                <a:srgbClr val="FFFFFF">
                  <a:lumMod val="50000"/>
                </a:srgbClr>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D4647"/>
                </a:solidFill>
                <a:effectLst/>
                <a:uLnTx/>
                <a:uFillTx/>
              </a:endParaRPr>
            </a:p>
          </p:txBody>
        </p:sp>
        <p:grpSp>
          <p:nvGrpSpPr>
            <p:cNvPr id="59" name="Graphic 42">
              <a:extLst>
                <a:ext uri="{FF2B5EF4-FFF2-40B4-BE49-F238E27FC236}">
                  <a16:creationId xmlns:a16="http://schemas.microsoft.com/office/drawing/2014/main" id="{1FCA7EAD-3184-49B1-B496-D7B65DDA290E}"/>
                </a:ext>
              </a:extLst>
            </p:cNvPr>
            <p:cNvGrpSpPr/>
            <p:nvPr/>
          </p:nvGrpSpPr>
          <p:grpSpPr>
            <a:xfrm flipV="1">
              <a:off x="11901678" y="535622"/>
              <a:ext cx="73152" cy="410654"/>
              <a:chOff x="11838178" y="5791517"/>
              <a:chExt cx="73152" cy="410654"/>
            </a:xfrm>
            <a:solidFill>
              <a:srgbClr val="FFFFFF">
                <a:lumMod val="50000"/>
              </a:srgbClr>
            </a:solidFill>
          </p:grpSpPr>
          <p:grpSp>
            <p:nvGrpSpPr>
              <p:cNvPr id="60" name="Graphic 42">
                <a:extLst>
                  <a:ext uri="{FF2B5EF4-FFF2-40B4-BE49-F238E27FC236}">
                    <a16:creationId xmlns:a16="http://schemas.microsoft.com/office/drawing/2014/main" id="{DA94B54E-1DD0-4BF0-8715-7434AE97E1AC}"/>
                  </a:ext>
                </a:extLst>
              </p:cNvPr>
              <p:cNvGrpSpPr/>
              <p:nvPr/>
            </p:nvGrpSpPr>
            <p:grpSpPr>
              <a:xfrm>
                <a:off x="11854497" y="5791517"/>
                <a:ext cx="42418" cy="282892"/>
                <a:chOff x="11854497" y="5791517"/>
                <a:chExt cx="42418" cy="282892"/>
              </a:xfrm>
              <a:grpFill/>
            </p:grpSpPr>
            <p:sp>
              <p:nvSpPr>
                <p:cNvPr id="62" name="Freeform: Shape 61">
                  <a:extLst>
                    <a:ext uri="{FF2B5EF4-FFF2-40B4-BE49-F238E27FC236}">
                      <a16:creationId xmlns:a16="http://schemas.microsoft.com/office/drawing/2014/main" id="{66B162D9-E465-4942-A12E-B67F1FEFDAF2}"/>
                    </a:ext>
                  </a:extLst>
                </p:cNvPr>
                <p:cNvSpPr/>
                <p:nvPr/>
              </p:nvSpPr>
              <p:spPr>
                <a:xfrm>
                  <a:off x="11855259" y="5891022"/>
                  <a:ext cx="41655" cy="4381"/>
                </a:xfrm>
                <a:custGeom>
                  <a:avLst/>
                  <a:gdLst>
                    <a:gd name="connsiteX0" fmla="*/ 0 w 41655"/>
                    <a:gd name="connsiteY0" fmla="*/ 0 h 4381"/>
                    <a:gd name="connsiteX1" fmla="*/ 41656 w 41655"/>
                    <a:gd name="connsiteY1" fmla="*/ 0 h 4381"/>
                    <a:gd name="connsiteX2" fmla="*/ 41656 w 41655"/>
                    <a:gd name="connsiteY2" fmla="*/ 4381 h 4381"/>
                    <a:gd name="connsiteX3" fmla="*/ 0 w 41655"/>
                    <a:gd name="connsiteY3" fmla="*/ 4381 h 4381"/>
                  </a:gdLst>
                  <a:ahLst/>
                  <a:cxnLst>
                    <a:cxn ang="0">
                      <a:pos x="connsiteX0" y="connsiteY0"/>
                    </a:cxn>
                    <a:cxn ang="0">
                      <a:pos x="connsiteX1" y="connsiteY1"/>
                    </a:cxn>
                    <a:cxn ang="0">
                      <a:pos x="connsiteX2" y="connsiteY2"/>
                    </a:cxn>
                    <a:cxn ang="0">
                      <a:pos x="connsiteX3" y="connsiteY3"/>
                    </a:cxn>
                  </a:cxnLst>
                  <a:rect l="l" t="t" r="r" b="b"/>
                  <a:pathLst>
                    <a:path w="41655" h="4381">
                      <a:moveTo>
                        <a:pt x="0" y="0"/>
                      </a:moveTo>
                      <a:lnTo>
                        <a:pt x="41656" y="0"/>
                      </a:lnTo>
                      <a:lnTo>
                        <a:pt x="41656" y="4381"/>
                      </a:lnTo>
                      <a:lnTo>
                        <a:pt x="0" y="4381"/>
                      </a:lnTo>
                      <a:close/>
                    </a:path>
                  </a:pathLst>
                </a:custGeom>
                <a:grpFill/>
                <a:ln w="6350"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D4647"/>
                    </a:solidFill>
                    <a:effectLst/>
                    <a:uLnTx/>
                    <a:uFillTx/>
                  </a:endParaRPr>
                </a:p>
              </p:txBody>
            </p:sp>
            <p:sp>
              <p:nvSpPr>
                <p:cNvPr id="63" name="Freeform: Shape 62">
                  <a:extLst>
                    <a:ext uri="{FF2B5EF4-FFF2-40B4-BE49-F238E27FC236}">
                      <a16:creationId xmlns:a16="http://schemas.microsoft.com/office/drawing/2014/main" id="{CB934803-47FF-4567-974F-1F0D936C8850}"/>
                    </a:ext>
                  </a:extLst>
                </p:cNvPr>
                <p:cNvSpPr/>
                <p:nvPr/>
              </p:nvSpPr>
              <p:spPr>
                <a:xfrm>
                  <a:off x="11855259" y="5955538"/>
                  <a:ext cx="41655" cy="4381"/>
                </a:xfrm>
                <a:custGeom>
                  <a:avLst/>
                  <a:gdLst>
                    <a:gd name="connsiteX0" fmla="*/ 0 w 41655"/>
                    <a:gd name="connsiteY0" fmla="*/ 0 h 4381"/>
                    <a:gd name="connsiteX1" fmla="*/ 41656 w 41655"/>
                    <a:gd name="connsiteY1" fmla="*/ 0 h 4381"/>
                    <a:gd name="connsiteX2" fmla="*/ 41656 w 41655"/>
                    <a:gd name="connsiteY2" fmla="*/ 4382 h 4381"/>
                    <a:gd name="connsiteX3" fmla="*/ 0 w 41655"/>
                    <a:gd name="connsiteY3" fmla="*/ 4382 h 4381"/>
                  </a:gdLst>
                  <a:ahLst/>
                  <a:cxnLst>
                    <a:cxn ang="0">
                      <a:pos x="connsiteX0" y="connsiteY0"/>
                    </a:cxn>
                    <a:cxn ang="0">
                      <a:pos x="connsiteX1" y="connsiteY1"/>
                    </a:cxn>
                    <a:cxn ang="0">
                      <a:pos x="connsiteX2" y="connsiteY2"/>
                    </a:cxn>
                    <a:cxn ang="0">
                      <a:pos x="connsiteX3" y="connsiteY3"/>
                    </a:cxn>
                  </a:cxnLst>
                  <a:rect l="l" t="t" r="r" b="b"/>
                  <a:pathLst>
                    <a:path w="41655" h="4381">
                      <a:moveTo>
                        <a:pt x="0" y="0"/>
                      </a:moveTo>
                      <a:lnTo>
                        <a:pt x="41656" y="0"/>
                      </a:lnTo>
                      <a:lnTo>
                        <a:pt x="41656" y="4382"/>
                      </a:lnTo>
                      <a:lnTo>
                        <a:pt x="0" y="4382"/>
                      </a:lnTo>
                      <a:close/>
                    </a:path>
                  </a:pathLst>
                </a:custGeom>
                <a:grpFill/>
                <a:ln w="6350"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D4647"/>
                    </a:solidFill>
                    <a:effectLst/>
                    <a:uLnTx/>
                    <a:uFillTx/>
                  </a:endParaRPr>
                </a:p>
              </p:txBody>
            </p:sp>
            <p:sp>
              <p:nvSpPr>
                <p:cNvPr id="64" name="Freeform: Shape 63">
                  <a:extLst>
                    <a:ext uri="{FF2B5EF4-FFF2-40B4-BE49-F238E27FC236}">
                      <a16:creationId xmlns:a16="http://schemas.microsoft.com/office/drawing/2014/main" id="{1EBB755F-67CD-4F4F-98E3-B472216D9716}"/>
                    </a:ext>
                  </a:extLst>
                </p:cNvPr>
                <p:cNvSpPr/>
                <p:nvPr/>
              </p:nvSpPr>
              <p:spPr>
                <a:xfrm>
                  <a:off x="11855259" y="6011545"/>
                  <a:ext cx="41655" cy="4381"/>
                </a:xfrm>
                <a:custGeom>
                  <a:avLst/>
                  <a:gdLst>
                    <a:gd name="connsiteX0" fmla="*/ 0 w 41655"/>
                    <a:gd name="connsiteY0" fmla="*/ 0 h 4381"/>
                    <a:gd name="connsiteX1" fmla="*/ 41656 w 41655"/>
                    <a:gd name="connsiteY1" fmla="*/ 0 h 4381"/>
                    <a:gd name="connsiteX2" fmla="*/ 41656 w 41655"/>
                    <a:gd name="connsiteY2" fmla="*/ 4382 h 4381"/>
                    <a:gd name="connsiteX3" fmla="*/ 0 w 41655"/>
                    <a:gd name="connsiteY3" fmla="*/ 4382 h 4381"/>
                  </a:gdLst>
                  <a:ahLst/>
                  <a:cxnLst>
                    <a:cxn ang="0">
                      <a:pos x="connsiteX0" y="connsiteY0"/>
                    </a:cxn>
                    <a:cxn ang="0">
                      <a:pos x="connsiteX1" y="connsiteY1"/>
                    </a:cxn>
                    <a:cxn ang="0">
                      <a:pos x="connsiteX2" y="connsiteY2"/>
                    </a:cxn>
                    <a:cxn ang="0">
                      <a:pos x="connsiteX3" y="connsiteY3"/>
                    </a:cxn>
                  </a:cxnLst>
                  <a:rect l="l" t="t" r="r" b="b"/>
                  <a:pathLst>
                    <a:path w="41655" h="4381">
                      <a:moveTo>
                        <a:pt x="0" y="0"/>
                      </a:moveTo>
                      <a:lnTo>
                        <a:pt x="41656" y="0"/>
                      </a:lnTo>
                      <a:lnTo>
                        <a:pt x="41656" y="4382"/>
                      </a:lnTo>
                      <a:lnTo>
                        <a:pt x="0" y="4382"/>
                      </a:lnTo>
                      <a:close/>
                    </a:path>
                  </a:pathLst>
                </a:custGeom>
                <a:grpFill/>
                <a:ln w="6350"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D4647"/>
                    </a:solidFill>
                    <a:effectLst/>
                    <a:uLnTx/>
                    <a:uFillTx/>
                  </a:endParaRPr>
                </a:p>
              </p:txBody>
            </p:sp>
            <p:sp>
              <p:nvSpPr>
                <p:cNvPr id="65" name="Freeform: Shape 64">
                  <a:extLst>
                    <a:ext uri="{FF2B5EF4-FFF2-40B4-BE49-F238E27FC236}">
                      <a16:creationId xmlns:a16="http://schemas.microsoft.com/office/drawing/2014/main" id="{2515DE91-B6E2-4080-8865-EF498771BD19}"/>
                    </a:ext>
                  </a:extLst>
                </p:cNvPr>
                <p:cNvSpPr/>
                <p:nvPr/>
              </p:nvSpPr>
              <p:spPr>
                <a:xfrm>
                  <a:off x="11855259" y="6070028"/>
                  <a:ext cx="41655" cy="4381"/>
                </a:xfrm>
                <a:custGeom>
                  <a:avLst/>
                  <a:gdLst>
                    <a:gd name="connsiteX0" fmla="*/ 0 w 41655"/>
                    <a:gd name="connsiteY0" fmla="*/ 0 h 4381"/>
                    <a:gd name="connsiteX1" fmla="*/ 41656 w 41655"/>
                    <a:gd name="connsiteY1" fmla="*/ 0 h 4381"/>
                    <a:gd name="connsiteX2" fmla="*/ 41656 w 41655"/>
                    <a:gd name="connsiteY2" fmla="*/ 4381 h 4381"/>
                    <a:gd name="connsiteX3" fmla="*/ 0 w 41655"/>
                    <a:gd name="connsiteY3" fmla="*/ 4381 h 4381"/>
                  </a:gdLst>
                  <a:ahLst/>
                  <a:cxnLst>
                    <a:cxn ang="0">
                      <a:pos x="connsiteX0" y="connsiteY0"/>
                    </a:cxn>
                    <a:cxn ang="0">
                      <a:pos x="connsiteX1" y="connsiteY1"/>
                    </a:cxn>
                    <a:cxn ang="0">
                      <a:pos x="connsiteX2" y="connsiteY2"/>
                    </a:cxn>
                    <a:cxn ang="0">
                      <a:pos x="connsiteX3" y="connsiteY3"/>
                    </a:cxn>
                  </a:cxnLst>
                  <a:rect l="l" t="t" r="r" b="b"/>
                  <a:pathLst>
                    <a:path w="41655" h="4381">
                      <a:moveTo>
                        <a:pt x="0" y="0"/>
                      </a:moveTo>
                      <a:lnTo>
                        <a:pt x="41656" y="0"/>
                      </a:lnTo>
                      <a:lnTo>
                        <a:pt x="41656" y="4381"/>
                      </a:lnTo>
                      <a:lnTo>
                        <a:pt x="0" y="4381"/>
                      </a:lnTo>
                      <a:close/>
                    </a:path>
                  </a:pathLst>
                </a:custGeom>
                <a:grpFill/>
                <a:ln w="6350"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D4647"/>
                    </a:solidFill>
                    <a:effectLst/>
                    <a:uLnTx/>
                    <a:uFillTx/>
                  </a:endParaRPr>
                </a:p>
              </p:txBody>
            </p:sp>
            <p:sp>
              <p:nvSpPr>
                <p:cNvPr id="66" name="Freeform: Shape 65">
                  <a:extLst>
                    <a:ext uri="{FF2B5EF4-FFF2-40B4-BE49-F238E27FC236}">
                      <a16:creationId xmlns:a16="http://schemas.microsoft.com/office/drawing/2014/main" id="{2AD28C4D-DEC0-49AE-9873-910583D9BB27}"/>
                    </a:ext>
                  </a:extLst>
                </p:cNvPr>
                <p:cNvSpPr/>
                <p:nvPr/>
              </p:nvSpPr>
              <p:spPr>
                <a:xfrm>
                  <a:off x="11854497" y="5791517"/>
                  <a:ext cx="42418" cy="38100"/>
                </a:xfrm>
                <a:custGeom>
                  <a:avLst/>
                  <a:gdLst>
                    <a:gd name="connsiteX0" fmla="*/ 0 w 42418"/>
                    <a:gd name="connsiteY0" fmla="*/ 0 h 38100"/>
                    <a:gd name="connsiteX1" fmla="*/ 42418 w 42418"/>
                    <a:gd name="connsiteY1" fmla="*/ 0 h 38100"/>
                    <a:gd name="connsiteX2" fmla="*/ 42418 w 42418"/>
                    <a:gd name="connsiteY2" fmla="*/ 38100 h 38100"/>
                    <a:gd name="connsiteX3" fmla="*/ 0 w 42418"/>
                    <a:gd name="connsiteY3" fmla="*/ 38100 h 38100"/>
                  </a:gdLst>
                  <a:ahLst/>
                  <a:cxnLst>
                    <a:cxn ang="0">
                      <a:pos x="connsiteX0" y="connsiteY0"/>
                    </a:cxn>
                    <a:cxn ang="0">
                      <a:pos x="connsiteX1" y="connsiteY1"/>
                    </a:cxn>
                    <a:cxn ang="0">
                      <a:pos x="connsiteX2" y="connsiteY2"/>
                    </a:cxn>
                    <a:cxn ang="0">
                      <a:pos x="connsiteX3" y="connsiteY3"/>
                    </a:cxn>
                  </a:cxnLst>
                  <a:rect l="l" t="t" r="r" b="b"/>
                  <a:pathLst>
                    <a:path w="42418" h="38100">
                      <a:moveTo>
                        <a:pt x="0" y="0"/>
                      </a:moveTo>
                      <a:lnTo>
                        <a:pt x="42418" y="0"/>
                      </a:lnTo>
                      <a:lnTo>
                        <a:pt x="42418" y="38100"/>
                      </a:lnTo>
                      <a:lnTo>
                        <a:pt x="0" y="38100"/>
                      </a:lnTo>
                      <a:close/>
                    </a:path>
                  </a:pathLst>
                </a:custGeom>
                <a:solidFill>
                  <a:srgbClr val="C8C9C7"/>
                </a:solidFill>
                <a:ln w="6350"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D4647"/>
                    </a:solidFill>
                    <a:effectLst/>
                    <a:uLnTx/>
                    <a:uFillTx/>
                  </a:endParaRPr>
                </a:p>
              </p:txBody>
            </p:sp>
          </p:grpSp>
          <p:sp>
            <p:nvSpPr>
              <p:cNvPr id="61" name="Freeform: Shape 60">
                <a:extLst>
                  <a:ext uri="{FF2B5EF4-FFF2-40B4-BE49-F238E27FC236}">
                    <a16:creationId xmlns:a16="http://schemas.microsoft.com/office/drawing/2014/main" id="{8EBCF16E-F6D6-41F7-A29A-923F1AF570CC}"/>
                  </a:ext>
                </a:extLst>
              </p:cNvPr>
              <p:cNvSpPr/>
              <p:nvPr/>
            </p:nvSpPr>
            <p:spPr>
              <a:xfrm>
                <a:off x="11838178" y="6162294"/>
                <a:ext cx="73152" cy="39877"/>
              </a:xfrm>
              <a:custGeom>
                <a:avLst/>
                <a:gdLst>
                  <a:gd name="connsiteX0" fmla="*/ 38671 w 73152"/>
                  <a:gd name="connsiteY0" fmla="*/ 0 h 39877"/>
                  <a:gd name="connsiteX1" fmla="*/ 73152 w 73152"/>
                  <a:gd name="connsiteY1" fmla="*/ 37465 h 39877"/>
                  <a:gd name="connsiteX2" fmla="*/ 69914 w 73152"/>
                  <a:gd name="connsiteY2" fmla="*/ 39878 h 39877"/>
                  <a:gd name="connsiteX3" fmla="*/ 36576 w 73152"/>
                  <a:gd name="connsiteY3" fmla="*/ 3747 h 39877"/>
                  <a:gd name="connsiteX4" fmla="*/ 3239 w 73152"/>
                  <a:gd name="connsiteY4" fmla="*/ 39878 h 39877"/>
                  <a:gd name="connsiteX5" fmla="*/ 0 w 73152"/>
                  <a:gd name="connsiteY5" fmla="*/ 37465 h 39877"/>
                  <a:gd name="connsiteX6" fmla="*/ 34480 w 73152"/>
                  <a:gd name="connsiteY6" fmla="*/ 0 h 39877"/>
                  <a:gd name="connsiteX7" fmla="*/ 38671 w 73152"/>
                  <a:gd name="connsiteY7" fmla="*/ 0 h 398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3152" h="39877">
                    <a:moveTo>
                      <a:pt x="38671" y="0"/>
                    </a:moveTo>
                    <a:lnTo>
                      <a:pt x="73152" y="37465"/>
                    </a:lnTo>
                    <a:lnTo>
                      <a:pt x="69914" y="39878"/>
                    </a:lnTo>
                    <a:lnTo>
                      <a:pt x="36576" y="3747"/>
                    </a:lnTo>
                    <a:lnTo>
                      <a:pt x="3239" y="39878"/>
                    </a:lnTo>
                    <a:lnTo>
                      <a:pt x="0" y="37465"/>
                    </a:lnTo>
                    <a:lnTo>
                      <a:pt x="34480" y="0"/>
                    </a:lnTo>
                    <a:lnTo>
                      <a:pt x="38671" y="0"/>
                    </a:lnTo>
                    <a:close/>
                  </a:path>
                </a:pathLst>
              </a:custGeom>
              <a:grpFill/>
              <a:ln w="6350" cap="flat">
                <a:solidFill>
                  <a:srgbClr val="CFD0CE"/>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D4647"/>
                  </a:solidFill>
                  <a:effectLst/>
                  <a:uLnTx/>
                  <a:uFillTx/>
                </a:endParaRPr>
              </a:p>
            </p:txBody>
          </p:sp>
        </p:grpSp>
      </p:grpSp>
      <p:sp>
        <p:nvSpPr>
          <p:cNvPr id="82" name="Rectangle 6">
            <a:extLst>
              <a:ext uri="{FF2B5EF4-FFF2-40B4-BE49-F238E27FC236}">
                <a16:creationId xmlns:a16="http://schemas.microsoft.com/office/drawing/2014/main" id="{CDBE2857-A9C4-41ED-B64A-B9022B7D6FDC}"/>
              </a:ext>
            </a:extLst>
          </p:cNvPr>
          <p:cNvSpPr txBox="1">
            <a:spLocks noChangeArrowheads="1"/>
          </p:cNvSpPr>
          <p:nvPr userDrawn="1"/>
        </p:nvSpPr>
        <p:spPr bwMode="ltGray">
          <a:xfrm>
            <a:off x="10363200" y="203016"/>
            <a:ext cx="592666" cy="13849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defRPr sz="700"/>
            </a:lvl1pPr>
          </a:lstStyle>
          <a:p>
            <a:pPr marL="0" marR="0" lvl="0" indent="0" algn="r" defTabSz="914400" eaLnBrk="0" fontAlgn="base" latinLnBrk="0" hangingPunct="0">
              <a:lnSpc>
                <a:spcPct val="100000"/>
              </a:lnSpc>
              <a:spcBef>
                <a:spcPct val="0"/>
              </a:spcBef>
              <a:spcAft>
                <a:spcPct val="0"/>
              </a:spcAft>
              <a:buClrTx/>
              <a:buSzTx/>
              <a:buFontTx/>
              <a:buNone/>
              <a:tabLst/>
              <a:defRPr/>
            </a:pPr>
            <a:fld id="{8D7874BA-B114-4D1F-A449-70AD1C45E88A}" type="slidenum">
              <a:rPr kumimoji="0" lang="en-US" sz="900" b="0" i="0" u="none" strike="noStrike" kern="0" cap="none" spc="0" normalizeH="0" baseline="0" noProof="0" smtClean="0">
                <a:ln>
                  <a:noFill/>
                </a:ln>
                <a:solidFill>
                  <a:srgbClr val="B8B7B9"/>
                </a:solidFill>
                <a:effectLst/>
                <a:uLnTx/>
                <a:uFillTx/>
                <a:ea typeface="MS PGothic" pitchFamily="34" charset="-128"/>
              </a:rPr>
              <a:pPr marL="0" marR="0" lvl="0" indent="0" algn="r" defTabSz="914400" eaLnBrk="0" fontAlgn="base" latinLnBrk="0" hangingPunct="0">
                <a:lnSpc>
                  <a:spcPct val="100000"/>
                </a:lnSpc>
                <a:spcBef>
                  <a:spcPct val="0"/>
                </a:spcBef>
                <a:spcAft>
                  <a:spcPct val="0"/>
                </a:spcAft>
                <a:buClrTx/>
                <a:buSzTx/>
                <a:buFontTx/>
                <a:buNone/>
                <a:tabLst/>
                <a:defRPr/>
              </a:pPr>
              <a:t>‹#›</a:t>
            </a:fld>
            <a:endParaRPr kumimoji="0" lang="en-US" sz="900" b="0" i="0" u="none" strike="noStrike" kern="0" cap="none" spc="0" normalizeH="0" baseline="0" noProof="0" dirty="0">
              <a:ln>
                <a:noFill/>
              </a:ln>
              <a:solidFill>
                <a:srgbClr val="B8B7B9"/>
              </a:solidFill>
              <a:effectLst/>
              <a:uLnTx/>
              <a:uFillTx/>
              <a:ea typeface="MS PGothic" pitchFamily="34" charset="-128"/>
            </a:endParaRPr>
          </a:p>
        </p:txBody>
      </p:sp>
    </p:spTree>
    <p:extLst>
      <p:ext uri="{BB962C8B-B14F-4D97-AF65-F5344CB8AC3E}">
        <p14:creationId xmlns:p14="http://schemas.microsoft.com/office/powerpoint/2010/main" val="4012959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dt="0"/>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p:cSld name="1_Divider">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94C2D668-A66C-4169-B72A-C6DE8266140B}"/>
              </a:ext>
            </a:extLst>
          </p:cNvPr>
          <p:cNvPicPr>
            <a:picLocks noChangeAspect="1"/>
          </p:cNvPicPr>
          <p:nvPr userDrawn="1"/>
        </p:nvPicPr>
        <p:blipFill>
          <a:blip r:embed="rId2" cstate="email">
            <a:alphaModFix amt="30000"/>
            <a:extLst>
              <a:ext uri="{28A0092B-C50C-407E-A947-70E740481C1C}">
                <a14:useLocalDpi xmlns:a14="http://schemas.microsoft.com/office/drawing/2010/main"/>
              </a:ext>
            </a:extLst>
          </a:blip>
          <a:srcRect/>
          <a:stretch/>
        </p:blipFill>
        <p:spPr>
          <a:xfrm>
            <a:off x="0" y="0"/>
            <a:ext cx="12188960" cy="6858000"/>
          </a:xfrm>
          <a:prstGeom prst="rect">
            <a:avLst/>
          </a:prstGeom>
        </p:spPr>
      </p:pic>
      <p:sp>
        <p:nvSpPr>
          <p:cNvPr id="25" name="Rectangle: Rounded Corners 24">
            <a:extLst>
              <a:ext uri="{FF2B5EF4-FFF2-40B4-BE49-F238E27FC236}">
                <a16:creationId xmlns:a16="http://schemas.microsoft.com/office/drawing/2014/main" id="{940A4664-7303-44CA-9BE8-4A22FD0D7EBF}"/>
              </a:ext>
            </a:extLst>
          </p:cNvPr>
          <p:cNvSpPr/>
          <p:nvPr userDrawn="1"/>
        </p:nvSpPr>
        <p:spPr>
          <a:xfrm rot="18679580">
            <a:off x="5571697" y="2250091"/>
            <a:ext cx="5236260" cy="1832698"/>
          </a:xfrm>
          <a:prstGeom prst="roundRect">
            <a:avLst/>
          </a:prstGeom>
          <a:solidFill>
            <a:srgbClr val="F8F9FA">
              <a:alpha val="64000"/>
            </a:srgbClr>
          </a:solidFill>
          <a:ln>
            <a:noFill/>
          </a:ln>
          <a:effectLst>
            <a:softEdge rad="444500"/>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Bef>
                <a:spcPts val="800"/>
              </a:spcBef>
            </a:pPr>
            <a:endParaRPr lang="en-US">
              <a:solidFill>
                <a:schemeClr val="bg1"/>
              </a:solidFill>
            </a:endParaRPr>
          </a:p>
        </p:txBody>
      </p:sp>
      <p:sp>
        <p:nvSpPr>
          <p:cNvPr id="23" name="Rectangle: Rounded Corners 22">
            <a:extLst>
              <a:ext uri="{FF2B5EF4-FFF2-40B4-BE49-F238E27FC236}">
                <a16:creationId xmlns:a16="http://schemas.microsoft.com/office/drawing/2014/main" id="{010A2FC2-4C43-4567-9BC7-9E1FB152702F}"/>
              </a:ext>
            </a:extLst>
          </p:cNvPr>
          <p:cNvSpPr/>
          <p:nvPr userDrawn="1"/>
        </p:nvSpPr>
        <p:spPr>
          <a:xfrm>
            <a:off x="1817683" y="2478001"/>
            <a:ext cx="5236260" cy="1832698"/>
          </a:xfrm>
          <a:prstGeom prst="roundRect">
            <a:avLst/>
          </a:prstGeom>
          <a:gradFill>
            <a:gsLst>
              <a:gs pos="0">
                <a:srgbClr val="F0F2F6"/>
              </a:gs>
              <a:gs pos="100000">
                <a:srgbClr val="F0F2F5"/>
              </a:gs>
            </a:gsLst>
            <a:lin ang="5400000" scaled="1"/>
          </a:gradFill>
          <a:ln>
            <a:noFill/>
          </a:ln>
          <a:effectLst>
            <a:softEdge rad="444500"/>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Bef>
                <a:spcPts val="800"/>
              </a:spcBef>
            </a:pPr>
            <a:endParaRPr lang="en-US">
              <a:solidFill>
                <a:schemeClr val="bg1"/>
              </a:solidFill>
            </a:endParaRPr>
          </a:p>
        </p:txBody>
      </p:sp>
      <p:sp>
        <p:nvSpPr>
          <p:cNvPr id="22" name="Title 21"/>
          <p:cNvSpPr>
            <a:spLocks noGrp="1"/>
          </p:cNvSpPr>
          <p:nvPr>
            <p:ph type="title" hasCustomPrompt="1"/>
          </p:nvPr>
        </p:nvSpPr>
        <p:spPr bwMode="gray">
          <a:xfrm>
            <a:off x="2665327" y="3088211"/>
            <a:ext cx="8869680" cy="692497"/>
          </a:xfrm>
        </p:spPr>
        <p:txBody>
          <a:bodyPr anchor="ctr" anchorCtr="0">
            <a:spAutoFit/>
          </a:bodyPr>
          <a:lstStyle>
            <a:lvl1pPr algn="l">
              <a:lnSpc>
                <a:spcPct val="100000"/>
              </a:lnSpc>
              <a:defRPr lang="en-US" sz="5000" b="1" dirty="0">
                <a:solidFill>
                  <a:schemeClr val="tx1"/>
                </a:solidFill>
              </a:defRPr>
            </a:lvl1pPr>
          </a:lstStyle>
          <a:p>
            <a:pPr marL="0" lvl="0">
              <a:lnSpc>
                <a:spcPct val="90000"/>
              </a:lnSpc>
              <a:spcBef>
                <a:spcPts val="1200"/>
              </a:spcBef>
            </a:pPr>
            <a:r>
              <a:rPr lang="en-US" dirty="0"/>
              <a:t>Divider – 1 line of text</a:t>
            </a:r>
          </a:p>
        </p:txBody>
      </p:sp>
      <p:grpSp>
        <p:nvGrpSpPr>
          <p:cNvPr id="21" name="Group 20">
            <a:extLst>
              <a:ext uri="{FF2B5EF4-FFF2-40B4-BE49-F238E27FC236}">
                <a16:creationId xmlns:a16="http://schemas.microsoft.com/office/drawing/2014/main" id="{7C7F3B32-EE76-44C5-8359-BC4ACEC00C40}"/>
              </a:ext>
            </a:extLst>
          </p:cNvPr>
          <p:cNvGrpSpPr/>
          <p:nvPr userDrawn="1"/>
        </p:nvGrpSpPr>
        <p:grpSpPr>
          <a:xfrm>
            <a:off x="0" y="3166440"/>
            <a:ext cx="2455333" cy="537112"/>
            <a:chOff x="0" y="3161621"/>
            <a:chExt cx="2455333" cy="537112"/>
          </a:xfrm>
        </p:grpSpPr>
        <p:sp>
          <p:nvSpPr>
            <p:cNvPr id="13" name="Rectangle 12">
              <a:extLst>
                <a:ext uri="{FF2B5EF4-FFF2-40B4-BE49-F238E27FC236}">
                  <a16:creationId xmlns:a16="http://schemas.microsoft.com/office/drawing/2014/main" id="{DF2B67A1-EE4B-45BF-9BBC-A9A3AB5F7F53}"/>
                </a:ext>
              </a:extLst>
            </p:cNvPr>
            <p:cNvSpPr/>
            <p:nvPr userDrawn="1"/>
          </p:nvSpPr>
          <p:spPr>
            <a:xfrm>
              <a:off x="0" y="3161621"/>
              <a:ext cx="2455333" cy="537112"/>
            </a:xfrm>
            <a:prstGeom prst="rect">
              <a:avLst/>
            </a:prstGeom>
            <a:solidFill>
              <a:srgbClr val="7BC15E"/>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Bef>
                  <a:spcPts val="800"/>
                </a:spcBef>
              </a:pPr>
              <a:endParaRPr lang="es-PE">
                <a:solidFill>
                  <a:schemeClr val="bg1"/>
                </a:solidFill>
              </a:endParaRPr>
            </a:p>
          </p:txBody>
        </p:sp>
        <p:sp>
          <p:nvSpPr>
            <p:cNvPr id="50" name="Freeform: Shape 49">
              <a:extLst>
                <a:ext uri="{FF2B5EF4-FFF2-40B4-BE49-F238E27FC236}">
                  <a16:creationId xmlns:a16="http://schemas.microsoft.com/office/drawing/2014/main" id="{95DA7B0E-0DF0-4795-BC40-8582B80C8C7D}"/>
                </a:ext>
              </a:extLst>
            </p:cNvPr>
            <p:cNvSpPr/>
            <p:nvPr userDrawn="1"/>
          </p:nvSpPr>
          <p:spPr>
            <a:xfrm rot="16200000" flipH="1">
              <a:off x="310000" y="3115270"/>
              <a:ext cx="4756" cy="274320"/>
            </a:xfrm>
            <a:custGeom>
              <a:avLst/>
              <a:gdLst>
                <a:gd name="connsiteX0" fmla="*/ 0 w 19050"/>
                <a:gd name="connsiteY0" fmla="*/ 0 h 732567"/>
                <a:gd name="connsiteX1" fmla="*/ 19050 w 19050"/>
                <a:gd name="connsiteY1" fmla="*/ 0 h 732567"/>
                <a:gd name="connsiteX2" fmla="*/ 19050 w 19050"/>
                <a:gd name="connsiteY2" fmla="*/ 732568 h 732567"/>
                <a:gd name="connsiteX3" fmla="*/ 0 w 19050"/>
                <a:gd name="connsiteY3" fmla="*/ 732568 h 732567"/>
              </a:gdLst>
              <a:ahLst/>
              <a:cxnLst>
                <a:cxn ang="0">
                  <a:pos x="connsiteX0" y="connsiteY0"/>
                </a:cxn>
                <a:cxn ang="0">
                  <a:pos x="connsiteX1" y="connsiteY1"/>
                </a:cxn>
                <a:cxn ang="0">
                  <a:pos x="connsiteX2" y="connsiteY2"/>
                </a:cxn>
                <a:cxn ang="0">
                  <a:pos x="connsiteX3" y="connsiteY3"/>
                </a:cxn>
              </a:cxnLst>
              <a:rect l="l" t="t" r="r" b="b"/>
              <a:pathLst>
                <a:path w="19050" h="732567">
                  <a:moveTo>
                    <a:pt x="0" y="0"/>
                  </a:moveTo>
                  <a:lnTo>
                    <a:pt x="19050" y="0"/>
                  </a:lnTo>
                  <a:lnTo>
                    <a:pt x="19050" y="732568"/>
                  </a:lnTo>
                  <a:lnTo>
                    <a:pt x="0" y="732568"/>
                  </a:lnTo>
                  <a:close/>
                </a:path>
              </a:pathLst>
            </a:custGeom>
            <a:solidFill>
              <a:schemeClr val="bg1"/>
            </a:solidFill>
            <a:ln w="9525" cap="flat">
              <a:solidFill>
                <a:schemeClr val="bg1"/>
              </a:solidFill>
              <a:prstDash val="solid"/>
              <a:miter/>
            </a:ln>
          </p:spPr>
          <p:txBody>
            <a:bodyPr rtlCol="0" anchor="ctr"/>
            <a:lstStyle/>
            <a:p>
              <a:endParaRPr lang="en-US"/>
            </a:p>
          </p:txBody>
        </p:sp>
        <p:sp>
          <p:nvSpPr>
            <p:cNvPr id="51" name="Freeform: Shape 50">
              <a:extLst>
                <a:ext uri="{FF2B5EF4-FFF2-40B4-BE49-F238E27FC236}">
                  <a16:creationId xmlns:a16="http://schemas.microsoft.com/office/drawing/2014/main" id="{132EA109-B6D2-47CB-9BC9-D55B0F9A6750}"/>
                </a:ext>
              </a:extLst>
            </p:cNvPr>
            <p:cNvSpPr/>
            <p:nvPr userDrawn="1"/>
          </p:nvSpPr>
          <p:spPr>
            <a:xfrm rot="16200000" flipH="1">
              <a:off x="82144" y="3339115"/>
              <a:ext cx="182880" cy="4755"/>
            </a:xfrm>
            <a:custGeom>
              <a:avLst/>
              <a:gdLst>
                <a:gd name="connsiteX0" fmla="*/ 0 w 734853"/>
                <a:gd name="connsiteY0" fmla="*/ 0 h 19049"/>
                <a:gd name="connsiteX1" fmla="*/ 734854 w 734853"/>
                <a:gd name="connsiteY1" fmla="*/ 0 h 19049"/>
                <a:gd name="connsiteX2" fmla="*/ 734854 w 734853"/>
                <a:gd name="connsiteY2" fmla="*/ 19050 h 19049"/>
                <a:gd name="connsiteX3" fmla="*/ 0 w 734853"/>
                <a:gd name="connsiteY3" fmla="*/ 19050 h 19049"/>
              </a:gdLst>
              <a:ahLst/>
              <a:cxnLst>
                <a:cxn ang="0">
                  <a:pos x="connsiteX0" y="connsiteY0"/>
                </a:cxn>
                <a:cxn ang="0">
                  <a:pos x="connsiteX1" y="connsiteY1"/>
                </a:cxn>
                <a:cxn ang="0">
                  <a:pos x="connsiteX2" y="connsiteY2"/>
                </a:cxn>
                <a:cxn ang="0">
                  <a:pos x="connsiteX3" y="connsiteY3"/>
                </a:cxn>
              </a:cxnLst>
              <a:rect l="l" t="t" r="r" b="b"/>
              <a:pathLst>
                <a:path w="734853" h="19049">
                  <a:moveTo>
                    <a:pt x="0" y="0"/>
                  </a:moveTo>
                  <a:lnTo>
                    <a:pt x="734854" y="0"/>
                  </a:lnTo>
                  <a:lnTo>
                    <a:pt x="734854" y="19050"/>
                  </a:lnTo>
                  <a:lnTo>
                    <a:pt x="0" y="19050"/>
                  </a:lnTo>
                  <a:close/>
                </a:path>
              </a:pathLst>
            </a:custGeom>
            <a:solidFill>
              <a:schemeClr val="bg1"/>
            </a:solidFill>
            <a:ln w="3175" cap="flat">
              <a:solidFill>
                <a:schemeClr val="bg1"/>
              </a:solidFill>
              <a:prstDash val="solid"/>
              <a:miter/>
            </a:ln>
          </p:spPr>
          <p:txBody>
            <a:bodyPr rtlCol="0" anchor="ctr"/>
            <a:lstStyle/>
            <a:p>
              <a:endParaRPr lang="en-US"/>
            </a:p>
          </p:txBody>
        </p:sp>
        <p:pic>
          <p:nvPicPr>
            <p:cNvPr id="24" name="Picture 23">
              <a:extLst>
                <a:ext uri="{FF2B5EF4-FFF2-40B4-BE49-F238E27FC236}">
                  <a16:creationId xmlns:a16="http://schemas.microsoft.com/office/drawing/2014/main" id="{6D0CF51F-F4CE-426F-AB3D-EFB191BB1445}"/>
                </a:ext>
              </a:extLst>
            </p:cNvPr>
            <p:cNvPicPr>
              <a:picLocks noChangeAspect="1"/>
            </p:cNvPicPr>
            <p:nvPr userDrawn="1"/>
          </p:nvPicPr>
          <p:blipFill rotWithShape="1">
            <a:blip r:embed="rId3" cstate="screen">
              <a:alphaModFix amt="50000"/>
              <a:extLst>
                <a:ext uri="{28A0092B-C50C-407E-A947-70E740481C1C}">
                  <a14:useLocalDpi xmlns:a14="http://schemas.microsoft.com/office/drawing/2010/main"/>
                </a:ext>
              </a:extLst>
            </a:blip>
            <a:srcRect l="47779" r="6346"/>
            <a:stretch/>
          </p:blipFill>
          <p:spPr>
            <a:xfrm>
              <a:off x="1722355" y="3238216"/>
              <a:ext cx="647967" cy="373101"/>
            </a:xfrm>
            <a:prstGeom prst="rect">
              <a:avLst/>
            </a:prstGeom>
          </p:spPr>
        </p:pic>
        <p:cxnSp>
          <p:nvCxnSpPr>
            <p:cNvPr id="20" name="Straight Connector 19">
              <a:extLst>
                <a:ext uri="{FF2B5EF4-FFF2-40B4-BE49-F238E27FC236}">
                  <a16:creationId xmlns:a16="http://schemas.microsoft.com/office/drawing/2014/main" id="{B8A23F11-3EF7-4BB7-9396-70D452EECC1B}"/>
                </a:ext>
              </a:extLst>
            </p:cNvPr>
            <p:cNvCxnSpPr/>
            <p:nvPr userDrawn="1"/>
          </p:nvCxnSpPr>
          <p:spPr>
            <a:xfrm>
              <a:off x="176782" y="3325341"/>
              <a:ext cx="0" cy="365760"/>
            </a:xfrm>
            <a:prstGeom prst="line">
              <a:avLst/>
            </a:prstGeom>
            <a:ln w="3175">
              <a:solidFill>
                <a:schemeClr val="bg1">
                  <a:alpha val="49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956890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p:cSld name="2_Divider">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990AAAFC-EC6A-4B79-8E5C-2625B3C1AA92}"/>
              </a:ext>
            </a:extLst>
          </p:cNvPr>
          <p:cNvPicPr>
            <a:picLocks noChangeAspect="1"/>
          </p:cNvPicPr>
          <p:nvPr userDrawn="1"/>
        </p:nvPicPr>
        <p:blipFill>
          <a:blip r:embed="rId2" cstate="email">
            <a:alphaModFix amt="30000"/>
            <a:extLst>
              <a:ext uri="{28A0092B-C50C-407E-A947-70E740481C1C}">
                <a14:useLocalDpi xmlns:a14="http://schemas.microsoft.com/office/drawing/2010/main"/>
              </a:ext>
            </a:extLst>
          </a:blip>
          <a:srcRect/>
          <a:stretch/>
        </p:blipFill>
        <p:spPr>
          <a:xfrm>
            <a:off x="0" y="0"/>
            <a:ext cx="12188960" cy="6858000"/>
          </a:xfrm>
          <a:prstGeom prst="rect">
            <a:avLst/>
          </a:prstGeom>
        </p:spPr>
      </p:pic>
      <p:sp>
        <p:nvSpPr>
          <p:cNvPr id="27" name="Rectangle: Rounded Corners 26">
            <a:extLst>
              <a:ext uri="{FF2B5EF4-FFF2-40B4-BE49-F238E27FC236}">
                <a16:creationId xmlns:a16="http://schemas.microsoft.com/office/drawing/2014/main" id="{9BB3FF62-BEB4-4BBC-9BB1-5AA72B48CF38}"/>
              </a:ext>
            </a:extLst>
          </p:cNvPr>
          <p:cNvSpPr/>
          <p:nvPr userDrawn="1"/>
        </p:nvSpPr>
        <p:spPr>
          <a:xfrm rot="18679580">
            <a:off x="5571697" y="2250091"/>
            <a:ext cx="5236260" cy="1832698"/>
          </a:xfrm>
          <a:prstGeom prst="roundRect">
            <a:avLst/>
          </a:prstGeom>
          <a:solidFill>
            <a:srgbClr val="F8F9FA">
              <a:alpha val="64000"/>
            </a:srgbClr>
          </a:solidFill>
          <a:ln>
            <a:noFill/>
          </a:ln>
          <a:effectLst>
            <a:softEdge rad="444500"/>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Bef>
                <a:spcPts val="800"/>
              </a:spcBef>
            </a:pPr>
            <a:endParaRPr lang="en-US">
              <a:solidFill>
                <a:schemeClr val="bg1"/>
              </a:solidFill>
            </a:endParaRPr>
          </a:p>
        </p:txBody>
      </p:sp>
      <p:sp>
        <p:nvSpPr>
          <p:cNvPr id="21" name="Rectangle: Rounded Corners 20">
            <a:extLst>
              <a:ext uri="{FF2B5EF4-FFF2-40B4-BE49-F238E27FC236}">
                <a16:creationId xmlns:a16="http://schemas.microsoft.com/office/drawing/2014/main" id="{E7305282-8257-43B2-AEB0-4EECC265B6D8}"/>
              </a:ext>
            </a:extLst>
          </p:cNvPr>
          <p:cNvSpPr/>
          <p:nvPr userDrawn="1"/>
        </p:nvSpPr>
        <p:spPr>
          <a:xfrm>
            <a:off x="1817683" y="2214235"/>
            <a:ext cx="5236260" cy="1991381"/>
          </a:xfrm>
          <a:prstGeom prst="roundRect">
            <a:avLst/>
          </a:prstGeom>
          <a:gradFill>
            <a:gsLst>
              <a:gs pos="0">
                <a:srgbClr val="F0F2F6"/>
              </a:gs>
              <a:gs pos="100000">
                <a:srgbClr val="F0F2F5"/>
              </a:gs>
            </a:gsLst>
            <a:lin ang="5400000" scaled="1"/>
          </a:gradFill>
          <a:ln>
            <a:noFill/>
          </a:ln>
          <a:effectLst>
            <a:softEdge rad="444500"/>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Bef>
                <a:spcPts val="800"/>
              </a:spcBef>
            </a:pPr>
            <a:endParaRPr lang="en-US">
              <a:solidFill>
                <a:schemeClr val="bg1"/>
              </a:solidFill>
            </a:endParaRPr>
          </a:p>
        </p:txBody>
      </p:sp>
      <p:sp>
        <p:nvSpPr>
          <p:cNvPr id="22" name="Title 21"/>
          <p:cNvSpPr>
            <a:spLocks noGrp="1"/>
          </p:cNvSpPr>
          <p:nvPr>
            <p:ph type="title" hasCustomPrompt="1"/>
          </p:nvPr>
        </p:nvSpPr>
        <p:spPr bwMode="gray">
          <a:xfrm>
            <a:off x="2665328" y="3082752"/>
            <a:ext cx="8869680" cy="692497"/>
          </a:xfrm>
        </p:spPr>
        <p:txBody>
          <a:bodyPr vert="horz" lIns="0" tIns="0" rIns="0" bIns="0" rtlCol="0" anchor="ctr" anchorCtr="0">
            <a:spAutoFit/>
          </a:bodyPr>
          <a:lstStyle>
            <a:lvl1pPr>
              <a:lnSpc>
                <a:spcPct val="100000"/>
              </a:lnSpc>
              <a:defRPr lang="en-US" sz="5000" dirty="0"/>
            </a:lvl1pPr>
          </a:lstStyle>
          <a:p>
            <a:pPr marL="0" lvl="0">
              <a:lnSpc>
                <a:spcPct val="90000"/>
              </a:lnSpc>
              <a:spcBef>
                <a:spcPts val="1200"/>
              </a:spcBef>
            </a:pPr>
            <a:r>
              <a:rPr lang="en-US" dirty="0"/>
              <a:t>Divider – 2 lines of text</a:t>
            </a:r>
          </a:p>
        </p:txBody>
      </p:sp>
      <p:grpSp>
        <p:nvGrpSpPr>
          <p:cNvPr id="3" name="Group 2">
            <a:extLst>
              <a:ext uri="{FF2B5EF4-FFF2-40B4-BE49-F238E27FC236}">
                <a16:creationId xmlns:a16="http://schemas.microsoft.com/office/drawing/2014/main" id="{8D4250D6-FEAA-416E-9521-0C7E8FEDCFB1}"/>
              </a:ext>
            </a:extLst>
          </p:cNvPr>
          <p:cNvGrpSpPr/>
          <p:nvPr userDrawn="1"/>
        </p:nvGrpSpPr>
        <p:grpSpPr>
          <a:xfrm>
            <a:off x="0" y="2784626"/>
            <a:ext cx="2451100" cy="1288748"/>
            <a:chOff x="0" y="2781802"/>
            <a:chExt cx="2451100" cy="1288748"/>
          </a:xfrm>
        </p:grpSpPr>
        <p:sp>
          <p:nvSpPr>
            <p:cNvPr id="2" name="Rectangle 1">
              <a:extLst>
                <a:ext uri="{FF2B5EF4-FFF2-40B4-BE49-F238E27FC236}">
                  <a16:creationId xmlns:a16="http://schemas.microsoft.com/office/drawing/2014/main" id="{BB5A8BEB-B893-4846-98F3-0D2FA3DAF44A}"/>
                </a:ext>
              </a:extLst>
            </p:cNvPr>
            <p:cNvSpPr/>
            <p:nvPr userDrawn="1"/>
          </p:nvSpPr>
          <p:spPr>
            <a:xfrm>
              <a:off x="0" y="2781802"/>
              <a:ext cx="2451100" cy="128874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Bef>
                  <a:spcPts val="800"/>
                </a:spcBef>
              </a:pPr>
              <a:endParaRPr lang="es-PE">
                <a:solidFill>
                  <a:schemeClr val="bg1"/>
                </a:solidFill>
              </a:endParaRPr>
            </a:p>
          </p:txBody>
        </p:sp>
        <p:pic>
          <p:nvPicPr>
            <p:cNvPr id="25" name="Picture 24">
              <a:extLst>
                <a:ext uri="{FF2B5EF4-FFF2-40B4-BE49-F238E27FC236}">
                  <a16:creationId xmlns:a16="http://schemas.microsoft.com/office/drawing/2014/main" id="{97BE8F70-36B7-458B-B578-D69CA9DC3341}"/>
                </a:ext>
              </a:extLst>
            </p:cNvPr>
            <p:cNvPicPr>
              <a:picLocks noChangeAspect="1"/>
            </p:cNvPicPr>
            <p:nvPr userDrawn="1"/>
          </p:nvPicPr>
          <p:blipFill rotWithShape="1">
            <a:blip r:embed="rId3" cstate="screen">
              <a:alphaModFix amt="50000"/>
              <a:extLst>
                <a:ext uri="{28A0092B-C50C-407E-A947-70E740481C1C}">
                  <a14:useLocalDpi xmlns:a14="http://schemas.microsoft.com/office/drawing/2010/main"/>
                </a:ext>
              </a:extLst>
            </a:blip>
            <a:srcRect l="47779" r="6346"/>
            <a:stretch/>
          </p:blipFill>
          <p:spPr>
            <a:xfrm>
              <a:off x="1602722" y="2880097"/>
              <a:ext cx="762261" cy="438912"/>
            </a:xfrm>
            <a:prstGeom prst="rect">
              <a:avLst/>
            </a:prstGeom>
          </p:spPr>
        </p:pic>
        <p:sp>
          <p:nvSpPr>
            <p:cNvPr id="23" name="Freeform: Shape 22">
              <a:extLst>
                <a:ext uri="{FF2B5EF4-FFF2-40B4-BE49-F238E27FC236}">
                  <a16:creationId xmlns:a16="http://schemas.microsoft.com/office/drawing/2014/main" id="{E408083A-7AF2-485E-81A3-882A7E58FB9E}"/>
                </a:ext>
              </a:extLst>
            </p:cNvPr>
            <p:cNvSpPr/>
            <p:nvPr userDrawn="1"/>
          </p:nvSpPr>
          <p:spPr>
            <a:xfrm rot="16200000" flipH="1">
              <a:off x="310000" y="2739428"/>
              <a:ext cx="4756" cy="274320"/>
            </a:xfrm>
            <a:custGeom>
              <a:avLst/>
              <a:gdLst>
                <a:gd name="connsiteX0" fmla="*/ 0 w 19050"/>
                <a:gd name="connsiteY0" fmla="*/ 0 h 732567"/>
                <a:gd name="connsiteX1" fmla="*/ 19050 w 19050"/>
                <a:gd name="connsiteY1" fmla="*/ 0 h 732567"/>
                <a:gd name="connsiteX2" fmla="*/ 19050 w 19050"/>
                <a:gd name="connsiteY2" fmla="*/ 732568 h 732567"/>
                <a:gd name="connsiteX3" fmla="*/ 0 w 19050"/>
                <a:gd name="connsiteY3" fmla="*/ 732568 h 732567"/>
              </a:gdLst>
              <a:ahLst/>
              <a:cxnLst>
                <a:cxn ang="0">
                  <a:pos x="connsiteX0" y="connsiteY0"/>
                </a:cxn>
                <a:cxn ang="0">
                  <a:pos x="connsiteX1" y="connsiteY1"/>
                </a:cxn>
                <a:cxn ang="0">
                  <a:pos x="connsiteX2" y="connsiteY2"/>
                </a:cxn>
                <a:cxn ang="0">
                  <a:pos x="connsiteX3" y="connsiteY3"/>
                </a:cxn>
              </a:cxnLst>
              <a:rect l="l" t="t" r="r" b="b"/>
              <a:pathLst>
                <a:path w="19050" h="732567">
                  <a:moveTo>
                    <a:pt x="0" y="0"/>
                  </a:moveTo>
                  <a:lnTo>
                    <a:pt x="19050" y="0"/>
                  </a:lnTo>
                  <a:lnTo>
                    <a:pt x="19050" y="732568"/>
                  </a:lnTo>
                  <a:lnTo>
                    <a:pt x="0" y="732568"/>
                  </a:lnTo>
                  <a:close/>
                </a:path>
              </a:pathLst>
            </a:custGeom>
            <a:solidFill>
              <a:schemeClr val="bg1"/>
            </a:solidFill>
            <a:ln w="9525" cap="flat">
              <a:solidFill>
                <a:schemeClr val="bg1"/>
              </a:solidFill>
              <a:prstDash val="solid"/>
              <a:miter/>
            </a:ln>
          </p:spPr>
          <p:txBody>
            <a:bodyPr rtlCol="0" anchor="ctr"/>
            <a:lstStyle/>
            <a:p>
              <a:endParaRPr lang="en-US"/>
            </a:p>
          </p:txBody>
        </p:sp>
        <p:sp>
          <p:nvSpPr>
            <p:cNvPr id="19" name="Freeform: Shape 18">
              <a:extLst>
                <a:ext uri="{FF2B5EF4-FFF2-40B4-BE49-F238E27FC236}">
                  <a16:creationId xmlns:a16="http://schemas.microsoft.com/office/drawing/2014/main" id="{8F6F5B00-CCFD-4753-AE13-694C077322FB}"/>
                </a:ext>
              </a:extLst>
            </p:cNvPr>
            <p:cNvSpPr/>
            <p:nvPr userDrawn="1"/>
          </p:nvSpPr>
          <p:spPr>
            <a:xfrm rot="16200000" flipH="1">
              <a:off x="82144" y="2970143"/>
              <a:ext cx="182880" cy="4755"/>
            </a:xfrm>
            <a:custGeom>
              <a:avLst/>
              <a:gdLst>
                <a:gd name="connsiteX0" fmla="*/ 0 w 734853"/>
                <a:gd name="connsiteY0" fmla="*/ 0 h 19049"/>
                <a:gd name="connsiteX1" fmla="*/ 734854 w 734853"/>
                <a:gd name="connsiteY1" fmla="*/ 0 h 19049"/>
                <a:gd name="connsiteX2" fmla="*/ 734854 w 734853"/>
                <a:gd name="connsiteY2" fmla="*/ 19050 h 19049"/>
                <a:gd name="connsiteX3" fmla="*/ 0 w 734853"/>
                <a:gd name="connsiteY3" fmla="*/ 19050 h 19049"/>
              </a:gdLst>
              <a:ahLst/>
              <a:cxnLst>
                <a:cxn ang="0">
                  <a:pos x="connsiteX0" y="connsiteY0"/>
                </a:cxn>
                <a:cxn ang="0">
                  <a:pos x="connsiteX1" y="connsiteY1"/>
                </a:cxn>
                <a:cxn ang="0">
                  <a:pos x="connsiteX2" y="connsiteY2"/>
                </a:cxn>
                <a:cxn ang="0">
                  <a:pos x="connsiteX3" y="connsiteY3"/>
                </a:cxn>
              </a:cxnLst>
              <a:rect l="l" t="t" r="r" b="b"/>
              <a:pathLst>
                <a:path w="734853" h="19049">
                  <a:moveTo>
                    <a:pt x="0" y="0"/>
                  </a:moveTo>
                  <a:lnTo>
                    <a:pt x="734854" y="0"/>
                  </a:lnTo>
                  <a:lnTo>
                    <a:pt x="734854" y="19050"/>
                  </a:lnTo>
                  <a:lnTo>
                    <a:pt x="0" y="19050"/>
                  </a:lnTo>
                  <a:close/>
                </a:path>
              </a:pathLst>
            </a:custGeom>
            <a:solidFill>
              <a:schemeClr val="bg1"/>
            </a:solidFill>
            <a:ln w="3175" cap="flat">
              <a:solidFill>
                <a:schemeClr val="bg1"/>
              </a:solidFill>
              <a:prstDash val="solid"/>
              <a:miter/>
            </a:ln>
          </p:spPr>
          <p:txBody>
            <a:bodyPr rtlCol="0" anchor="ctr"/>
            <a:lstStyle/>
            <a:p>
              <a:endParaRPr lang="en-US"/>
            </a:p>
          </p:txBody>
        </p:sp>
        <p:cxnSp>
          <p:nvCxnSpPr>
            <p:cNvPr id="20" name="Straight Connector 19">
              <a:extLst>
                <a:ext uri="{FF2B5EF4-FFF2-40B4-BE49-F238E27FC236}">
                  <a16:creationId xmlns:a16="http://schemas.microsoft.com/office/drawing/2014/main" id="{03C3E752-A506-4A5E-A907-CAEBDA95F961}"/>
                </a:ext>
              </a:extLst>
            </p:cNvPr>
            <p:cNvCxnSpPr/>
            <p:nvPr userDrawn="1"/>
          </p:nvCxnSpPr>
          <p:spPr>
            <a:xfrm>
              <a:off x="176782" y="3016529"/>
              <a:ext cx="0" cy="1051560"/>
            </a:xfrm>
            <a:prstGeom prst="line">
              <a:avLst/>
            </a:prstGeom>
            <a:ln w="3175">
              <a:solidFill>
                <a:schemeClr val="bg1">
                  <a:alpha val="49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6528273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p:cSld name="3_Divider">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89F6B745-8BA9-46B4-9B25-CD8E9383EC22}"/>
              </a:ext>
            </a:extLst>
          </p:cNvPr>
          <p:cNvPicPr>
            <a:picLocks noChangeAspect="1"/>
          </p:cNvPicPr>
          <p:nvPr userDrawn="1"/>
        </p:nvPicPr>
        <p:blipFill>
          <a:blip r:embed="rId2" cstate="email">
            <a:alphaModFix amt="30000"/>
            <a:extLst>
              <a:ext uri="{28A0092B-C50C-407E-A947-70E740481C1C}">
                <a14:useLocalDpi xmlns:a14="http://schemas.microsoft.com/office/drawing/2010/main"/>
              </a:ext>
            </a:extLst>
          </a:blip>
          <a:srcRect/>
          <a:stretch/>
        </p:blipFill>
        <p:spPr>
          <a:xfrm>
            <a:off x="0" y="0"/>
            <a:ext cx="12188960" cy="6858000"/>
          </a:xfrm>
          <a:prstGeom prst="rect">
            <a:avLst/>
          </a:prstGeom>
        </p:spPr>
      </p:pic>
      <p:sp>
        <p:nvSpPr>
          <p:cNvPr id="25" name="Rectangle: Rounded Corners 24">
            <a:extLst>
              <a:ext uri="{FF2B5EF4-FFF2-40B4-BE49-F238E27FC236}">
                <a16:creationId xmlns:a16="http://schemas.microsoft.com/office/drawing/2014/main" id="{2B86D6A8-93D9-4C96-8C7F-D7EAEC83A61E}"/>
              </a:ext>
            </a:extLst>
          </p:cNvPr>
          <p:cNvSpPr/>
          <p:nvPr userDrawn="1"/>
        </p:nvSpPr>
        <p:spPr>
          <a:xfrm rot="18679580">
            <a:off x="5571697" y="2250091"/>
            <a:ext cx="5236260" cy="1832698"/>
          </a:xfrm>
          <a:prstGeom prst="roundRect">
            <a:avLst/>
          </a:prstGeom>
          <a:solidFill>
            <a:srgbClr val="F8F9FA">
              <a:alpha val="64000"/>
            </a:srgbClr>
          </a:solidFill>
          <a:ln>
            <a:noFill/>
          </a:ln>
          <a:effectLst>
            <a:softEdge rad="444500"/>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Bef>
                <a:spcPts val="800"/>
              </a:spcBef>
            </a:pPr>
            <a:endParaRPr lang="en-US">
              <a:solidFill>
                <a:schemeClr val="bg1"/>
              </a:solidFill>
            </a:endParaRPr>
          </a:p>
        </p:txBody>
      </p:sp>
      <p:sp>
        <p:nvSpPr>
          <p:cNvPr id="21" name="Rectangle: Rounded Corners 20">
            <a:extLst>
              <a:ext uri="{FF2B5EF4-FFF2-40B4-BE49-F238E27FC236}">
                <a16:creationId xmlns:a16="http://schemas.microsoft.com/office/drawing/2014/main" id="{2E57DD81-849B-4BA9-9E6D-E8A065B986CB}"/>
              </a:ext>
            </a:extLst>
          </p:cNvPr>
          <p:cNvSpPr/>
          <p:nvPr userDrawn="1"/>
        </p:nvSpPr>
        <p:spPr>
          <a:xfrm>
            <a:off x="1817683" y="1718935"/>
            <a:ext cx="5236260" cy="2581931"/>
          </a:xfrm>
          <a:prstGeom prst="roundRect">
            <a:avLst/>
          </a:prstGeom>
          <a:gradFill>
            <a:gsLst>
              <a:gs pos="0">
                <a:srgbClr val="F5F6F9"/>
              </a:gs>
              <a:gs pos="100000">
                <a:srgbClr val="F0F2F5"/>
              </a:gs>
            </a:gsLst>
            <a:lin ang="5400000" scaled="1"/>
          </a:gradFill>
          <a:ln>
            <a:noFill/>
          </a:ln>
          <a:effectLst>
            <a:softEdge rad="444500"/>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Bef>
                <a:spcPts val="800"/>
              </a:spcBef>
            </a:pPr>
            <a:endParaRPr lang="en-US">
              <a:solidFill>
                <a:schemeClr val="bg1"/>
              </a:solidFill>
            </a:endParaRPr>
          </a:p>
        </p:txBody>
      </p:sp>
      <p:sp>
        <p:nvSpPr>
          <p:cNvPr id="22" name="Title 21"/>
          <p:cNvSpPr>
            <a:spLocks noGrp="1"/>
          </p:cNvSpPr>
          <p:nvPr>
            <p:ph type="title" hasCustomPrompt="1"/>
          </p:nvPr>
        </p:nvSpPr>
        <p:spPr bwMode="gray">
          <a:xfrm>
            <a:off x="2665328" y="3082751"/>
            <a:ext cx="8869680" cy="692497"/>
          </a:xfrm>
        </p:spPr>
        <p:txBody>
          <a:bodyPr vert="horz" lIns="0" tIns="0" rIns="0" bIns="0" rtlCol="0" anchor="ctr" anchorCtr="0">
            <a:spAutoFit/>
          </a:bodyPr>
          <a:lstStyle>
            <a:lvl1pPr>
              <a:lnSpc>
                <a:spcPct val="100000"/>
              </a:lnSpc>
              <a:defRPr lang="en-US" sz="5000" dirty="0"/>
            </a:lvl1pPr>
          </a:lstStyle>
          <a:p>
            <a:pPr marL="0" lvl="0">
              <a:lnSpc>
                <a:spcPct val="90000"/>
              </a:lnSpc>
              <a:spcBef>
                <a:spcPts val="1200"/>
              </a:spcBef>
            </a:pPr>
            <a:r>
              <a:rPr lang="en-US" dirty="0"/>
              <a:t>Divider – 3 lines of text</a:t>
            </a:r>
          </a:p>
        </p:txBody>
      </p:sp>
      <p:grpSp>
        <p:nvGrpSpPr>
          <p:cNvPr id="2" name="Group 1">
            <a:extLst>
              <a:ext uri="{FF2B5EF4-FFF2-40B4-BE49-F238E27FC236}">
                <a16:creationId xmlns:a16="http://schemas.microsoft.com/office/drawing/2014/main" id="{8314FC01-330E-4910-9C2B-2E41A9074A44}"/>
              </a:ext>
            </a:extLst>
          </p:cNvPr>
          <p:cNvGrpSpPr/>
          <p:nvPr userDrawn="1"/>
        </p:nvGrpSpPr>
        <p:grpSpPr>
          <a:xfrm>
            <a:off x="0" y="2426267"/>
            <a:ext cx="2451100" cy="2005466"/>
            <a:chOff x="0" y="2361678"/>
            <a:chExt cx="2451100" cy="2005466"/>
          </a:xfrm>
        </p:grpSpPr>
        <p:sp>
          <p:nvSpPr>
            <p:cNvPr id="15" name="Rectangle 14">
              <a:extLst>
                <a:ext uri="{FF2B5EF4-FFF2-40B4-BE49-F238E27FC236}">
                  <a16:creationId xmlns:a16="http://schemas.microsoft.com/office/drawing/2014/main" id="{22EED636-AB3A-469B-A4E2-02308B8ADAA6}"/>
                </a:ext>
              </a:extLst>
            </p:cNvPr>
            <p:cNvSpPr/>
            <p:nvPr userDrawn="1"/>
          </p:nvSpPr>
          <p:spPr>
            <a:xfrm>
              <a:off x="0" y="2361678"/>
              <a:ext cx="2451100" cy="200546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Bef>
                  <a:spcPts val="800"/>
                </a:spcBef>
              </a:pPr>
              <a:endParaRPr lang="es-PE">
                <a:solidFill>
                  <a:schemeClr val="bg1"/>
                </a:solidFill>
              </a:endParaRPr>
            </a:p>
          </p:txBody>
        </p:sp>
        <p:sp>
          <p:nvSpPr>
            <p:cNvPr id="30" name="Freeform: Shape 29">
              <a:extLst>
                <a:ext uri="{FF2B5EF4-FFF2-40B4-BE49-F238E27FC236}">
                  <a16:creationId xmlns:a16="http://schemas.microsoft.com/office/drawing/2014/main" id="{55F8FE89-DBDD-4562-8330-516508678216}"/>
                </a:ext>
              </a:extLst>
            </p:cNvPr>
            <p:cNvSpPr/>
            <p:nvPr userDrawn="1"/>
          </p:nvSpPr>
          <p:spPr>
            <a:xfrm rot="16200000" flipH="1">
              <a:off x="310000" y="2313229"/>
              <a:ext cx="4756" cy="274320"/>
            </a:xfrm>
            <a:custGeom>
              <a:avLst/>
              <a:gdLst>
                <a:gd name="connsiteX0" fmla="*/ 0 w 19050"/>
                <a:gd name="connsiteY0" fmla="*/ 0 h 732567"/>
                <a:gd name="connsiteX1" fmla="*/ 19050 w 19050"/>
                <a:gd name="connsiteY1" fmla="*/ 0 h 732567"/>
                <a:gd name="connsiteX2" fmla="*/ 19050 w 19050"/>
                <a:gd name="connsiteY2" fmla="*/ 732568 h 732567"/>
                <a:gd name="connsiteX3" fmla="*/ 0 w 19050"/>
                <a:gd name="connsiteY3" fmla="*/ 732568 h 732567"/>
              </a:gdLst>
              <a:ahLst/>
              <a:cxnLst>
                <a:cxn ang="0">
                  <a:pos x="connsiteX0" y="connsiteY0"/>
                </a:cxn>
                <a:cxn ang="0">
                  <a:pos x="connsiteX1" y="connsiteY1"/>
                </a:cxn>
                <a:cxn ang="0">
                  <a:pos x="connsiteX2" y="connsiteY2"/>
                </a:cxn>
                <a:cxn ang="0">
                  <a:pos x="connsiteX3" y="connsiteY3"/>
                </a:cxn>
              </a:cxnLst>
              <a:rect l="l" t="t" r="r" b="b"/>
              <a:pathLst>
                <a:path w="19050" h="732567">
                  <a:moveTo>
                    <a:pt x="0" y="0"/>
                  </a:moveTo>
                  <a:lnTo>
                    <a:pt x="19050" y="0"/>
                  </a:lnTo>
                  <a:lnTo>
                    <a:pt x="19050" y="732568"/>
                  </a:lnTo>
                  <a:lnTo>
                    <a:pt x="0" y="732568"/>
                  </a:lnTo>
                  <a:close/>
                </a:path>
              </a:pathLst>
            </a:custGeom>
            <a:solidFill>
              <a:schemeClr val="bg1"/>
            </a:solidFill>
            <a:ln w="9525" cap="flat">
              <a:solidFill>
                <a:schemeClr val="bg1"/>
              </a:solidFill>
              <a:prstDash val="solid"/>
              <a:miter/>
            </a:ln>
          </p:spPr>
          <p:txBody>
            <a:bodyPr rtlCol="0" anchor="ctr"/>
            <a:lstStyle/>
            <a:p>
              <a:endParaRPr lang="en-US"/>
            </a:p>
          </p:txBody>
        </p:sp>
        <p:pic>
          <p:nvPicPr>
            <p:cNvPr id="32" name="Picture 31">
              <a:extLst>
                <a:ext uri="{FF2B5EF4-FFF2-40B4-BE49-F238E27FC236}">
                  <a16:creationId xmlns:a16="http://schemas.microsoft.com/office/drawing/2014/main" id="{5C723D6E-6981-49D3-9A49-8FECE050A7F2}"/>
                </a:ext>
              </a:extLst>
            </p:cNvPr>
            <p:cNvPicPr>
              <a:picLocks noChangeAspect="1"/>
            </p:cNvPicPr>
            <p:nvPr userDrawn="1"/>
          </p:nvPicPr>
          <p:blipFill rotWithShape="1">
            <a:blip r:embed="rId3" cstate="screen">
              <a:alphaModFix amt="50000"/>
              <a:extLst>
                <a:ext uri="{28A0092B-C50C-407E-A947-70E740481C1C}">
                  <a14:useLocalDpi xmlns:a14="http://schemas.microsoft.com/office/drawing/2010/main"/>
                </a:ext>
              </a:extLst>
            </a:blip>
            <a:srcRect l="47779" r="6346"/>
            <a:stretch/>
          </p:blipFill>
          <p:spPr>
            <a:xfrm>
              <a:off x="1602722" y="2544430"/>
              <a:ext cx="762261" cy="438912"/>
            </a:xfrm>
            <a:prstGeom prst="rect">
              <a:avLst/>
            </a:prstGeom>
          </p:spPr>
        </p:pic>
        <p:sp>
          <p:nvSpPr>
            <p:cNvPr id="19" name="Freeform: Shape 18">
              <a:extLst>
                <a:ext uri="{FF2B5EF4-FFF2-40B4-BE49-F238E27FC236}">
                  <a16:creationId xmlns:a16="http://schemas.microsoft.com/office/drawing/2014/main" id="{06EDB808-7AAB-4360-8904-E5555B7B296E}"/>
                </a:ext>
              </a:extLst>
            </p:cNvPr>
            <p:cNvSpPr/>
            <p:nvPr userDrawn="1"/>
          </p:nvSpPr>
          <p:spPr>
            <a:xfrm rot="16200000" flipH="1">
              <a:off x="82144" y="2532983"/>
              <a:ext cx="182880" cy="4755"/>
            </a:xfrm>
            <a:custGeom>
              <a:avLst/>
              <a:gdLst>
                <a:gd name="connsiteX0" fmla="*/ 0 w 734853"/>
                <a:gd name="connsiteY0" fmla="*/ 0 h 19049"/>
                <a:gd name="connsiteX1" fmla="*/ 734854 w 734853"/>
                <a:gd name="connsiteY1" fmla="*/ 0 h 19049"/>
                <a:gd name="connsiteX2" fmla="*/ 734854 w 734853"/>
                <a:gd name="connsiteY2" fmla="*/ 19050 h 19049"/>
                <a:gd name="connsiteX3" fmla="*/ 0 w 734853"/>
                <a:gd name="connsiteY3" fmla="*/ 19050 h 19049"/>
              </a:gdLst>
              <a:ahLst/>
              <a:cxnLst>
                <a:cxn ang="0">
                  <a:pos x="connsiteX0" y="connsiteY0"/>
                </a:cxn>
                <a:cxn ang="0">
                  <a:pos x="connsiteX1" y="connsiteY1"/>
                </a:cxn>
                <a:cxn ang="0">
                  <a:pos x="connsiteX2" y="connsiteY2"/>
                </a:cxn>
                <a:cxn ang="0">
                  <a:pos x="connsiteX3" y="connsiteY3"/>
                </a:cxn>
              </a:cxnLst>
              <a:rect l="l" t="t" r="r" b="b"/>
              <a:pathLst>
                <a:path w="734853" h="19049">
                  <a:moveTo>
                    <a:pt x="0" y="0"/>
                  </a:moveTo>
                  <a:lnTo>
                    <a:pt x="734854" y="0"/>
                  </a:lnTo>
                  <a:lnTo>
                    <a:pt x="734854" y="19050"/>
                  </a:lnTo>
                  <a:lnTo>
                    <a:pt x="0" y="19050"/>
                  </a:lnTo>
                  <a:close/>
                </a:path>
              </a:pathLst>
            </a:custGeom>
            <a:solidFill>
              <a:schemeClr val="bg1"/>
            </a:solidFill>
            <a:ln w="3175" cap="flat">
              <a:solidFill>
                <a:schemeClr val="bg1"/>
              </a:solidFill>
              <a:prstDash val="solid"/>
              <a:miter/>
            </a:ln>
          </p:spPr>
          <p:txBody>
            <a:bodyPr rtlCol="0" anchor="ctr"/>
            <a:lstStyle/>
            <a:p>
              <a:endParaRPr lang="en-US"/>
            </a:p>
          </p:txBody>
        </p:sp>
        <p:cxnSp>
          <p:nvCxnSpPr>
            <p:cNvPr id="20" name="Straight Connector 19">
              <a:extLst>
                <a:ext uri="{FF2B5EF4-FFF2-40B4-BE49-F238E27FC236}">
                  <a16:creationId xmlns:a16="http://schemas.microsoft.com/office/drawing/2014/main" id="{A2F4CF45-75A1-48BA-9BFE-66AE4C9D0D8E}"/>
                </a:ext>
              </a:extLst>
            </p:cNvPr>
            <p:cNvCxnSpPr/>
            <p:nvPr userDrawn="1"/>
          </p:nvCxnSpPr>
          <p:spPr>
            <a:xfrm>
              <a:off x="176782" y="2579369"/>
              <a:ext cx="0" cy="1783080"/>
            </a:xfrm>
            <a:prstGeom prst="line">
              <a:avLst/>
            </a:prstGeom>
            <a:ln w="3175">
              <a:solidFill>
                <a:schemeClr val="bg1">
                  <a:alpha val="49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2556433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490760" y="1713756"/>
            <a:ext cx="10789920" cy="4481310"/>
          </a:xfrm>
        </p:spPr>
        <p:txBody>
          <a:bodyPr vert="horz" lIns="0" tIns="0" rIns="0" bIns="0" rtlCol="0">
            <a:noAutofit/>
          </a:bodyPr>
          <a:lstStyle>
            <a:lvl1pPr>
              <a:defRPr lang="en-US" noProof="0" dirty="0" smtClean="0"/>
            </a:lvl1pPr>
            <a:lvl2pPr>
              <a:defRPr lang="en-US" noProof="0" dirty="0" smtClean="0"/>
            </a:lvl2pPr>
            <a:lvl3pPr>
              <a:defRPr lang="en-US" noProof="0" dirty="0" smtClean="0"/>
            </a:lvl3pPr>
            <a:lvl4pPr>
              <a:defRPr lang="en-US" noProof="0" dirty="0" smtClean="0"/>
            </a:lvl4pPr>
            <a:lvl5pPr>
              <a:defRPr lang="en-US" noProof="0" dirty="0"/>
            </a:lvl5pPr>
          </a:lstStyle>
          <a:p>
            <a:pPr lvl="0"/>
            <a:r>
              <a:rPr kumimoji="0" lang="en-US" sz="2400" b="0" i="0" u="none" strike="noStrike" kern="1200" cap="none" spc="0" normalizeH="0" baseline="0" noProof="0" dirty="0">
                <a:ln>
                  <a:noFill/>
                </a:ln>
                <a:solidFill>
                  <a:srgbClr val="3D4647"/>
                </a:solidFill>
                <a:effectLst/>
                <a:uLnTx/>
                <a:uFillTx/>
                <a:latin typeface="PTCRaleway"/>
                <a:ea typeface="+mn-ea"/>
                <a:cs typeface="+mn-cs"/>
              </a:rPr>
              <a:t>Add text</a:t>
            </a:r>
          </a:p>
          <a:p>
            <a:pPr lvl="1"/>
            <a:r>
              <a:rPr kumimoji="0" lang="en-US" sz="2000" b="0" i="0" u="none" strike="noStrike" kern="1200" cap="none" spc="0" normalizeH="0" baseline="0" noProof="0" dirty="0">
                <a:ln>
                  <a:noFill/>
                </a:ln>
                <a:solidFill>
                  <a:srgbClr val="3D4647"/>
                </a:solidFill>
                <a:effectLst/>
                <a:uLnTx/>
                <a:uFillTx/>
                <a:latin typeface="PTCRaleway"/>
                <a:ea typeface="+mn-ea"/>
                <a:cs typeface="+mn-cs"/>
              </a:rPr>
              <a:t>Second level</a:t>
            </a:r>
          </a:p>
          <a:p>
            <a:pPr lvl="2"/>
            <a:r>
              <a:rPr kumimoji="0" lang="en-US" sz="1800" b="0" i="0" u="none" strike="noStrike" kern="1200" cap="none" spc="0" normalizeH="0" baseline="0" noProof="0" dirty="0">
                <a:ln>
                  <a:noFill/>
                </a:ln>
                <a:solidFill>
                  <a:srgbClr val="3D4647"/>
                </a:solidFill>
                <a:effectLst/>
                <a:uLnTx/>
                <a:uFillTx/>
                <a:latin typeface="PTCRaleway"/>
                <a:ea typeface="+mn-ea"/>
                <a:cs typeface="+mn-cs"/>
              </a:rPr>
              <a:t>Third level</a:t>
            </a:r>
          </a:p>
          <a:p>
            <a:pPr lvl="3"/>
            <a:r>
              <a:rPr kumimoji="0" lang="en-US" sz="1600" b="0" i="0" u="none" strike="noStrike" kern="1200" cap="none" spc="0" normalizeH="0" baseline="0" noProof="0" dirty="0">
                <a:ln>
                  <a:noFill/>
                </a:ln>
                <a:solidFill>
                  <a:srgbClr val="3D4647"/>
                </a:solidFill>
                <a:effectLst/>
                <a:uLnTx/>
                <a:uFillTx/>
                <a:latin typeface="PTCRaleway"/>
                <a:ea typeface="+mn-ea"/>
                <a:cs typeface="+mn-cs"/>
              </a:rPr>
              <a:t>Fourth level</a:t>
            </a:r>
          </a:p>
          <a:p>
            <a:pPr lvl="4"/>
            <a:r>
              <a:rPr kumimoji="0" lang="en-US" sz="1400" b="0" i="0" u="none" strike="noStrike" kern="1200" cap="none" spc="0" normalizeH="0" baseline="0" noProof="0" dirty="0">
                <a:ln>
                  <a:noFill/>
                </a:ln>
                <a:solidFill>
                  <a:srgbClr val="3D4647"/>
                </a:solidFill>
                <a:effectLst/>
                <a:uLnTx/>
                <a:uFillTx/>
                <a:latin typeface="PTCRaleway"/>
                <a:ea typeface="+mn-ea"/>
                <a:cs typeface="+mn-cs"/>
              </a:rPr>
              <a:t>Fifth level</a:t>
            </a:r>
          </a:p>
        </p:txBody>
      </p:sp>
      <p:sp>
        <p:nvSpPr>
          <p:cNvPr id="4" name="Title 3">
            <a:extLst>
              <a:ext uri="{FF2B5EF4-FFF2-40B4-BE49-F238E27FC236}">
                <a16:creationId xmlns:a16="http://schemas.microsoft.com/office/drawing/2014/main" id="{C14A7928-2068-42B4-AB1B-DA77806D13C2}"/>
              </a:ext>
            </a:extLst>
          </p:cNvPr>
          <p:cNvSpPr>
            <a:spLocks noGrp="1"/>
          </p:cNvSpPr>
          <p:nvPr>
            <p:ph type="title" hasCustomPrompt="1"/>
          </p:nvPr>
        </p:nvSpPr>
        <p:spPr>
          <a:xfrm>
            <a:off x="490760" y="678174"/>
            <a:ext cx="10789920" cy="369332"/>
          </a:xfrm>
        </p:spPr>
        <p:txBody>
          <a:bodyPr/>
          <a:lstStyle>
            <a:lvl1pPr>
              <a:defRPr/>
            </a:lvl1pPr>
          </a:lstStyle>
          <a:p>
            <a:r>
              <a:rPr lang="en-US" dirty="0"/>
              <a:t>add title – keep it brief</a:t>
            </a:r>
          </a:p>
        </p:txBody>
      </p:sp>
    </p:spTree>
    <p:extLst>
      <p:ext uri="{BB962C8B-B14F-4D97-AF65-F5344CB8AC3E}">
        <p14:creationId xmlns:p14="http://schemas.microsoft.com/office/powerpoint/2010/main" val="6442159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Two Content">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490760" y="1711084"/>
            <a:ext cx="5430358" cy="4297680"/>
          </a:xfrm>
        </p:spPr>
        <p:txBody>
          <a:bodyPr vert="horz" lIns="0" tIns="0" rIns="0" bIns="0" rtlCol="0">
            <a:noAutofit/>
          </a:bodyPr>
          <a:lstStyle>
            <a:lvl1pPr>
              <a:defRPr lang="en-US" dirty="0"/>
            </a:lvl1pPr>
            <a:lvl2pPr>
              <a:defRPr lang="en-US" dirty="0"/>
            </a:lvl2pPr>
            <a:lvl3pPr>
              <a:defRPr lang="en-US" dirty="0"/>
            </a:lvl3pPr>
            <a:lvl4pPr>
              <a:defRPr lang="en-US" dirty="0"/>
            </a:lvl4pPr>
            <a:lvl5pPr>
              <a:defRPr lang="en-US" dirty="0"/>
            </a:lvl5pPr>
          </a:lstStyle>
          <a:p>
            <a:pPr lvl="0"/>
            <a:r>
              <a:rPr lang="en-US" dirty="0"/>
              <a:t>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hasCustomPrompt="1"/>
          </p:nvPr>
        </p:nvSpPr>
        <p:spPr>
          <a:xfrm>
            <a:off x="6480336" y="1711084"/>
            <a:ext cx="5359241" cy="4297680"/>
          </a:xfrm>
        </p:spPr>
        <p:txBody>
          <a:bodyPr vert="horz" lIns="0" tIns="0" rIns="0" bIns="0" rtlCol="0">
            <a:noAutofit/>
          </a:bodyPr>
          <a:lstStyle>
            <a:lvl1pPr>
              <a:defRPr kumimoji="0" lang="en-US" b="0" i="0" u="none" strike="noStrike" cap="none" spc="0" normalizeH="0" baseline="0" dirty="0" smtClean="0">
                <a:ln>
                  <a:noFill/>
                </a:ln>
                <a:solidFill>
                  <a:srgbClr val="3D4647"/>
                </a:solidFill>
                <a:effectLst/>
                <a:uLnTx/>
                <a:uFillTx/>
                <a:latin typeface="PTCRaleway"/>
              </a:defRPr>
            </a:lvl1pPr>
            <a:lvl2pPr>
              <a:defRPr kumimoji="0" lang="en-US" b="0" i="0" u="none" strike="noStrike" cap="none" spc="0" normalizeH="0" baseline="0" dirty="0" smtClean="0">
                <a:ln>
                  <a:noFill/>
                </a:ln>
                <a:solidFill>
                  <a:srgbClr val="3D4647"/>
                </a:solidFill>
                <a:effectLst/>
                <a:uLnTx/>
                <a:uFillTx/>
                <a:latin typeface="PTCRaleway"/>
              </a:defRPr>
            </a:lvl2pPr>
            <a:lvl3pPr>
              <a:defRPr kumimoji="0" lang="en-US" b="0" i="0" u="none" strike="noStrike" cap="none" spc="0" normalizeH="0" baseline="0" dirty="0" smtClean="0">
                <a:ln>
                  <a:noFill/>
                </a:ln>
                <a:solidFill>
                  <a:srgbClr val="3D4647"/>
                </a:solidFill>
                <a:effectLst/>
                <a:uLnTx/>
                <a:uFillTx/>
                <a:latin typeface="PTCRaleway"/>
              </a:defRPr>
            </a:lvl3pPr>
            <a:lvl4pPr>
              <a:defRPr kumimoji="0" lang="en-US" b="0" i="0" u="none" strike="noStrike" cap="none" spc="0" normalizeH="0" dirty="0" smtClean="0">
                <a:ln>
                  <a:noFill/>
                </a:ln>
                <a:solidFill>
                  <a:srgbClr val="3D4647"/>
                </a:solidFill>
                <a:effectLst/>
                <a:uLnTx/>
                <a:uFillTx/>
                <a:latin typeface="PTCRaleway"/>
              </a:defRPr>
            </a:lvl4pPr>
            <a:lvl5pPr>
              <a:defRPr kumimoji="0" lang="en-US" b="0" i="0" u="none" strike="noStrike" cap="none" spc="0" normalizeH="0" dirty="0">
                <a:ln>
                  <a:noFill/>
                </a:ln>
                <a:solidFill>
                  <a:srgbClr val="3D4647"/>
                </a:solidFill>
                <a:effectLst/>
                <a:uLnTx/>
                <a:uFillTx/>
                <a:latin typeface="PTCRaleway"/>
              </a:defRPr>
            </a:lvl5pPr>
          </a:lstStyle>
          <a:p>
            <a:pPr lvl="0"/>
            <a:r>
              <a:rPr lang="en-US" dirty="0"/>
              <a:t>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a:extLst>
              <a:ext uri="{FF2B5EF4-FFF2-40B4-BE49-F238E27FC236}">
                <a16:creationId xmlns:a16="http://schemas.microsoft.com/office/drawing/2014/main" id="{F6E69CCC-D78C-4592-9155-75F363BF7096}"/>
              </a:ext>
            </a:extLst>
          </p:cNvPr>
          <p:cNvSpPr>
            <a:spLocks noGrp="1"/>
          </p:cNvSpPr>
          <p:nvPr>
            <p:ph type="title" hasCustomPrompt="1"/>
          </p:nvPr>
        </p:nvSpPr>
        <p:spPr>
          <a:xfrm>
            <a:off x="490760" y="678174"/>
            <a:ext cx="10789920" cy="369332"/>
          </a:xfrm>
        </p:spPr>
        <p:txBody>
          <a:bodyPr/>
          <a:lstStyle>
            <a:lvl1pPr>
              <a:defRPr/>
            </a:lvl1pPr>
          </a:lstStyle>
          <a:p>
            <a:r>
              <a:rPr lang="en-US" dirty="0"/>
              <a:t>add title – keep it brief</a:t>
            </a:r>
          </a:p>
        </p:txBody>
      </p:sp>
    </p:spTree>
    <p:extLst>
      <p:ext uri="{BB962C8B-B14F-4D97-AF65-F5344CB8AC3E}">
        <p14:creationId xmlns:p14="http://schemas.microsoft.com/office/powerpoint/2010/main" val="32640002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sp>
        <p:nvSpPr>
          <p:cNvPr id="4" name="Content Placeholder 3"/>
          <p:cNvSpPr>
            <a:spLocks noGrp="1"/>
          </p:cNvSpPr>
          <p:nvPr>
            <p:ph sz="half" idx="2" hasCustomPrompt="1"/>
          </p:nvPr>
        </p:nvSpPr>
        <p:spPr>
          <a:xfrm>
            <a:off x="490759" y="1713756"/>
            <a:ext cx="3383280" cy="4297680"/>
          </a:xfrm>
        </p:spPr>
        <p:txBody>
          <a:bodyPr vert="horz" lIns="0" tIns="0" rIns="0" bIns="0" rtlCol="0">
            <a:noAutofit/>
          </a:bodyPr>
          <a:lstStyle>
            <a:lvl1pPr>
              <a:defRPr lang="en-US" dirty="0"/>
            </a:lvl1pPr>
            <a:lvl2pPr>
              <a:defRPr lang="en-US" dirty="0"/>
            </a:lvl2pPr>
            <a:lvl3pPr>
              <a:defRPr lang="en-US" dirty="0"/>
            </a:lvl3pPr>
            <a:lvl4pPr>
              <a:defRPr lang="en-US" dirty="0"/>
            </a:lvl4pPr>
            <a:lvl5pPr>
              <a:defRPr lang="en-US" dirty="0"/>
            </a:lvl5pPr>
          </a:lstStyle>
          <a:p>
            <a:pPr lvl="0"/>
            <a:r>
              <a:rPr lang="en-US" dirty="0"/>
              <a:t>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Content Placeholder 19"/>
          <p:cNvSpPr>
            <a:spLocks noGrp="1"/>
          </p:cNvSpPr>
          <p:nvPr>
            <p:ph sz="quarter" idx="15" hasCustomPrompt="1"/>
          </p:nvPr>
        </p:nvSpPr>
        <p:spPr>
          <a:xfrm>
            <a:off x="4404630" y="1713756"/>
            <a:ext cx="3383280" cy="4332170"/>
          </a:xfrm>
        </p:spPr>
        <p:txBody>
          <a:bodyPr vert="horz" lIns="0" tIns="0" rIns="0" bIns="0" rtlCol="0">
            <a:noAutofit/>
          </a:bodyPr>
          <a:lstStyle>
            <a:lvl1pPr>
              <a:defRPr lang="en-US" dirty="0"/>
            </a:lvl1pPr>
            <a:lvl2pPr>
              <a:defRPr lang="en-US" dirty="0"/>
            </a:lvl2pPr>
            <a:lvl3pPr>
              <a:defRPr lang="en-US" dirty="0"/>
            </a:lvl3pPr>
            <a:lvl4pPr>
              <a:defRPr lang="en-US" dirty="0"/>
            </a:lvl4pPr>
            <a:lvl5pPr>
              <a:defRPr lang="en-US" dirty="0"/>
            </a:lvl5pPr>
          </a:lstStyle>
          <a:p>
            <a:pPr lvl="0"/>
            <a:r>
              <a:rPr lang="en-US" dirty="0"/>
              <a:t>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Content Placeholder 21"/>
          <p:cNvSpPr>
            <a:spLocks noGrp="1"/>
          </p:cNvSpPr>
          <p:nvPr>
            <p:ph sz="quarter" idx="16" hasCustomPrompt="1"/>
          </p:nvPr>
        </p:nvSpPr>
        <p:spPr>
          <a:xfrm>
            <a:off x="8318500" y="1713756"/>
            <a:ext cx="3383280" cy="4332170"/>
          </a:xfrm>
        </p:spPr>
        <p:txBody>
          <a:bodyPr vert="horz" lIns="0" tIns="0" rIns="0" bIns="0" rtlCol="0">
            <a:noAutofit/>
          </a:bodyPr>
          <a:lstStyle>
            <a:lvl1pPr>
              <a:defRPr lang="en-US" dirty="0"/>
            </a:lvl1pPr>
            <a:lvl2pPr>
              <a:defRPr lang="en-US" dirty="0"/>
            </a:lvl2pPr>
            <a:lvl3pPr>
              <a:defRPr lang="en-US" dirty="0"/>
            </a:lvl3pPr>
            <a:lvl4pPr>
              <a:defRPr lang="en-US" dirty="0"/>
            </a:lvl4pPr>
            <a:lvl5pPr>
              <a:defRPr lang="en-US" dirty="0"/>
            </a:lvl5pPr>
          </a:lstStyle>
          <a:p>
            <a:pPr lvl="0"/>
            <a:r>
              <a:rPr lang="en-US" dirty="0"/>
              <a:t>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a:extLst>
              <a:ext uri="{FF2B5EF4-FFF2-40B4-BE49-F238E27FC236}">
                <a16:creationId xmlns:a16="http://schemas.microsoft.com/office/drawing/2014/main" id="{058233AF-2ADF-4388-AEFC-06C737873A42}"/>
              </a:ext>
            </a:extLst>
          </p:cNvPr>
          <p:cNvSpPr>
            <a:spLocks noGrp="1"/>
          </p:cNvSpPr>
          <p:nvPr>
            <p:ph type="title" hasCustomPrompt="1"/>
          </p:nvPr>
        </p:nvSpPr>
        <p:spPr>
          <a:xfrm>
            <a:off x="490760" y="678174"/>
            <a:ext cx="10789920" cy="369332"/>
          </a:xfrm>
        </p:spPr>
        <p:txBody>
          <a:bodyPr/>
          <a:lstStyle>
            <a:lvl1pPr>
              <a:defRPr/>
            </a:lvl1pPr>
          </a:lstStyle>
          <a:p>
            <a:r>
              <a:rPr lang="en-US" dirty="0"/>
              <a:t>add title – keep it brief</a:t>
            </a:r>
          </a:p>
        </p:txBody>
      </p:sp>
    </p:spTree>
    <p:extLst>
      <p:ext uri="{BB962C8B-B14F-4D97-AF65-F5344CB8AC3E}">
        <p14:creationId xmlns:p14="http://schemas.microsoft.com/office/powerpoint/2010/main" val="5230306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7A4D7EE-4EB9-47BD-B3ED-30248208721D}"/>
              </a:ext>
            </a:extLst>
          </p:cNvPr>
          <p:cNvSpPr>
            <a:spLocks noGrp="1"/>
          </p:cNvSpPr>
          <p:nvPr>
            <p:ph type="title" hasCustomPrompt="1"/>
          </p:nvPr>
        </p:nvSpPr>
        <p:spPr/>
        <p:txBody>
          <a:bodyPr/>
          <a:lstStyle>
            <a:lvl1pPr>
              <a:defRPr/>
            </a:lvl1pPr>
          </a:lstStyle>
          <a:p>
            <a:r>
              <a:rPr lang="en-US" dirty="0"/>
              <a:t>add title – keep it brief</a:t>
            </a:r>
          </a:p>
        </p:txBody>
      </p:sp>
    </p:spTree>
    <p:extLst>
      <p:ext uri="{BB962C8B-B14F-4D97-AF65-F5344CB8AC3E}">
        <p14:creationId xmlns:p14="http://schemas.microsoft.com/office/powerpoint/2010/main" val="9356722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One-third/Two-third Content">
    <p:spTree>
      <p:nvGrpSpPr>
        <p:cNvPr id="1" name=""/>
        <p:cNvGrpSpPr/>
        <p:nvPr/>
      </p:nvGrpSpPr>
      <p:grpSpPr>
        <a:xfrm>
          <a:off x="0" y="0"/>
          <a:ext cx="0" cy="0"/>
          <a:chOff x="0" y="0"/>
          <a:chExt cx="0" cy="0"/>
        </a:xfrm>
      </p:grpSpPr>
      <p:grpSp>
        <p:nvGrpSpPr>
          <p:cNvPr id="15" name="Group 14">
            <a:extLst>
              <a:ext uri="{FF2B5EF4-FFF2-40B4-BE49-F238E27FC236}">
                <a16:creationId xmlns:a16="http://schemas.microsoft.com/office/drawing/2014/main" id="{AD85CB9A-4B6E-46D5-93C1-6B94E6EC799C}"/>
              </a:ext>
            </a:extLst>
          </p:cNvPr>
          <p:cNvGrpSpPr/>
          <p:nvPr userDrawn="1"/>
        </p:nvGrpSpPr>
        <p:grpSpPr>
          <a:xfrm>
            <a:off x="567709" y="1509331"/>
            <a:ext cx="3558618" cy="4711129"/>
            <a:chOff x="567709" y="1528150"/>
            <a:chExt cx="3558618" cy="4692310"/>
          </a:xfrm>
        </p:grpSpPr>
        <p:sp>
          <p:nvSpPr>
            <p:cNvPr id="16" name="Rectangle 15">
              <a:extLst>
                <a:ext uri="{FF2B5EF4-FFF2-40B4-BE49-F238E27FC236}">
                  <a16:creationId xmlns:a16="http://schemas.microsoft.com/office/drawing/2014/main" id="{9A3E36D0-78B8-4B2E-80F7-98BD46D48237}"/>
                </a:ext>
              </a:extLst>
            </p:cNvPr>
            <p:cNvSpPr/>
            <p:nvPr userDrawn="1"/>
          </p:nvSpPr>
          <p:spPr>
            <a:xfrm>
              <a:off x="567709" y="1637881"/>
              <a:ext cx="3558618" cy="458257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Bef>
                  <a:spcPts val="800"/>
                </a:spcBef>
              </a:pPr>
              <a:endParaRPr lang="es-PE">
                <a:solidFill>
                  <a:schemeClr val="bg1"/>
                </a:solidFill>
              </a:endParaRPr>
            </a:p>
          </p:txBody>
        </p:sp>
        <p:sp>
          <p:nvSpPr>
            <p:cNvPr id="17" name="Arrow: Pentagon 16">
              <a:extLst>
                <a:ext uri="{FF2B5EF4-FFF2-40B4-BE49-F238E27FC236}">
                  <a16:creationId xmlns:a16="http://schemas.microsoft.com/office/drawing/2014/main" id="{8CCC2144-0958-47CB-9C83-0A02FD60F9F7}"/>
                </a:ext>
              </a:extLst>
            </p:cNvPr>
            <p:cNvSpPr/>
            <p:nvPr userDrawn="1"/>
          </p:nvSpPr>
          <p:spPr>
            <a:xfrm>
              <a:off x="567710" y="1528150"/>
              <a:ext cx="1235088" cy="223284"/>
            </a:xfrm>
            <a:prstGeom prst="homePlat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Bef>
                  <a:spcPts val="800"/>
                </a:spcBef>
              </a:pPr>
              <a:endParaRPr lang="es-PE">
                <a:solidFill>
                  <a:schemeClr val="bg1"/>
                </a:solidFill>
              </a:endParaRPr>
            </a:p>
          </p:txBody>
        </p:sp>
      </p:grpSp>
      <p:grpSp>
        <p:nvGrpSpPr>
          <p:cNvPr id="92" name="Group 91">
            <a:extLst>
              <a:ext uri="{FF2B5EF4-FFF2-40B4-BE49-F238E27FC236}">
                <a16:creationId xmlns:a16="http://schemas.microsoft.com/office/drawing/2014/main" id="{B12FF236-F99E-4479-85B4-369212AD24CC}"/>
              </a:ext>
            </a:extLst>
          </p:cNvPr>
          <p:cNvGrpSpPr/>
          <p:nvPr userDrawn="1"/>
        </p:nvGrpSpPr>
        <p:grpSpPr>
          <a:xfrm>
            <a:off x="3331998" y="1775504"/>
            <a:ext cx="631597" cy="594534"/>
            <a:chOff x="3331998" y="1775504"/>
            <a:chExt cx="631597" cy="594534"/>
          </a:xfrm>
        </p:grpSpPr>
        <p:sp>
          <p:nvSpPr>
            <p:cNvPr id="73" name="Freeform: Shape 72">
              <a:extLst>
                <a:ext uri="{FF2B5EF4-FFF2-40B4-BE49-F238E27FC236}">
                  <a16:creationId xmlns:a16="http://schemas.microsoft.com/office/drawing/2014/main" id="{3D0335EE-082B-49A5-8886-675F2FFC0959}"/>
                </a:ext>
              </a:extLst>
            </p:cNvPr>
            <p:cNvSpPr/>
            <p:nvPr userDrawn="1"/>
          </p:nvSpPr>
          <p:spPr>
            <a:xfrm flipH="1" flipV="1">
              <a:off x="3331998" y="1775507"/>
              <a:ext cx="236532" cy="243939"/>
            </a:xfrm>
            <a:custGeom>
              <a:avLst/>
              <a:gdLst>
                <a:gd name="connsiteX0" fmla="*/ 184242 w 236532"/>
                <a:gd name="connsiteY0" fmla="*/ 243939 h 243939"/>
                <a:gd name="connsiteX1" fmla="*/ 0 w 236532"/>
                <a:gd name="connsiteY1" fmla="*/ 243939 h 243939"/>
                <a:gd name="connsiteX2" fmla="*/ 236532 w 236532"/>
                <a:gd name="connsiteY2" fmla="*/ 0 h 243939"/>
                <a:gd name="connsiteX3" fmla="*/ 236532 w 236532"/>
                <a:gd name="connsiteY3" fmla="*/ 189945 h 243939"/>
                <a:gd name="connsiteX4" fmla="*/ 184242 w 236532"/>
                <a:gd name="connsiteY4" fmla="*/ 243939 h 2439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6532" h="243939">
                  <a:moveTo>
                    <a:pt x="184242" y="243939"/>
                  </a:moveTo>
                  <a:lnTo>
                    <a:pt x="0" y="243939"/>
                  </a:lnTo>
                  <a:lnTo>
                    <a:pt x="236532" y="0"/>
                  </a:lnTo>
                  <a:lnTo>
                    <a:pt x="236532" y="189945"/>
                  </a:lnTo>
                  <a:lnTo>
                    <a:pt x="184242" y="243939"/>
                  </a:lnTo>
                  <a:close/>
                </a:path>
              </a:pathLst>
            </a:custGeom>
            <a:solidFill>
              <a:schemeClr val="bg1">
                <a:alpha val="10000"/>
              </a:schemeClr>
            </a:solidFill>
            <a:ln w="9525" cap="flat">
              <a:noFill/>
              <a:prstDash val="solid"/>
              <a:miter/>
            </a:ln>
          </p:spPr>
          <p:txBody>
            <a:bodyPr wrap="square" rtlCol="0" anchor="ctr">
              <a:noAutofit/>
            </a:bodyPr>
            <a:lstStyle/>
            <a:p>
              <a:endParaRPr lang="en-US"/>
            </a:p>
          </p:txBody>
        </p:sp>
        <p:sp>
          <p:nvSpPr>
            <p:cNvPr id="89" name="Freeform: Shape 88">
              <a:extLst>
                <a:ext uri="{FF2B5EF4-FFF2-40B4-BE49-F238E27FC236}">
                  <a16:creationId xmlns:a16="http://schemas.microsoft.com/office/drawing/2014/main" id="{CA1C461B-0D2D-4EBC-A03B-8B16A24B85DD}"/>
                </a:ext>
              </a:extLst>
            </p:cNvPr>
            <p:cNvSpPr/>
            <p:nvPr userDrawn="1"/>
          </p:nvSpPr>
          <p:spPr>
            <a:xfrm flipH="1" flipV="1">
              <a:off x="3723772" y="2122077"/>
              <a:ext cx="239823" cy="247961"/>
            </a:xfrm>
            <a:custGeom>
              <a:avLst/>
              <a:gdLst>
                <a:gd name="connsiteX0" fmla="*/ 0 w 239823"/>
                <a:gd name="connsiteY0" fmla="*/ 247961 h 247961"/>
                <a:gd name="connsiteX1" fmla="*/ 0 w 239823"/>
                <a:gd name="connsiteY1" fmla="*/ 57467 h 247961"/>
                <a:gd name="connsiteX2" fmla="*/ 55581 w 239823"/>
                <a:gd name="connsiteY2" fmla="*/ 0 h 247961"/>
                <a:gd name="connsiteX3" fmla="*/ 239823 w 239823"/>
                <a:gd name="connsiteY3" fmla="*/ 0 h 247961"/>
                <a:gd name="connsiteX4" fmla="*/ 0 w 239823"/>
                <a:gd name="connsiteY4" fmla="*/ 247961 h 2479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9823" h="247961">
                  <a:moveTo>
                    <a:pt x="0" y="247961"/>
                  </a:moveTo>
                  <a:lnTo>
                    <a:pt x="0" y="57467"/>
                  </a:lnTo>
                  <a:lnTo>
                    <a:pt x="55581" y="0"/>
                  </a:lnTo>
                  <a:lnTo>
                    <a:pt x="239823" y="0"/>
                  </a:lnTo>
                  <a:lnTo>
                    <a:pt x="0" y="247961"/>
                  </a:lnTo>
                  <a:close/>
                </a:path>
              </a:pathLst>
            </a:custGeom>
            <a:solidFill>
              <a:schemeClr val="bg1">
                <a:alpha val="10000"/>
              </a:schemeClr>
            </a:solidFill>
            <a:ln w="9525" cap="flat">
              <a:noFill/>
              <a:prstDash val="solid"/>
              <a:miter/>
            </a:ln>
          </p:spPr>
          <p:txBody>
            <a:bodyPr wrap="square" rtlCol="0" anchor="ctr">
              <a:noAutofit/>
            </a:bodyPr>
            <a:lstStyle/>
            <a:p>
              <a:endParaRPr lang="en-US"/>
            </a:p>
          </p:txBody>
        </p:sp>
        <p:sp>
          <p:nvSpPr>
            <p:cNvPr id="82" name="Freeform: Shape 81">
              <a:extLst>
                <a:ext uri="{FF2B5EF4-FFF2-40B4-BE49-F238E27FC236}">
                  <a16:creationId xmlns:a16="http://schemas.microsoft.com/office/drawing/2014/main" id="{23666D4C-43E1-4899-A0D1-5640EFF2D767}"/>
                </a:ext>
              </a:extLst>
            </p:cNvPr>
            <p:cNvSpPr/>
            <p:nvPr userDrawn="1"/>
          </p:nvSpPr>
          <p:spPr>
            <a:xfrm>
              <a:off x="3340161" y="1775504"/>
              <a:ext cx="516651" cy="536140"/>
            </a:xfrm>
            <a:custGeom>
              <a:avLst/>
              <a:gdLst>
                <a:gd name="connsiteX0" fmla="*/ 332409 w 516651"/>
                <a:gd name="connsiteY0" fmla="*/ 0 h 536140"/>
                <a:gd name="connsiteX1" fmla="*/ 516651 w 516651"/>
                <a:gd name="connsiteY1" fmla="*/ 0 h 536140"/>
                <a:gd name="connsiteX2" fmla="*/ 0 w 516651"/>
                <a:gd name="connsiteY2" fmla="*/ 536140 h 536140"/>
                <a:gd name="connsiteX3" fmla="*/ 0 w 516651"/>
                <a:gd name="connsiteY3" fmla="*/ 344300 h 536140"/>
                <a:gd name="connsiteX4" fmla="*/ 332409 w 516651"/>
                <a:gd name="connsiteY4" fmla="*/ 0 h 5361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6651" h="536140">
                  <a:moveTo>
                    <a:pt x="332409" y="0"/>
                  </a:moveTo>
                  <a:lnTo>
                    <a:pt x="516651" y="0"/>
                  </a:lnTo>
                  <a:lnTo>
                    <a:pt x="0" y="536140"/>
                  </a:lnTo>
                  <a:lnTo>
                    <a:pt x="0" y="344300"/>
                  </a:lnTo>
                  <a:lnTo>
                    <a:pt x="332409" y="0"/>
                  </a:lnTo>
                  <a:close/>
                </a:path>
              </a:pathLst>
            </a:custGeom>
            <a:solidFill>
              <a:schemeClr val="bg1">
                <a:alpha val="10000"/>
              </a:schemeClr>
            </a:solidFill>
            <a:ln w="9525" cap="flat">
              <a:noFill/>
              <a:prstDash val="solid"/>
              <a:miter/>
            </a:ln>
          </p:spPr>
          <p:txBody>
            <a:bodyPr wrap="square" rtlCol="0" anchor="ctr">
              <a:noAutofit/>
            </a:bodyPr>
            <a:lstStyle/>
            <a:p>
              <a:pPr lvl="0"/>
              <a:endParaRPr lang="en-US" dirty="0" err="1">
                <a:solidFill>
                  <a:schemeClr val="tx1"/>
                </a:solidFill>
              </a:endParaRPr>
            </a:p>
          </p:txBody>
        </p:sp>
        <p:sp>
          <p:nvSpPr>
            <p:cNvPr id="86" name="Freeform: Shape 85">
              <a:extLst>
                <a:ext uri="{FF2B5EF4-FFF2-40B4-BE49-F238E27FC236}">
                  <a16:creationId xmlns:a16="http://schemas.microsoft.com/office/drawing/2014/main" id="{25D781CC-2319-4EA1-B52D-2909EADC4D4E}"/>
                </a:ext>
              </a:extLst>
            </p:cNvPr>
            <p:cNvSpPr/>
            <p:nvPr userDrawn="1"/>
          </p:nvSpPr>
          <p:spPr>
            <a:xfrm>
              <a:off x="3402110" y="1793022"/>
              <a:ext cx="556042" cy="577015"/>
            </a:xfrm>
            <a:custGeom>
              <a:avLst/>
              <a:gdLst>
                <a:gd name="connsiteX0" fmla="*/ 556042 w 556042"/>
                <a:gd name="connsiteY0" fmla="*/ 0 h 577015"/>
                <a:gd name="connsiteX1" fmla="*/ 556042 w 556042"/>
                <a:gd name="connsiteY1" fmla="*/ 191192 h 577015"/>
                <a:gd name="connsiteX2" fmla="*/ 184244 w 556042"/>
                <a:gd name="connsiteY2" fmla="*/ 577015 h 577015"/>
                <a:gd name="connsiteX3" fmla="*/ 0 w 556042"/>
                <a:gd name="connsiteY3" fmla="*/ 577015 h 577015"/>
                <a:gd name="connsiteX4" fmla="*/ 556042 w 556042"/>
                <a:gd name="connsiteY4" fmla="*/ 0 h 5770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6042" h="577015">
                  <a:moveTo>
                    <a:pt x="556042" y="0"/>
                  </a:moveTo>
                  <a:lnTo>
                    <a:pt x="556042" y="191192"/>
                  </a:lnTo>
                  <a:lnTo>
                    <a:pt x="184244" y="577015"/>
                  </a:lnTo>
                  <a:lnTo>
                    <a:pt x="0" y="577015"/>
                  </a:lnTo>
                  <a:lnTo>
                    <a:pt x="556042" y="0"/>
                  </a:lnTo>
                  <a:close/>
                </a:path>
              </a:pathLst>
            </a:cu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285750" indent="-285750" algn="l">
                <a:lnSpc>
                  <a:spcPct val="90000"/>
                </a:lnSpc>
                <a:spcBef>
                  <a:spcPts val="800"/>
                </a:spcBef>
                <a:buBlip>
                  <a:blip r:embed="rId2"/>
                </a:buBlip>
              </a:pPr>
              <a:endParaRPr lang="en-US" sz="1800" dirty="0" err="1">
                <a:solidFill>
                  <a:schemeClr val="bg1"/>
                </a:solidFill>
              </a:endParaRPr>
            </a:p>
          </p:txBody>
        </p:sp>
      </p:grpSp>
      <p:sp>
        <p:nvSpPr>
          <p:cNvPr id="14" name="Rectangle 13">
            <a:extLst>
              <a:ext uri="{FF2B5EF4-FFF2-40B4-BE49-F238E27FC236}">
                <a16:creationId xmlns:a16="http://schemas.microsoft.com/office/drawing/2014/main" id="{91DFB4FC-DBF3-4C25-B966-AEA10F97ECFF}"/>
              </a:ext>
            </a:extLst>
          </p:cNvPr>
          <p:cNvSpPr/>
          <p:nvPr userDrawn="1"/>
        </p:nvSpPr>
        <p:spPr>
          <a:xfrm>
            <a:off x="0" y="1509331"/>
            <a:ext cx="511478" cy="471112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Bef>
                <a:spcPts val="800"/>
              </a:spcBef>
            </a:pPr>
            <a:endParaRPr lang="es-PE">
              <a:solidFill>
                <a:schemeClr val="bg1"/>
              </a:solidFill>
            </a:endParaRPr>
          </a:p>
        </p:txBody>
      </p:sp>
      <p:pic>
        <p:nvPicPr>
          <p:cNvPr id="19" name="Picture 18">
            <a:extLst>
              <a:ext uri="{FF2B5EF4-FFF2-40B4-BE49-F238E27FC236}">
                <a16:creationId xmlns:a16="http://schemas.microsoft.com/office/drawing/2014/main" id="{5AC239A6-22F7-4B2D-8EF3-10BAABBED693}"/>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t="5332" r="41262"/>
          <a:stretch/>
        </p:blipFill>
        <p:spPr>
          <a:xfrm rot="10800000">
            <a:off x="3479920" y="2982554"/>
            <a:ext cx="499802" cy="3101889"/>
          </a:xfrm>
          <a:prstGeom prst="rect">
            <a:avLst/>
          </a:prstGeom>
        </p:spPr>
      </p:pic>
      <p:sp>
        <p:nvSpPr>
          <p:cNvPr id="3" name="Content Placeholder 2"/>
          <p:cNvSpPr>
            <a:spLocks noGrp="1"/>
          </p:cNvSpPr>
          <p:nvPr userDrawn="1">
            <p:ph idx="1" hasCustomPrompt="1"/>
          </p:nvPr>
        </p:nvSpPr>
        <p:spPr>
          <a:xfrm>
            <a:off x="4561364" y="1622243"/>
            <a:ext cx="7095744" cy="4572000"/>
          </a:xfrm>
        </p:spPr>
        <p:txBody>
          <a:bodyPr vert="horz" lIns="0" tIns="0" rIns="0" bIns="0" rtlCol="0">
            <a:noAutofit/>
          </a:bodyPr>
          <a:lstStyle>
            <a:lvl1pPr>
              <a:defRPr lang="en-US" dirty="0"/>
            </a:lvl1pPr>
            <a:lvl2pPr>
              <a:defRPr lang="en-US" dirty="0"/>
            </a:lvl2pPr>
            <a:lvl3pPr>
              <a:defRPr lang="en-US" dirty="0"/>
            </a:lvl3pPr>
            <a:lvl4pPr>
              <a:defRPr lang="en-US" dirty="0"/>
            </a:lvl4pPr>
            <a:lvl5pPr>
              <a:defRPr lang="en-US" dirty="0"/>
            </a:lvl5pPr>
          </a:lstStyle>
          <a:p>
            <a:pPr lvl="0"/>
            <a:r>
              <a:rPr lang="en-US" dirty="0"/>
              <a:t>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itle 11"/>
          <p:cNvSpPr>
            <a:spLocks noGrp="1"/>
          </p:cNvSpPr>
          <p:nvPr userDrawn="1">
            <p:ph type="title" hasCustomPrompt="1"/>
          </p:nvPr>
        </p:nvSpPr>
        <p:spPr/>
        <p:txBody>
          <a:bodyPr anchor="ctr" anchorCtr="0"/>
          <a:lstStyle>
            <a:lvl1pPr>
              <a:defRPr/>
            </a:lvl1pPr>
          </a:lstStyle>
          <a:p>
            <a:r>
              <a:rPr lang="en-US" dirty="0"/>
              <a:t>add title – keep it brief</a:t>
            </a:r>
          </a:p>
        </p:txBody>
      </p:sp>
      <p:sp>
        <p:nvSpPr>
          <p:cNvPr id="21" name="Text Placeholder 20">
            <a:extLst>
              <a:ext uri="{FF2B5EF4-FFF2-40B4-BE49-F238E27FC236}">
                <a16:creationId xmlns:a16="http://schemas.microsoft.com/office/drawing/2014/main" id="{25BD1AED-6D0A-4F50-922C-B2B90E0F1E52}"/>
              </a:ext>
            </a:extLst>
          </p:cNvPr>
          <p:cNvSpPr>
            <a:spLocks noGrp="1"/>
          </p:cNvSpPr>
          <p:nvPr>
            <p:ph type="body" sz="quarter" idx="14" hasCustomPrompt="1"/>
          </p:nvPr>
        </p:nvSpPr>
        <p:spPr>
          <a:xfrm>
            <a:off x="771144" y="1866900"/>
            <a:ext cx="3029331" cy="4056888"/>
          </a:xfrm>
        </p:spPr>
        <p:txBody>
          <a:bodyPr vert="horz" lIns="0" tIns="0" rIns="0" bIns="0" rtlCol="0" anchor="ctr" anchorCtr="0">
            <a:noAutofit/>
          </a:bodyPr>
          <a:lstStyle>
            <a:lvl1pPr>
              <a:defRPr lang="en-US" dirty="0">
                <a:solidFill>
                  <a:schemeClr val="bg1"/>
                </a:solidFill>
              </a:defRPr>
            </a:lvl1pPr>
            <a:lvl2pPr>
              <a:defRPr>
                <a:solidFill>
                  <a:schemeClr val="bg1"/>
                </a:solidFill>
              </a:defRPr>
            </a:lvl2pPr>
            <a:lvl3pPr marL="832104" indent="-228600">
              <a:buFontTx/>
              <a:buBlip>
                <a:blip r:embed="rId4">
                  <a:extLst>
                    <a:ext uri="{96DAC541-7B7A-43D3-8B79-37D633B846F1}">
                      <asvg:svgBlip xmlns:asvg="http://schemas.microsoft.com/office/drawing/2016/SVG/main" r:embed="rId5"/>
                    </a:ext>
                  </a:extLst>
                </a:blip>
              </a:buBlip>
              <a:defRPr>
                <a:solidFill>
                  <a:schemeClr val="bg1"/>
                </a:solidFill>
              </a:defRPr>
            </a:lvl3pPr>
            <a:lvl4pPr marL="1078992" indent="-228600">
              <a:buFontTx/>
              <a:buBlip>
                <a:blip r:embed="rId6"/>
              </a:buBlip>
              <a:defRPr>
                <a:solidFill>
                  <a:schemeClr val="bg1"/>
                </a:solidFill>
              </a:defRPr>
            </a:lvl4pPr>
          </a:lstStyle>
          <a:p>
            <a:pPr lvl="0"/>
            <a:r>
              <a:rPr lang="en-US" dirty="0"/>
              <a:t>Add call out text here</a:t>
            </a:r>
          </a:p>
          <a:p>
            <a:pPr lvl="1"/>
            <a:r>
              <a:rPr lang="en-US" dirty="0"/>
              <a:t>Bullet 2</a:t>
            </a:r>
          </a:p>
          <a:p>
            <a:pPr lvl="2"/>
            <a:r>
              <a:rPr lang="en-US" dirty="0"/>
              <a:t>Bullet 3</a:t>
            </a:r>
          </a:p>
          <a:p>
            <a:pPr lvl="3"/>
            <a:r>
              <a:rPr lang="en-US" dirty="0"/>
              <a:t>Bullet 4</a:t>
            </a:r>
          </a:p>
        </p:txBody>
      </p:sp>
      <p:sp>
        <p:nvSpPr>
          <p:cNvPr id="74" name="Freeform: Shape 73">
            <a:extLst>
              <a:ext uri="{FF2B5EF4-FFF2-40B4-BE49-F238E27FC236}">
                <a16:creationId xmlns:a16="http://schemas.microsoft.com/office/drawing/2014/main" id="{4C10FBDB-41E4-496C-8570-6220B8FEEEEC}"/>
              </a:ext>
            </a:extLst>
          </p:cNvPr>
          <p:cNvSpPr/>
          <p:nvPr userDrawn="1"/>
        </p:nvSpPr>
        <p:spPr>
          <a:xfrm flipH="1" flipV="1">
            <a:off x="4290848" y="1775505"/>
            <a:ext cx="192186" cy="198707"/>
          </a:xfrm>
          <a:custGeom>
            <a:avLst/>
            <a:gdLst>
              <a:gd name="connsiteX0" fmla="*/ 184242 w 192186"/>
              <a:gd name="connsiteY0" fmla="*/ 198707 h 198707"/>
              <a:gd name="connsiteX1" fmla="*/ 0 w 192186"/>
              <a:gd name="connsiteY1" fmla="*/ 198707 h 198707"/>
              <a:gd name="connsiteX2" fmla="*/ 192186 w 192186"/>
              <a:gd name="connsiteY2" fmla="*/ 0 h 198707"/>
              <a:gd name="connsiteX3" fmla="*/ 192186 w 192186"/>
              <a:gd name="connsiteY3" fmla="*/ 190494 h 198707"/>
              <a:gd name="connsiteX4" fmla="*/ 184242 w 192186"/>
              <a:gd name="connsiteY4" fmla="*/ 198707 h 1987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2186" h="198707">
                <a:moveTo>
                  <a:pt x="184242" y="198707"/>
                </a:moveTo>
                <a:lnTo>
                  <a:pt x="0" y="198707"/>
                </a:lnTo>
                <a:lnTo>
                  <a:pt x="192186" y="0"/>
                </a:lnTo>
                <a:lnTo>
                  <a:pt x="192186" y="190494"/>
                </a:lnTo>
                <a:lnTo>
                  <a:pt x="184242" y="198707"/>
                </a:lnTo>
                <a:close/>
              </a:path>
            </a:pathLst>
          </a:custGeom>
          <a:solidFill>
            <a:schemeClr val="bg1">
              <a:alpha val="40000"/>
            </a:schemeClr>
          </a:solidFill>
          <a:ln w="9525" cap="flat">
            <a:noFill/>
            <a:prstDash val="solid"/>
            <a:miter/>
          </a:ln>
        </p:spPr>
        <p:txBody>
          <a:bodyPr wrap="square" rtlCol="0" anchor="ctr">
            <a:noAutofit/>
          </a:bodyPr>
          <a:lstStyle/>
          <a:p>
            <a:endParaRPr lang="en-US"/>
          </a:p>
        </p:txBody>
      </p:sp>
    </p:spTree>
    <p:extLst>
      <p:ext uri="{BB962C8B-B14F-4D97-AF65-F5344CB8AC3E}">
        <p14:creationId xmlns:p14="http://schemas.microsoft.com/office/powerpoint/2010/main" val="6393962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Image or Graphic &amp; Content ">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F6F2220D-D049-431F-AE4C-66F06B49D14E}"/>
              </a:ext>
            </a:extLst>
          </p:cNvPr>
          <p:cNvGrpSpPr/>
          <p:nvPr userDrawn="1"/>
        </p:nvGrpSpPr>
        <p:grpSpPr>
          <a:xfrm>
            <a:off x="567709" y="1509331"/>
            <a:ext cx="3558618" cy="4711129"/>
            <a:chOff x="567709" y="1528150"/>
            <a:chExt cx="3558618" cy="4692310"/>
          </a:xfrm>
        </p:grpSpPr>
        <p:sp>
          <p:nvSpPr>
            <p:cNvPr id="48" name="Rectangle 47">
              <a:extLst>
                <a:ext uri="{FF2B5EF4-FFF2-40B4-BE49-F238E27FC236}">
                  <a16:creationId xmlns:a16="http://schemas.microsoft.com/office/drawing/2014/main" id="{9DD92F5C-AA83-4505-B194-3EB6A01DC91C}"/>
                </a:ext>
              </a:extLst>
            </p:cNvPr>
            <p:cNvSpPr/>
            <p:nvPr userDrawn="1"/>
          </p:nvSpPr>
          <p:spPr>
            <a:xfrm>
              <a:off x="567709" y="1637881"/>
              <a:ext cx="3558618" cy="458257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Bef>
                  <a:spcPts val="800"/>
                </a:spcBef>
              </a:pPr>
              <a:endParaRPr lang="es-PE">
                <a:solidFill>
                  <a:schemeClr val="bg1"/>
                </a:solidFill>
              </a:endParaRPr>
            </a:p>
          </p:txBody>
        </p:sp>
        <p:sp>
          <p:nvSpPr>
            <p:cNvPr id="4" name="Arrow: Pentagon 3">
              <a:extLst>
                <a:ext uri="{FF2B5EF4-FFF2-40B4-BE49-F238E27FC236}">
                  <a16:creationId xmlns:a16="http://schemas.microsoft.com/office/drawing/2014/main" id="{AD96E9CE-0E6C-4361-B959-D892AE199199}"/>
                </a:ext>
              </a:extLst>
            </p:cNvPr>
            <p:cNvSpPr/>
            <p:nvPr userDrawn="1"/>
          </p:nvSpPr>
          <p:spPr>
            <a:xfrm>
              <a:off x="567710" y="1528150"/>
              <a:ext cx="1235088" cy="223284"/>
            </a:xfrm>
            <a:prstGeom prst="homePlat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Bef>
                  <a:spcPts val="800"/>
                </a:spcBef>
              </a:pPr>
              <a:endParaRPr lang="es-PE">
                <a:solidFill>
                  <a:schemeClr val="bg1"/>
                </a:solidFill>
              </a:endParaRPr>
            </a:p>
          </p:txBody>
        </p:sp>
      </p:grpSp>
      <p:grpSp>
        <p:nvGrpSpPr>
          <p:cNvPr id="50" name="Group 49">
            <a:extLst>
              <a:ext uri="{FF2B5EF4-FFF2-40B4-BE49-F238E27FC236}">
                <a16:creationId xmlns:a16="http://schemas.microsoft.com/office/drawing/2014/main" id="{49522EDF-6B64-40DC-AF8F-1193DB30E268}"/>
              </a:ext>
            </a:extLst>
          </p:cNvPr>
          <p:cNvGrpSpPr/>
          <p:nvPr userDrawn="1"/>
        </p:nvGrpSpPr>
        <p:grpSpPr>
          <a:xfrm>
            <a:off x="3331998" y="1775504"/>
            <a:ext cx="631597" cy="594534"/>
            <a:chOff x="3331998" y="1775504"/>
            <a:chExt cx="631597" cy="594534"/>
          </a:xfrm>
        </p:grpSpPr>
        <p:sp>
          <p:nvSpPr>
            <p:cNvPr id="51" name="Freeform: Shape 50">
              <a:extLst>
                <a:ext uri="{FF2B5EF4-FFF2-40B4-BE49-F238E27FC236}">
                  <a16:creationId xmlns:a16="http://schemas.microsoft.com/office/drawing/2014/main" id="{446C2A21-3B85-4654-B356-193FF4A73DE5}"/>
                </a:ext>
              </a:extLst>
            </p:cNvPr>
            <p:cNvSpPr/>
            <p:nvPr userDrawn="1"/>
          </p:nvSpPr>
          <p:spPr>
            <a:xfrm flipH="1" flipV="1">
              <a:off x="3331998" y="1775507"/>
              <a:ext cx="236532" cy="243939"/>
            </a:xfrm>
            <a:custGeom>
              <a:avLst/>
              <a:gdLst>
                <a:gd name="connsiteX0" fmla="*/ 184242 w 236532"/>
                <a:gd name="connsiteY0" fmla="*/ 243939 h 243939"/>
                <a:gd name="connsiteX1" fmla="*/ 0 w 236532"/>
                <a:gd name="connsiteY1" fmla="*/ 243939 h 243939"/>
                <a:gd name="connsiteX2" fmla="*/ 236532 w 236532"/>
                <a:gd name="connsiteY2" fmla="*/ 0 h 243939"/>
                <a:gd name="connsiteX3" fmla="*/ 236532 w 236532"/>
                <a:gd name="connsiteY3" fmla="*/ 189945 h 243939"/>
                <a:gd name="connsiteX4" fmla="*/ 184242 w 236532"/>
                <a:gd name="connsiteY4" fmla="*/ 243939 h 2439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6532" h="243939">
                  <a:moveTo>
                    <a:pt x="184242" y="243939"/>
                  </a:moveTo>
                  <a:lnTo>
                    <a:pt x="0" y="243939"/>
                  </a:lnTo>
                  <a:lnTo>
                    <a:pt x="236532" y="0"/>
                  </a:lnTo>
                  <a:lnTo>
                    <a:pt x="236532" y="189945"/>
                  </a:lnTo>
                  <a:lnTo>
                    <a:pt x="184242" y="243939"/>
                  </a:lnTo>
                  <a:close/>
                </a:path>
              </a:pathLst>
            </a:custGeom>
            <a:solidFill>
              <a:schemeClr val="bg1">
                <a:alpha val="10000"/>
              </a:schemeClr>
            </a:solidFill>
            <a:ln w="9525" cap="flat">
              <a:noFill/>
              <a:prstDash val="solid"/>
              <a:miter/>
            </a:ln>
          </p:spPr>
          <p:txBody>
            <a:bodyPr wrap="square" rtlCol="0" anchor="ctr">
              <a:noAutofit/>
            </a:bodyPr>
            <a:lstStyle/>
            <a:p>
              <a:endParaRPr lang="en-US"/>
            </a:p>
          </p:txBody>
        </p:sp>
        <p:sp>
          <p:nvSpPr>
            <p:cNvPr id="52" name="Freeform: Shape 51">
              <a:extLst>
                <a:ext uri="{FF2B5EF4-FFF2-40B4-BE49-F238E27FC236}">
                  <a16:creationId xmlns:a16="http://schemas.microsoft.com/office/drawing/2014/main" id="{BF504655-6790-490E-BA0D-242ED3E5FA88}"/>
                </a:ext>
              </a:extLst>
            </p:cNvPr>
            <p:cNvSpPr/>
            <p:nvPr userDrawn="1"/>
          </p:nvSpPr>
          <p:spPr>
            <a:xfrm flipH="1" flipV="1">
              <a:off x="3723772" y="2122077"/>
              <a:ext cx="239823" cy="247961"/>
            </a:xfrm>
            <a:custGeom>
              <a:avLst/>
              <a:gdLst>
                <a:gd name="connsiteX0" fmla="*/ 0 w 239823"/>
                <a:gd name="connsiteY0" fmla="*/ 247961 h 247961"/>
                <a:gd name="connsiteX1" fmla="*/ 0 w 239823"/>
                <a:gd name="connsiteY1" fmla="*/ 57467 h 247961"/>
                <a:gd name="connsiteX2" fmla="*/ 55581 w 239823"/>
                <a:gd name="connsiteY2" fmla="*/ 0 h 247961"/>
                <a:gd name="connsiteX3" fmla="*/ 239823 w 239823"/>
                <a:gd name="connsiteY3" fmla="*/ 0 h 247961"/>
                <a:gd name="connsiteX4" fmla="*/ 0 w 239823"/>
                <a:gd name="connsiteY4" fmla="*/ 247961 h 2479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9823" h="247961">
                  <a:moveTo>
                    <a:pt x="0" y="247961"/>
                  </a:moveTo>
                  <a:lnTo>
                    <a:pt x="0" y="57467"/>
                  </a:lnTo>
                  <a:lnTo>
                    <a:pt x="55581" y="0"/>
                  </a:lnTo>
                  <a:lnTo>
                    <a:pt x="239823" y="0"/>
                  </a:lnTo>
                  <a:lnTo>
                    <a:pt x="0" y="247961"/>
                  </a:lnTo>
                  <a:close/>
                </a:path>
              </a:pathLst>
            </a:custGeom>
            <a:solidFill>
              <a:schemeClr val="bg1">
                <a:alpha val="10000"/>
              </a:schemeClr>
            </a:solidFill>
            <a:ln w="9525" cap="flat">
              <a:noFill/>
              <a:prstDash val="solid"/>
              <a:miter/>
            </a:ln>
          </p:spPr>
          <p:txBody>
            <a:bodyPr wrap="square" rtlCol="0" anchor="ctr">
              <a:noAutofit/>
            </a:bodyPr>
            <a:lstStyle/>
            <a:p>
              <a:endParaRPr lang="en-US"/>
            </a:p>
          </p:txBody>
        </p:sp>
        <p:sp>
          <p:nvSpPr>
            <p:cNvPr id="53" name="Freeform: Shape 52">
              <a:extLst>
                <a:ext uri="{FF2B5EF4-FFF2-40B4-BE49-F238E27FC236}">
                  <a16:creationId xmlns:a16="http://schemas.microsoft.com/office/drawing/2014/main" id="{6E483918-9EBB-4FAD-A165-6274601D3246}"/>
                </a:ext>
              </a:extLst>
            </p:cNvPr>
            <p:cNvSpPr/>
            <p:nvPr userDrawn="1"/>
          </p:nvSpPr>
          <p:spPr>
            <a:xfrm>
              <a:off x="3340161" y="1775504"/>
              <a:ext cx="516651" cy="536140"/>
            </a:xfrm>
            <a:custGeom>
              <a:avLst/>
              <a:gdLst>
                <a:gd name="connsiteX0" fmla="*/ 332409 w 516651"/>
                <a:gd name="connsiteY0" fmla="*/ 0 h 536140"/>
                <a:gd name="connsiteX1" fmla="*/ 516651 w 516651"/>
                <a:gd name="connsiteY1" fmla="*/ 0 h 536140"/>
                <a:gd name="connsiteX2" fmla="*/ 0 w 516651"/>
                <a:gd name="connsiteY2" fmla="*/ 536140 h 536140"/>
                <a:gd name="connsiteX3" fmla="*/ 0 w 516651"/>
                <a:gd name="connsiteY3" fmla="*/ 344300 h 536140"/>
                <a:gd name="connsiteX4" fmla="*/ 332409 w 516651"/>
                <a:gd name="connsiteY4" fmla="*/ 0 h 5361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16651" h="536140">
                  <a:moveTo>
                    <a:pt x="332409" y="0"/>
                  </a:moveTo>
                  <a:lnTo>
                    <a:pt x="516651" y="0"/>
                  </a:lnTo>
                  <a:lnTo>
                    <a:pt x="0" y="536140"/>
                  </a:lnTo>
                  <a:lnTo>
                    <a:pt x="0" y="344300"/>
                  </a:lnTo>
                  <a:lnTo>
                    <a:pt x="332409" y="0"/>
                  </a:lnTo>
                  <a:close/>
                </a:path>
              </a:pathLst>
            </a:custGeom>
            <a:solidFill>
              <a:schemeClr val="bg1">
                <a:alpha val="10000"/>
              </a:schemeClr>
            </a:solidFill>
            <a:ln w="9525" cap="flat">
              <a:noFill/>
              <a:prstDash val="solid"/>
              <a:miter/>
            </a:ln>
          </p:spPr>
          <p:txBody>
            <a:bodyPr wrap="square" rtlCol="0" anchor="ctr">
              <a:noAutofit/>
            </a:bodyPr>
            <a:lstStyle/>
            <a:p>
              <a:pPr lvl="0"/>
              <a:endParaRPr lang="en-US" dirty="0" err="1">
                <a:solidFill>
                  <a:schemeClr val="tx1"/>
                </a:solidFill>
              </a:endParaRPr>
            </a:p>
          </p:txBody>
        </p:sp>
        <p:sp>
          <p:nvSpPr>
            <p:cNvPr id="54" name="Freeform: Shape 53">
              <a:extLst>
                <a:ext uri="{FF2B5EF4-FFF2-40B4-BE49-F238E27FC236}">
                  <a16:creationId xmlns:a16="http://schemas.microsoft.com/office/drawing/2014/main" id="{47A04C62-89DA-486D-AA08-D9D25B318A53}"/>
                </a:ext>
              </a:extLst>
            </p:cNvPr>
            <p:cNvSpPr/>
            <p:nvPr userDrawn="1"/>
          </p:nvSpPr>
          <p:spPr>
            <a:xfrm>
              <a:off x="3402110" y="1793022"/>
              <a:ext cx="556042" cy="577015"/>
            </a:xfrm>
            <a:custGeom>
              <a:avLst/>
              <a:gdLst>
                <a:gd name="connsiteX0" fmla="*/ 556042 w 556042"/>
                <a:gd name="connsiteY0" fmla="*/ 0 h 577015"/>
                <a:gd name="connsiteX1" fmla="*/ 556042 w 556042"/>
                <a:gd name="connsiteY1" fmla="*/ 191192 h 577015"/>
                <a:gd name="connsiteX2" fmla="*/ 184244 w 556042"/>
                <a:gd name="connsiteY2" fmla="*/ 577015 h 577015"/>
                <a:gd name="connsiteX3" fmla="*/ 0 w 556042"/>
                <a:gd name="connsiteY3" fmla="*/ 577015 h 577015"/>
                <a:gd name="connsiteX4" fmla="*/ 556042 w 556042"/>
                <a:gd name="connsiteY4" fmla="*/ 0 h 5770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6042" h="577015">
                  <a:moveTo>
                    <a:pt x="556042" y="0"/>
                  </a:moveTo>
                  <a:lnTo>
                    <a:pt x="556042" y="191192"/>
                  </a:lnTo>
                  <a:lnTo>
                    <a:pt x="184244" y="577015"/>
                  </a:lnTo>
                  <a:lnTo>
                    <a:pt x="0" y="577015"/>
                  </a:lnTo>
                  <a:lnTo>
                    <a:pt x="556042" y="0"/>
                  </a:lnTo>
                  <a:close/>
                </a:path>
              </a:pathLst>
            </a:cu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285750" indent="-285750" algn="l">
                <a:lnSpc>
                  <a:spcPct val="90000"/>
                </a:lnSpc>
                <a:spcBef>
                  <a:spcPts val="800"/>
                </a:spcBef>
                <a:buBlip>
                  <a:blip r:embed="rId2"/>
                </a:buBlip>
              </a:pPr>
              <a:endParaRPr lang="en-US" sz="1800" dirty="0" err="1">
                <a:solidFill>
                  <a:schemeClr val="bg1"/>
                </a:solidFill>
              </a:endParaRPr>
            </a:p>
          </p:txBody>
        </p:sp>
      </p:grpSp>
      <p:sp>
        <p:nvSpPr>
          <p:cNvPr id="3" name="Rectangle 2">
            <a:extLst>
              <a:ext uri="{FF2B5EF4-FFF2-40B4-BE49-F238E27FC236}">
                <a16:creationId xmlns:a16="http://schemas.microsoft.com/office/drawing/2014/main" id="{7EBF904B-CA77-4E86-A6A3-73D2F703B031}"/>
              </a:ext>
            </a:extLst>
          </p:cNvPr>
          <p:cNvSpPr/>
          <p:nvPr userDrawn="1"/>
        </p:nvSpPr>
        <p:spPr>
          <a:xfrm>
            <a:off x="0" y="1509331"/>
            <a:ext cx="511478" cy="471112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Bef>
                <a:spcPts val="800"/>
              </a:spcBef>
            </a:pPr>
            <a:endParaRPr lang="es-PE">
              <a:solidFill>
                <a:schemeClr val="bg1"/>
              </a:solidFill>
            </a:endParaRPr>
          </a:p>
        </p:txBody>
      </p:sp>
      <p:pic>
        <p:nvPicPr>
          <p:cNvPr id="56" name="Picture 55">
            <a:extLst>
              <a:ext uri="{FF2B5EF4-FFF2-40B4-BE49-F238E27FC236}">
                <a16:creationId xmlns:a16="http://schemas.microsoft.com/office/drawing/2014/main" id="{398F40EF-3684-48DD-8AD8-A4F0503C5CBA}"/>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t="5332" r="41262"/>
          <a:stretch/>
        </p:blipFill>
        <p:spPr>
          <a:xfrm rot="10800000">
            <a:off x="3479920" y="2982554"/>
            <a:ext cx="499802" cy="3101889"/>
          </a:xfrm>
          <a:prstGeom prst="rect">
            <a:avLst/>
          </a:prstGeom>
        </p:spPr>
      </p:pic>
      <p:pic>
        <p:nvPicPr>
          <p:cNvPr id="82" name="Graphic 81">
            <a:extLst>
              <a:ext uri="{FF2B5EF4-FFF2-40B4-BE49-F238E27FC236}">
                <a16:creationId xmlns:a16="http://schemas.microsoft.com/office/drawing/2014/main" id="{D97F8D3A-F5B1-4A3A-9B14-E82F2CDEABE4}"/>
              </a:ext>
            </a:extLst>
          </p:cNvPr>
          <p:cNvPicPr>
            <a:picLocks noChangeAspect="1"/>
          </p:cNvPicPr>
          <p:nvPr userDrawn="1"/>
        </p:nvPicPr>
        <p:blipFill rotWithShape="1">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rcRect r="52919"/>
          <a:stretch/>
        </p:blipFill>
        <p:spPr>
          <a:xfrm>
            <a:off x="11030374" y="2887980"/>
            <a:ext cx="1161626" cy="2270760"/>
          </a:xfrm>
          <a:prstGeom prst="rect">
            <a:avLst/>
          </a:prstGeom>
        </p:spPr>
      </p:pic>
      <p:sp>
        <p:nvSpPr>
          <p:cNvPr id="6" name="Picture Placeholder 5">
            <a:extLst>
              <a:ext uri="{FF2B5EF4-FFF2-40B4-BE49-F238E27FC236}">
                <a16:creationId xmlns:a16="http://schemas.microsoft.com/office/drawing/2014/main" id="{82D39170-48C3-4960-8251-B18662DAF534}"/>
              </a:ext>
            </a:extLst>
          </p:cNvPr>
          <p:cNvSpPr>
            <a:spLocks noGrp="1"/>
          </p:cNvSpPr>
          <p:nvPr>
            <p:ph type="pic" sz="quarter" idx="10" hasCustomPrompt="1"/>
          </p:nvPr>
        </p:nvSpPr>
        <p:spPr>
          <a:xfrm>
            <a:off x="4573905" y="1648460"/>
            <a:ext cx="7096125" cy="4572000"/>
          </a:xfrm>
          <a:solidFill>
            <a:schemeClr val="bg1">
              <a:lumMod val="95000"/>
            </a:schemeClr>
          </a:solidFill>
          <a:ln w="9525">
            <a:gradFill>
              <a:gsLst>
                <a:gs pos="100000">
                  <a:schemeClr val="bg2"/>
                </a:gs>
                <a:gs pos="0">
                  <a:schemeClr val="tx1"/>
                </a:gs>
              </a:gsLst>
              <a:lin ang="2700000" scaled="0"/>
            </a:gradFill>
          </a:ln>
        </p:spPr>
        <p:style>
          <a:lnRef idx="1">
            <a:schemeClr val="accent1"/>
          </a:lnRef>
          <a:fillRef idx="0">
            <a:schemeClr val="accent1"/>
          </a:fillRef>
          <a:effectRef idx="0">
            <a:schemeClr val="accent1"/>
          </a:effectRef>
          <a:fontRef idx="minor">
            <a:schemeClr val="tx1"/>
          </a:fontRef>
        </p:style>
        <p:txBody>
          <a:bodyPr tIns="1645920"/>
          <a:lstStyle>
            <a:lvl1pPr marL="0" indent="0" algn="ctr">
              <a:buFontTx/>
              <a:buNone/>
              <a:defRPr>
                <a:solidFill>
                  <a:schemeClr val="tx1"/>
                </a:solidFill>
              </a:defRPr>
            </a:lvl1pPr>
          </a:lstStyle>
          <a:p>
            <a:r>
              <a:rPr lang="en-US" dirty="0"/>
              <a:t>Insert picture</a:t>
            </a:r>
          </a:p>
        </p:txBody>
      </p:sp>
      <p:sp>
        <p:nvSpPr>
          <p:cNvPr id="2" name="Title 1">
            <a:extLst>
              <a:ext uri="{FF2B5EF4-FFF2-40B4-BE49-F238E27FC236}">
                <a16:creationId xmlns:a16="http://schemas.microsoft.com/office/drawing/2014/main" id="{F6E69CCC-D78C-4592-9155-75F363BF7096}"/>
              </a:ext>
            </a:extLst>
          </p:cNvPr>
          <p:cNvSpPr>
            <a:spLocks noGrp="1"/>
          </p:cNvSpPr>
          <p:nvPr>
            <p:ph type="title" hasCustomPrompt="1"/>
          </p:nvPr>
        </p:nvSpPr>
        <p:spPr/>
        <p:txBody>
          <a:bodyPr/>
          <a:lstStyle>
            <a:lvl1pPr>
              <a:defRPr/>
            </a:lvl1pPr>
          </a:lstStyle>
          <a:p>
            <a:r>
              <a:rPr lang="en-US" dirty="0"/>
              <a:t>add title – keep it brief</a:t>
            </a:r>
          </a:p>
        </p:txBody>
      </p:sp>
      <p:sp>
        <p:nvSpPr>
          <p:cNvPr id="16" name="Freeform: Shape 15">
            <a:extLst>
              <a:ext uri="{FF2B5EF4-FFF2-40B4-BE49-F238E27FC236}">
                <a16:creationId xmlns:a16="http://schemas.microsoft.com/office/drawing/2014/main" id="{DFBEEA6F-668D-442E-A0D4-9939E1D82CB5}"/>
              </a:ext>
            </a:extLst>
          </p:cNvPr>
          <p:cNvSpPr/>
          <p:nvPr userDrawn="1"/>
        </p:nvSpPr>
        <p:spPr>
          <a:xfrm>
            <a:off x="4573905" y="1465962"/>
            <a:ext cx="5252910" cy="24257"/>
          </a:xfrm>
          <a:custGeom>
            <a:avLst/>
            <a:gdLst>
              <a:gd name="connsiteX0" fmla="*/ 5252910 w 5252910"/>
              <a:gd name="connsiteY0" fmla="*/ 24257 h 24257"/>
              <a:gd name="connsiteX1" fmla="*/ 4848860 w 5252910"/>
              <a:gd name="connsiteY1" fmla="*/ 24257 h 24257"/>
              <a:gd name="connsiteX2" fmla="*/ 4848860 w 5252910"/>
              <a:gd name="connsiteY2" fmla="*/ 0 h 24257"/>
              <a:gd name="connsiteX3" fmla="*/ 5252910 w 5252910"/>
              <a:gd name="connsiteY3" fmla="*/ 0 h 24257"/>
              <a:gd name="connsiteX4" fmla="*/ 5252910 w 5252910"/>
              <a:gd name="connsiteY4" fmla="*/ 24257 h 24257"/>
              <a:gd name="connsiteX5" fmla="*/ 4444746 w 5252910"/>
              <a:gd name="connsiteY5" fmla="*/ 24257 h 24257"/>
              <a:gd name="connsiteX6" fmla="*/ 4040696 w 5252910"/>
              <a:gd name="connsiteY6" fmla="*/ 24257 h 24257"/>
              <a:gd name="connsiteX7" fmla="*/ 4040696 w 5252910"/>
              <a:gd name="connsiteY7" fmla="*/ 0 h 24257"/>
              <a:gd name="connsiteX8" fmla="*/ 4444746 w 5252910"/>
              <a:gd name="connsiteY8" fmla="*/ 0 h 24257"/>
              <a:gd name="connsiteX9" fmla="*/ 4444746 w 5252910"/>
              <a:gd name="connsiteY9" fmla="*/ 24257 h 24257"/>
              <a:gd name="connsiteX10" fmla="*/ 3636645 w 5252910"/>
              <a:gd name="connsiteY10" fmla="*/ 24257 h 24257"/>
              <a:gd name="connsiteX11" fmla="*/ 3232594 w 5252910"/>
              <a:gd name="connsiteY11" fmla="*/ 24257 h 24257"/>
              <a:gd name="connsiteX12" fmla="*/ 3232594 w 5252910"/>
              <a:gd name="connsiteY12" fmla="*/ 0 h 24257"/>
              <a:gd name="connsiteX13" fmla="*/ 3636645 w 5252910"/>
              <a:gd name="connsiteY13" fmla="*/ 0 h 24257"/>
              <a:gd name="connsiteX14" fmla="*/ 3636645 w 5252910"/>
              <a:gd name="connsiteY14" fmla="*/ 24257 h 24257"/>
              <a:gd name="connsiteX15" fmla="*/ 2828481 w 5252910"/>
              <a:gd name="connsiteY15" fmla="*/ 24257 h 24257"/>
              <a:gd name="connsiteX16" fmla="*/ 2424430 w 5252910"/>
              <a:gd name="connsiteY16" fmla="*/ 24257 h 24257"/>
              <a:gd name="connsiteX17" fmla="*/ 2424430 w 5252910"/>
              <a:gd name="connsiteY17" fmla="*/ 0 h 24257"/>
              <a:gd name="connsiteX18" fmla="*/ 2828481 w 5252910"/>
              <a:gd name="connsiteY18" fmla="*/ 0 h 24257"/>
              <a:gd name="connsiteX19" fmla="*/ 2828481 w 5252910"/>
              <a:gd name="connsiteY19" fmla="*/ 24257 h 24257"/>
              <a:gd name="connsiteX20" fmla="*/ 2020316 w 5252910"/>
              <a:gd name="connsiteY20" fmla="*/ 24257 h 24257"/>
              <a:gd name="connsiteX21" fmla="*/ 1616266 w 5252910"/>
              <a:gd name="connsiteY21" fmla="*/ 24257 h 24257"/>
              <a:gd name="connsiteX22" fmla="*/ 1616266 w 5252910"/>
              <a:gd name="connsiteY22" fmla="*/ 0 h 24257"/>
              <a:gd name="connsiteX23" fmla="*/ 2020316 w 5252910"/>
              <a:gd name="connsiteY23" fmla="*/ 0 h 24257"/>
              <a:gd name="connsiteX24" fmla="*/ 2020316 w 5252910"/>
              <a:gd name="connsiteY24" fmla="*/ 24257 h 24257"/>
              <a:gd name="connsiteX25" fmla="*/ 1212215 w 5252910"/>
              <a:gd name="connsiteY25" fmla="*/ 24257 h 24257"/>
              <a:gd name="connsiteX26" fmla="*/ 808164 w 5252910"/>
              <a:gd name="connsiteY26" fmla="*/ 24257 h 24257"/>
              <a:gd name="connsiteX27" fmla="*/ 808164 w 5252910"/>
              <a:gd name="connsiteY27" fmla="*/ 0 h 24257"/>
              <a:gd name="connsiteX28" fmla="*/ 1212215 w 5252910"/>
              <a:gd name="connsiteY28" fmla="*/ 0 h 24257"/>
              <a:gd name="connsiteX29" fmla="*/ 1212215 w 5252910"/>
              <a:gd name="connsiteY29" fmla="*/ 24257 h 24257"/>
              <a:gd name="connsiteX30" fmla="*/ 404051 w 5252910"/>
              <a:gd name="connsiteY30" fmla="*/ 24257 h 24257"/>
              <a:gd name="connsiteX31" fmla="*/ 0 w 5252910"/>
              <a:gd name="connsiteY31" fmla="*/ 24257 h 24257"/>
              <a:gd name="connsiteX32" fmla="*/ 0 w 5252910"/>
              <a:gd name="connsiteY32" fmla="*/ 0 h 24257"/>
              <a:gd name="connsiteX33" fmla="*/ 404051 w 5252910"/>
              <a:gd name="connsiteY33" fmla="*/ 0 h 24257"/>
              <a:gd name="connsiteX34" fmla="*/ 404051 w 5252910"/>
              <a:gd name="connsiteY34" fmla="*/ 24257 h 242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5252910" h="24257">
                <a:moveTo>
                  <a:pt x="5252910" y="24257"/>
                </a:moveTo>
                <a:lnTo>
                  <a:pt x="4848860" y="24257"/>
                </a:lnTo>
                <a:lnTo>
                  <a:pt x="4848860" y="0"/>
                </a:lnTo>
                <a:lnTo>
                  <a:pt x="5252910" y="0"/>
                </a:lnTo>
                <a:lnTo>
                  <a:pt x="5252910" y="24257"/>
                </a:lnTo>
                <a:close/>
                <a:moveTo>
                  <a:pt x="4444746" y="24257"/>
                </a:moveTo>
                <a:lnTo>
                  <a:pt x="4040696" y="24257"/>
                </a:lnTo>
                <a:lnTo>
                  <a:pt x="4040696" y="0"/>
                </a:lnTo>
                <a:lnTo>
                  <a:pt x="4444746" y="0"/>
                </a:lnTo>
                <a:lnTo>
                  <a:pt x="4444746" y="24257"/>
                </a:lnTo>
                <a:close/>
                <a:moveTo>
                  <a:pt x="3636645" y="24257"/>
                </a:moveTo>
                <a:lnTo>
                  <a:pt x="3232594" y="24257"/>
                </a:lnTo>
                <a:lnTo>
                  <a:pt x="3232594" y="0"/>
                </a:lnTo>
                <a:lnTo>
                  <a:pt x="3636645" y="0"/>
                </a:lnTo>
                <a:lnTo>
                  <a:pt x="3636645" y="24257"/>
                </a:lnTo>
                <a:close/>
                <a:moveTo>
                  <a:pt x="2828481" y="24257"/>
                </a:moveTo>
                <a:lnTo>
                  <a:pt x="2424430" y="24257"/>
                </a:lnTo>
                <a:lnTo>
                  <a:pt x="2424430" y="0"/>
                </a:lnTo>
                <a:lnTo>
                  <a:pt x="2828481" y="0"/>
                </a:lnTo>
                <a:lnTo>
                  <a:pt x="2828481" y="24257"/>
                </a:lnTo>
                <a:close/>
                <a:moveTo>
                  <a:pt x="2020316" y="24257"/>
                </a:moveTo>
                <a:lnTo>
                  <a:pt x="1616266" y="24257"/>
                </a:lnTo>
                <a:lnTo>
                  <a:pt x="1616266" y="0"/>
                </a:lnTo>
                <a:lnTo>
                  <a:pt x="2020316" y="0"/>
                </a:lnTo>
                <a:lnTo>
                  <a:pt x="2020316" y="24257"/>
                </a:lnTo>
                <a:close/>
                <a:moveTo>
                  <a:pt x="1212215" y="24257"/>
                </a:moveTo>
                <a:lnTo>
                  <a:pt x="808164" y="24257"/>
                </a:lnTo>
                <a:lnTo>
                  <a:pt x="808164" y="0"/>
                </a:lnTo>
                <a:lnTo>
                  <a:pt x="1212215" y="0"/>
                </a:lnTo>
                <a:lnTo>
                  <a:pt x="1212215" y="24257"/>
                </a:lnTo>
                <a:close/>
                <a:moveTo>
                  <a:pt x="404051" y="24257"/>
                </a:moveTo>
                <a:lnTo>
                  <a:pt x="0" y="24257"/>
                </a:lnTo>
                <a:lnTo>
                  <a:pt x="0" y="0"/>
                </a:lnTo>
                <a:lnTo>
                  <a:pt x="404051" y="0"/>
                </a:lnTo>
                <a:lnTo>
                  <a:pt x="404051" y="24257"/>
                </a:lnTo>
                <a:close/>
              </a:path>
            </a:pathLst>
          </a:custGeom>
          <a:solidFill>
            <a:srgbClr val="6FBE4A"/>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grpSp>
        <p:nvGrpSpPr>
          <p:cNvPr id="17" name="Graphic 42">
            <a:extLst>
              <a:ext uri="{FF2B5EF4-FFF2-40B4-BE49-F238E27FC236}">
                <a16:creationId xmlns:a16="http://schemas.microsoft.com/office/drawing/2014/main" id="{4462BEFA-F6BE-408A-8CBD-DDC5B03EF6CF}"/>
              </a:ext>
            </a:extLst>
          </p:cNvPr>
          <p:cNvGrpSpPr/>
          <p:nvPr userDrawn="1"/>
        </p:nvGrpSpPr>
        <p:grpSpPr>
          <a:xfrm>
            <a:off x="5040122" y="1453579"/>
            <a:ext cx="4312158" cy="55752"/>
            <a:chOff x="1962277" y="6465887"/>
            <a:chExt cx="4312158" cy="55752"/>
          </a:xfrm>
          <a:solidFill>
            <a:srgbClr val="B3B3B3"/>
          </a:solidFill>
        </p:grpSpPr>
        <p:grpSp>
          <p:nvGrpSpPr>
            <p:cNvPr id="18" name="Graphic 42">
              <a:extLst>
                <a:ext uri="{FF2B5EF4-FFF2-40B4-BE49-F238E27FC236}">
                  <a16:creationId xmlns:a16="http://schemas.microsoft.com/office/drawing/2014/main" id="{6C414D36-83CA-494E-90F0-B5BB4912F8F4}"/>
                </a:ext>
              </a:extLst>
            </p:cNvPr>
            <p:cNvGrpSpPr/>
            <p:nvPr/>
          </p:nvGrpSpPr>
          <p:grpSpPr>
            <a:xfrm>
              <a:off x="1962277" y="6465887"/>
              <a:ext cx="275081" cy="55752"/>
              <a:chOff x="1962277" y="6465887"/>
              <a:chExt cx="275081" cy="55752"/>
            </a:xfrm>
            <a:solidFill>
              <a:srgbClr val="B3B3B3"/>
            </a:solidFill>
          </p:grpSpPr>
          <p:sp>
            <p:nvSpPr>
              <p:cNvPr id="44" name="Freeform: Shape 43">
                <a:extLst>
                  <a:ext uri="{FF2B5EF4-FFF2-40B4-BE49-F238E27FC236}">
                    <a16:creationId xmlns:a16="http://schemas.microsoft.com/office/drawing/2014/main" id="{F12D98FB-8347-49AC-981B-0836C07DF466}"/>
                  </a:ext>
                </a:extLst>
              </p:cNvPr>
              <p:cNvSpPr/>
              <p:nvPr/>
            </p:nvSpPr>
            <p:spPr>
              <a:xfrm>
                <a:off x="2229294" y="6465887"/>
                <a:ext cx="8064" cy="55752"/>
              </a:xfrm>
              <a:custGeom>
                <a:avLst/>
                <a:gdLst>
                  <a:gd name="connsiteX0" fmla="*/ 0 w 8064"/>
                  <a:gd name="connsiteY0" fmla="*/ 0 h 55752"/>
                  <a:gd name="connsiteX1" fmla="*/ 8064 w 8064"/>
                  <a:gd name="connsiteY1" fmla="*/ 0 h 55752"/>
                  <a:gd name="connsiteX2" fmla="*/ 8064 w 8064"/>
                  <a:gd name="connsiteY2" fmla="*/ 55753 h 55752"/>
                  <a:gd name="connsiteX3" fmla="*/ 0 w 8064"/>
                  <a:gd name="connsiteY3" fmla="*/ 55753 h 55752"/>
                </a:gdLst>
                <a:ahLst/>
                <a:cxnLst>
                  <a:cxn ang="0">
                    <a:pos x="connsiteX0" y="connsiteY0"/>
                  </a:cxn>
                  <a:cxn ang="0">
                    <a:pos x="connsiteX1" y="connsiteY1"/>
                  </a:cxn>
                  <a:cxn ang="0">
                    <a:pos x="connsiteX2" y="connsiteY2"/>
                  </a:cxn>
                  <a:cxn ang="0">
                    <a:pos x="connsiteX3" y="connsiteY3"/>
                  </a:cxn>
                </a:cxnLst>
                <a:rect l="l" t="t" r="r" b="b"/>
                <a:pathLst>
                  <a:path w="8064" h="55752">
                    <a:moveTo>
                      <a:pt x="0" y="0"/>
                    </a:moveTo>
                    <a:lnTo>
                      <a:pt x="8064" y="0"/>
                    </a:lnTo>
                    <a:lnTo>
                      <a:pt x="8064" y="55753"/>
                    </a:lnTo>
                    <a:lnTo>
                      <a:pt x="0" y="55753"/>
                    </a:lnTo>
                    <a:close/>
                  </a:path>
                </a:pathLst>
              </a:custGeom>
              <a:solidFill>
                <a:srgbClr val="B3B3B3"/>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45" name="Freeform: Shape 44">
                <a:extLst>
                  <a:ext uri="{FF2B5EF4-FFF2-40B4-BE49-F238E27FC236}">
                    <a16:creationId xmlns:a16="http://schemas.microsoft.com/office/drawing/2014/main" id="{25515A06-384F-4412-B81B-CC4CC0CA36F9}"/>
                  </a:ext>
                </a:extLst>
              </p:cNvPr>
              <p:cNvSpPr/>
              <p:nvPr/>
            </p:nvSpPr>
            <p:spPr>
              <a:xfrm>
                <a:off x="2133092" y="6465887"/>
                <a:ext cx="8064" cy="55752"/>
              </a:xfrm>
              <a:custGeom>
                <a:avLst/>
                <a:gdLst>
                  <a:gd name="connsiteX0" fmla="*/ 0 w 8064"/>
                  <a:gd name="connsiteY0" fmla="*/ 0 h 55752"/>
                  <a:gd name="connsiteX1" fmla="*/ 8065 w 8064"/>
                  <a:gd name="connsiteY1" fmla="*/ 0 h 55752"/>
                  <a:gd name="connsiteX2" fmla="*/ 8065 w 8064"/>
                  <a:gd name="connsiteY2" fmla="*/ 55753 h 55752"/>
                  <a:gd name="connsiteX3" fmla="*/ 0 w 8064"/>
                  <a:gd name="connsiteY3" fmla="*/ 55753 h 55752"/>
                </a:gdLst>
                <a:ahLst/>
                <a:cxnLst>
                  <a:cxn ang="0">
                    <a:pos x="connsiteX0" y="connsiteY0"/>
                  </a:cxn>
                  <a:cxn ang="0">
                    <a:pos x="connsiteX1" y="connsiteY1"/>
                  </a:cxn>
                  <a:cxn ang="0">
                    <a:pos x="connsiteX2" y="connsiteY2"/>
                  </a:cxn>
                  <a:cxn ang="0">
                    <a:pos x="connsiteX3" y="connsiteY3"/>
                  </a:cxn>
                </a:cxnLst>
                <a:rect l="l" t="t" r="r" b="b"/>
                <a:pathLst>
                  <a:path w="8064" h="55752">
                    <a:moveTo>
                      <a:pt x="0" y="0"/>
                    </a:moveTo>
                    <a:lnTo>
                      <a:pt x="8065" y="0"/>
                    </a:lnTo>
                    <a:lnTo>
                      <a:pt x="8065" y="55753"/>
                    </a:lnTo>
                    <a:lnTo>
                      <a:pt x="0" y="55753"/>
                    </a:lnTo>
                    <a:close/>
                  </a:path>
                </a:pathLst>
              </a:custGeom>
              <a:solidFill>
                <a:srgbClr val="B3B3B3"/>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46" name="Freeform: Shape 45">
                <a:extLst>
                  <a:ext uri="{FF2B5EF4-FFF2-40B4-BE49-F238E27FC236}">
                    <a16:creationId xmlns:a16="http://schemas.microsoft.com/office/drawing/2014/main" id="{FD3D9B1C-CA80-4F23-B321-AF615A9E00C6}"/>
                  </a:ext>
                </a:extLst>
              </p:cNvPr>
              <p:cNvSpPr/>
              <p:nvPr/>
            </p:nvSpPr>
            <p:spPr>
              <a:xfrm>
                <a:off x="2049526" y="6465887"/>
                <a:ext cx="8064" cy="55752"/>
              </a:xfrm>
              <a:custGeom>
                <a:avLst/>
                <a:gdLst>
                  <a:gd name="connsiteX0" fmla="*/ 0 w 8064"/>
                  <a:gd name="connsiteY0" fmla="*/ 0 h 55752"/>
                  <a:gd name="connsiteX1" fmla="*/ 8064 w 8064"/>
                  <a:gd name="connsiteY1" fmla="*/ 0 h 55752"/>
                  <a:gd name="connsiteX2" fmla="*/ 8064 w 8064"/>
                  <a:gd name="connsiteY2" fmla="*/ 55753 h 55752"/>
                  <a:gd name="connsiteX3" fmla="*/ 0 w 8064"/>
                  <a:gd name="connsiteY3" fmla="*/ 55753 h 55752"/>
                </a:gdLst>
                <a:ahLst/>
                <a:cxnLst>
                  <a:cxn ang="0">
                    <a:pos x="connsiteX0" y="connsiteY0"/>
                  </a:cxn>
                  <a:cxn ang="0">
                    <a:pos x="connsiteX1" y="connsiteY1"/>
                  </a:cxn>
                  <a:cxn ang="0">
                    <a:pos x="connsiteX2" y="connsiteY2"/>
                  </a:cxn>
                  <a:cxn ang="0">
                    <a:pos x="connsiteX3" y="connsiteY3"/>
                  </a:cxn>
                </a:cxnLst>
                <a:rect l="l" t="t" r="r" b="b"/>
                <a:pathLst>
                  <a:path w="8064" h="55752">
                    <a:moveTo>
                      <a:pt x="0" y="0"/>
                    </a:moveTo>
                    <a:lnTo>
                      <a:pt x="8064" y="0"/>
                    </a:lnTo>
                    <a:lnTo>
                      <a:pt x="8064" y="55753"/>
                    </a:lnTo>
                    <a:lnTo>
                      <a:pt x="0" y="55753"/>
                    </a:lnTo>
                    <a:close/>
                  </a:path>
                </a:pathLst>
              </a:custGeom>
              <a:solidFill>
                <a:srgbClr val="B3B3B3"/>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47" name="Freeform: Shape 46">
                <a:extLst>
                  <a:ext uri="{FF2B5EF4-FFF2-40B4-BE49-F238E27FC236}">
                    <a16:creationId xmlns:a16="http://schemas.microsoft.com/office/drawing/2014/main" id="{A61D8D8A-1848-4FF2-A8B9-EAA9E4FA6C9A}"/>
                  </a:ext>
                </a:extLst>
              </p:cNvPr>
              <p:cNvSpPr/>
              <p:nvPr/>
            </p:nvSpPr>
            <p:spPr>
              <a:xfrm>
                <a:off x="1962277" y="6465887"/>
                <a:ext cx="8064" cy="55752"/>
              </a:xfrm>
              <a:custGeom>
                <a:avLst/>
                <a:gdLst>
                  <a:gd name="connsiteX0" fmla="*/ 0 w 8064"/>
                  <a:gd name="connsiteY0" fmla="*/ 0 h 55752"/>
                  <a:gd name="connsiteX1" fmla="*/ 8064 w 8064"/>
                  <a:gd name="connsiteY1" fmla="*/ 0 h 55752"/>
                  <a:gd name="connsiteX2" fmla="*/ 8064 w 8064"/>
                  <a:gd name="connsiteY2" fmla="*/ 55753 h 55752"/>
                  <a:gd name="connsiteX3" fmla="*/ 0 w 8064"/>
                  <a:gd name="connsiteY3" fmla="*/ 55753 h 55752"/>
                </a:gdLst>
                <a:ahLst/>
                <a:cxnLst>
                  <a:cxn ang="0">
                    <a:pos x="connsiteX0" y="connsiteY0"/>
                  </a:cxn>
                  <a:cxn ang="0">
                    <a:pos x="connsiteX1" y="connsiteY1"/>
                  </a:cxn>
                  <a:cxn ang="0">
                    <a:pos x="connsiteX2" y="connsiteY2"/>
                  </a:cxn>
                  <a:cxn ang="0">
                    <a:pos x="connsiteX3" y="connsiteY3"/>
                  </a:cxn>
                </a:cxnLst>
                <a:rect l="l" t="t" r="r" b="b"/>
                <a:pathLst>
                  <a:path w="8064" h="55752">
                    <a:moveTo>
                      <a:pt x="0" y="0"/>
                    </a:moveTo>
                    <a:lnTo>
                      <a:pt x="8064" y="0"/>
                    </a:lnTo>
                    <a:lnTo>
                      <a:pt x="8064" y="55753"/>
                    </a:lnTo>
                    <a:lnTo>
                      <a:pt x="0" y="55753"/>
                    </a:lnTo>
                    <a:close/>
                  </a:path>
                </a:pathLst>
              </a:custGeom>
              <a:solidFill>
                <a:srgbClr val="B3B3B3"/>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grpSp>
        <p:grpSp>
          <p:nvGrpSpPr>
            <p:cNvPr id="19" name="Graphic 42">
              <a:extLst>
                <a:ext uri="{FF2B5EF4-FFF2-40B4-BE49-F238E27FC236}">
                  <a16:creationId xmlns:a16="http://schemas.microsoft.com/office/drawing/2014/main" id="{C8188640-B60E-4D12-8195-2CC09242B9F0}"/>
                </a:ext>
              </a:extLst>
            </p:cNvPr>
            <p:cNvGrpSpPr/>
            <p:nvPr/>
          </p:nvGrpSpPr>
          <p:grpSpPr>
            <a:xfrm>
              <a:off x="2767584" y="6465887"/>
              <a:ext cx="275081" cy="55752"/>
              <a:chOff x="2767584" y="6465887"/>
              <a:chExt cx="275081" cy="55752"/>
            </a:xfrm>
            <a:solidFill>
              <a:srgbClr val="B3B3B3"/>
            </a:solidFill>
          </p:grpSpPr>
          <p:sp>
            <p:nvSpPr>
              <p:cNvPr id="40" name="Freeform: Shape 39">
                <a:extLst>
                  <a:ext uri="{FF2B5EF4-FFF2-40B4-BE49-F238E27FC236}">
                    <a16:creationId xmlns:a16="http://schemas.microsoft.com/office/drawing/2014/main" id="{3AED701D-F446-4BF2-B9AB-AD1DE14D2221}"/>
                  </a:ext>
                </a:extLst>
              </p:cNvPr>
              <p:cNvSpPr/>
              <p:nvPr/>
            </p:nvSpPr>
            <p:spPr>
              <a:xfrm>
                <a:off x="3034601" y="6465887"/>
                <a:ext cx="8064" cy="55752"/>
              </a:xfrm>
              <a:custGeom>
                <a:avLst/>
                <a:gdLst>
                  <a:gd name="connsiteX0" fmla="*/ 0 w 8064"/>
                  <a:gd name="connsiteY0" fmla="*/ 0 h 55752"/>
                  <a:gd name="connsiteX1" fmla="*/ 8065 w 8064"/>
                  <a:gd name="connsiteY1" fmla="*/ 0 h 55752"/>
                  <a:gd name="connsiteX2" fmla="*/ 8065 w 8064"/>
                  <a:gd name="connsiteY2" fmla="*/ 55753 h 55752"/>
                  <a:gd name="connsiteX3" fmla="*/ 0 w 8064"/>
                  <a:gd name="connsiteY3" fmla="*/ 55753 h 55752"/>
                </a:gdLst>
                <a:ahLst/>
                <a:cxnLst>
                  <a:cxn ang="0">
                    <a:pos x="connsiteX0" y="connsiteY0"/>
                  </a:cxn>
                  <a:cxn ang="0">
                    <a:pos x="connsiteX1" y="connsiteY1"/>
                  </a:cxn>
                  <a:cxn ang="0">
                    <a:pos x="connsiteX2" y="connsiteY2"/>
                  </a:cxn>
                  <a:cxn ang="0">
                    <a:pos x="connsiteX3" y="connsiteY3"/>
                  </a:cxn>
                </a:cxnLst>
                <a:rect l="l" t="t" r="r" b="b"/>
                <a:pathLst>
                  <a:path w="8064" h="55752">
                    <a:moveTo>
                      <a:pt x="0" y="0"/>
                    </a:moveTo>
                    <a:lnTo>
                      <a:pt x="8065" y="0"/>
                    </a:lnTo>
                    <a:lnTo>
                      <a:pt x="8065" y="55753"/>
                    </a:lnTo>
                    <a:lnTo>
                      <a:pt x="0" y="55753"/>
                    </a:lnTo>
                    <a:close/>
                  </a:path>
                </a:pathLst>
              </a:custGeom>
              <a:solidFill>
                <a:srgbClr val="B3B3B3"/>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41" name="Freeform: Shape 40">
                <a:extLst>
                  <a:ext uri="{FF2B5EF4-FFF2-40B4-BE49-F238E27FC236}">
                    <a16:creationId xmlns:a16="http://schemas.microsoft.com/office/drawing/2014/main" id="{B786866A-0184-4A50-A38D-04AD7C97E460}"/>
                  </a:ext>
                </a:extLst>
              </p:cNvPr>
              <p:cNvSpPr/>
              <p:nvPr/>
            </p:nvSpPr>
            <p:spPr>
              <a:xfrm>
                <a:off x="2938399" y="6465887"/>
                <a:ext cx="8064" cy="55752"/>
              </a:xfrm>
              <a:custGeom>
                <a:avLst/>
                <a:gdLst>
                  <a:gd name="connsiteX0" fmla="*/ 0 w 8064"/>
                  <a:gd name="connsiteY0" fmla="*/ 0 h 55752"/>
                  <a:gd name="connsiteX1" fmla="*/ 8064 w 8064"/>
                  <a:gd name="connsiteY1" fmla="*/ 0 h 55752"/>
                  <a:gd name="connsiteX2" fmla="*/ 8064 w 8064"/>
                  <a:gd name="connsiteY2" fmla="*/ 55753 h 55752"/>
                  <a:gd name="connsiteX3" fmla="*/ 0 w 8064"/>
                  <a:gd name="connsiteY3" fmla="*/ 55753 h 55752"/>
                </a:gdLst>
                <a:ahLst/>
                <a:cxnLst>
                  <a:cxn ang="0">
                    <a:pos x="connsiteX0" y="connsiteY0"/>
                  </a:cxn>
                  <a:cxn ang="0">
                    <a:pos x="connsiteX1" y="connsiteY1"/>
                  </a:cxn>
                  <a:cxn ang="0">
                    <a:pos x="connsiteX2" y="connsiteY2"/>
                  </a:cxn>
                  <a:cxn ang="0">
                    <a:pos x="connsiteX3" y="connsiteY3"/>
                  </a:cxn>
                </a:cxnLst>
                <a:rect l="l" t="t" r="r" b="b"/>
                <a:pathLst>
                  <a:path w="8064" h="55752">
                    <a:moveTo>
                      <a:pt x="0" y="0"/>
                    </a:moveTo>
                    <a:lnTo>
                      <a:pt x="8064" y="0"/>
                    </a:lnTo>
                    <a:lnTo>
                      <a:pt x="8064" y="55753"/>
                    </a:lnTo>
                    <a:lnTo>
                      <a:pt x="0" y="55753"/>
                    </a:lnTo>
                    <a:close/>
                  </a:path>
                </a:pathLst>
              </a:custGeom>
              <a:solidFill>
                <a:srgbClr val="B3B3B3"/>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42" name="Freeform: Shape 41">
                <a:extLst>
                  <a:ext uri="{FF2B5EF4-FFF2-40B4-BE49-F238E27FC236}">
                    <a16:creationId xmlns:a16="http://schemas.microsoft.com/office/drawing/2014/main" id="{22873B01-F29B-447F-8CA9-90773F021047}"/>
                  </a:ext>
                </a:extLst>
              </p:cNvPr>
              <p:cNvSpPr/>
              <p:nvPr/>
            </p:nvSpPr>
            <p:spPr>
              <a:xfrm>
                <a:off x="2854833" y="6465887"/>
                <a:ext cx="8064" cy="55752"/>
              </a:xfrm>
              <a:custGeom>
                <a:avLst/>
                <a:gdLst>
                  <a:gd name="connsiteX0" fmla="*/ 0 w 8064"/>
                  <a:gd name="connsiteY0" fmla="*/ 0 h 55752"/>
                  <a:gd name="connsiteX1" fmla="*/ 8064 w 8064"/>
                  <a:gd name="connsiteY1" fmla="*/ 0 h 55752"/>
                  <a:gd name="connsiteX2" fmla="*/ 8064 w 8064"/>
                  <a:gd name="connsiteY2" fmla="*/ 55753 h 55752"/>
                  <a:gd name="connsiteX3" fmla="*/ 0 w 8064"/>
                  <a:gd name="connsiteY3" fmla="*/ 55753 h 55752"/>
                </a:gdLst>
                <a:ahLst/>
                <a:cxnLst>
                  <a:cxn ang="0">
                    <a:pos x="connsiteX0" y="connsiteY0"/>
                  </a:cxn>
                  <a:cxn ang="0">
                    <a:pos x="connsiteX1" y="connsiteY1"/>
                  </a:cxn>
                  <a:cxn ang="0">
                    <a:pos x="connsiteX2" y="connsiteY2"/>
                  </a:cxn>
                  <a:cxn ang="0">
                    <a:pos x="connsiteX3" y="connsiteY3"/>
                  </a:cxn>
                </a:cxnLst>
                <a:rect l="l" t="t" r="r" b="b"/>
                <a:pathLst>
                  <a:path w="8064" h="55752">
                    <a:moveTo>
                      <a:pt x="0" y="0"/>
                    </a:moveTo>
                    <a:lnTo>
                      <a:pt x="8064" y="0"/>
                    </a:lnTo>
                    <a:lnTo>
                      <a:pt x="8064" y="55753"/>
                    </a:lnTo>
                    <a:lnTo>
                      <a:pt x="0" y="55753"/>
                    </a:lnTo>
                    <a:close/>
                  </a:path>
                </a:pathLst>
              </a:custGeom>
              <a:solidFill>
                <a:srgbClr val="B3B3B3"/>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43" name="Freeform: Shape 42">
                <a:extLst>
                  <a:ext uri="{FF2B5EF4-FFF2-40B4-BE49-F238E27FC236}">
                    <a16:creationId xmlns:a16="http://schemas.microsoft.com/office/drawing/2014/main" id="{39C3C78D-917D-49A6-9DA1-0AAD733B0081}"/>
                  </a:ext>
                </a:extLst>
              </p:cNvPr>
              <p:cNvSpPr/>
              <p:nvPr/>
            </p:nvSpPr>
            <p:spPr>
              <a:xfrm>
                <a:off x="2767584" y="6465887"/>
                <a:ext cx="8064" cy="55752"/>
              </a:xfrm>
              <a:custGeom>
                <a:avLst/>
                <a:gdLst>
                  <a:gd name="connsiteX0" fmla="*/ 0 w 8064"/>
                  <a:gd name="connsiteY0" fmla="*/ 0 h 55752"/>
                  <a:gd name="connsiteX1" fmla="*/ 8064 w 8064"/>
                  <a:gd name="connsiteY1" fmla="*/ 0 h 55752"/>
                  <a:gd name="connsiteX2" fmla="*/ 8064 w 8064"/>
                  <a:gd name="connsiteY2" fmla="*/ 55753 h 55752"/>
                  <a:gd name="connsiteX3" fmla="*/ 0 w 8064"/>
                  <a:gd name="connsiteY3" fmla="*/ 55753 h 55752"/>
                </a:gdLst>
                <a:ahLst/>
                <a:cxnLst>
                  <a:cxn ang="0">
                    <a:pos x="connsiteX0" y="connsiteY0"/>
                  </a:cxn>
                  <a:cxn ang="0">
                    <a:pos x="connsiteX1" y="connsiteY1"/>
                  </a:cxn>
                  <a:cxn ang="0">
                    <a:pos x="connsiteX2" y="connsiteY2"/>
                  </a:cxn>
                  <a:cxn ang="0">
                    <a:pos x="connsiteX3" y="connsiteY3"/>
                  </a:cxn>
                </a:cxnLst>
                <a:rect l="l" t="t" r="r" b="b"/>
                <a:pathLst>
                  <a:path w="8064" h="55752">
                    <a:moveTo>
                      <a:pt x="0" y="0"/>
                    </a:moveTo>
                    <a:lnTo>
                      <a:pt x="8064" y="0"/>
                    </a:lnTo>
                    <a:lnTo>
                      <a:pt x="8064" y="55753"/>
                    </a:lnTo>
                    <a:lnTo>
                      <a:pt x="0" y="55753"/>
                    </a:lnTo>
                    <a:close/>
                  </a:path>
                </a:pathLst>
              </a:custGeom>
              <a:solidFill>
                <a:srgbClr val="B3B3B3"/>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grpSp>
        <p:grpSp>
          <p:nvGrpSpPr>
            <p:cNvPr id="20" name="Graphic 42">
              <a:extLst>
                <a:ext uri="{FF2B5EF4-FFF2-40B4-BE49-F238E27FC236}">
                  <a16:creationId xmlns:a16="http://schemas.microsoft.com/office/drawing/2014/main" id="{0B318879-5799-428C-8F50-C87E1AAE34F9}"/>
                </a:ext>
              </a:extLst>
            </p:cNvPr>
            <p:cNvGrpSpPr/>
            <p:nvPr/>
          </p:nvGrpSpPr>
          <p:grpSpPr>
            <a:xfrm>
              <a:off x="3592067" y="6465887"/>
              <a:ext cx="275082" cy="55752"/>
              <a:chOff x="3592067" y="6465887"/>
              <a:chExt cx="275082" cy="55752"/>
            </a:xfrm>
            <a:solidFill>
              <a:srgbClr val="B3B3B3"/>
            </a:solidFill>
          </p:grpSpPr>
          <p:sp>
            <p:nvSpPr>
              <p:cNvPr id="36" name="Freeform: Shape 35">
                <a:extLst>
                  <a:ext uri="{FF2B5EF4-FFF2-40B4-BE49-F238E27FC236}">
                    <a16:creationId xmlns:a16="http://schemas.microsoft.com/office/drawing/2014/main" id="{12315CF7-1D26-45D3-8980-950C19FCA779}"/>
                  </a:ext>
                </a:extLst>
              </p:cNvPr>
              <p:cNvSpPr/>
              <p:nvPr/>
            </p:nvSpPr>
            <p:spPr>
              <a:xfrm>
                <a:off x="3859085" y="6465887"/>
                <a:ext cx="8064" cy="55752"/>
              </a:xfrm>
              <a:custGeom>
                <a:avLst/>
                <a:gdLst>
                  <a:gd name="connsiteX0" fmla="*/ 0 w 8064"/>
                  <a:gd name="connsiteY0" fmla="*/ 0 h 55752"/>
                  <a:gd name="connsiteX1" fmla="*/ 8065 w 8064"/>
                  <a:gd name="connsiteY1" fmla="*/ 0 h 55752"/>
                  <a:gd name="connsiteX2" fmla="*/ 8065 w 8064"/>
                  <a:gd name="connsiteY2" fmla="*/ 55753 h 55752"/>
                  <a:gd name="connsiteX3" fmla="*/ 0 w 8064"/>
                  <a:gd name="connsiteY3" fmla="*/ 55753 h 55752"/>
                </a:gdLst>
                <a:ahLst/>
                <a:cxnLst>
                  <a:cxn ang="0">
                    <a:pos x="connsiteX0" y="connsiteY0"/>
                  </a:cxn>
                  <a:cxn ang="0">
                    <a:pos x="connsiteX1" y="connsiteY1"/>
                  </a:cxn>
                  <a:cxn ang="0">
                    <a:pos x="connsiteX2" y="connsiteY2"/>
                  </a:cxn>
                  <a:cxn ang="0">
                    <a:pos x="connsiteX3" y="connsiteY3"/>
                  </a:cxn>
                </a:cxnLst>
                <a:rect l="l" t="t" r="r" b="b"/>
                <a:pathLst>
                  <a:path w="8064" h="55752">
                    <a:moveTo>
                      <a:pt x="0" y="0"/>
                    </a:moveTo>
                    <a:lnTo>
                      <a:pt x="8065" y="0"/>
                    </a:lnTo>
                    <a:lnTo>
                      <a:pt x="8065" y="55753"/>
                    </a:lnTo>
                    <a:lnTo>
                      <a:pt x="0" y="55753"/>
                    </a:lnTo>
                    <a:close/>
                  </a:path>
                </a:pathLst>
              </a:custGeom>
              <a:solidFill>
                <a:srgbClr val="B3B3B3"/>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37" name="Freeform: Shape 36">
                <a:extLst>
                  <a:ext uri="{FF2B5EF4-FFF2-40B4-BE49-F238E27FC236}">
                    <a16:creationId xmlns:a16="http://schemas.microsoft.com/office/drawing/2014/main" id="{75582EA7-D6B9-4B06-81FC-45EFF0D7FA1D}"/>
                  </a:ext>
                </a:extLst>
              </p:cNvPr>
              <p:cNvSpPr/>
              <p:nvPr/>
            </p:nvSpPr>
            <p:spPr>
              <a:xfrm>
                <a:off x="3762883" y="6465887"/>
                <a:ext cx="8064" cy="55752"/>
              </a:xfrm>
              <a:custGeom>
                <a:avLst/>
                <a:gdLst>
                  <a:gd name="connsiteX0" fmla="*/ 0 w 8064"/>
                  <a:gd name="connsiteY0" fmla="*/ 0 h 55752"/>
                  <a:gd name="connsiteX1" fmla="*/ 8065 w 8064"/>
                  <a:gd name="connsiteY1" fmla="*/ 0 h 55752"/>
                  <a:gd name="connsiteX2" fmla="*/ 8065 w 8064"/>
                  <a:gd name="connsiteY2" fmla="*/ 55753 h 55752"/>
                  <a:gd name="connsiteX3" fmla="*/ 0 w 8064"/>
                  <a:gd name="connsiteY3" fmla="*/ 55753 h 55752"/>
                </a:gdLst>
                <a:ahLst/>
                <a:cxnLst>
                  <a:cxn ang="0">
                    <a:pos x="connsiteX0" y="connsiteY0"/>
                  </a:cxn>
                  <a:cxn ang="0">
                    <a:pos x="connsiteX1" y="connsiteY1"/>
                  </a:cxn>
                  <a:cxn ang="0">
                    <a:pos x="connsiteX2" y="connsiteY2"/>
                  </a:cxn>
                  <a:cxn ang="0">
                    <a:pos x="connsiteX3" y="connsiteY3"/>
                  </a:cxn>
                </a:cxnLst>
                <a:rect l="l" t="t" r="r" b="b"/>
                <a:pathLst>
                  <a:path w="8064" h="55752">
                    <a:moveTo>
                      <a:pt x="0" y="0"/>
                    </a:moveTo>
                    <a:lnTo>
                      <a:pt x="8065" y="0"/>
                    </a:lnTo>
                    <a:lnTo>
                      <a:pt x="8065" y="55753"/>
                    </a:lnTo>
                    <a:lnTo>
                      <a:pt x="0" y="55753"/>
                    </a:lnTo>
                    <a:close/>
                  </a:path>
                </a:pathLst>
              </a:custGeom>
              <a:solidFill>
                <a:srgbClr val="B3B3B3"/>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38" name="Freeform: Shape 37">
                <a:extLst>
                  <a:ext uri="{FF2B5EF4-FFF2-40B4-BE49-F238E27FC236}">
                    <a16:creationId xmlns:a16="http://schemas.microsoft.com/office/drawing/2014/main" id="{4B32FF40-DA0D-43AF-9E1F-7F90B039619E}"/>
                  </a:ext>
                </a:extLst>
              </p:cNvPr>
              <p:cNvSpPr/>
              <p:nvPr/>
            </p:nvSpPr>
            <p:spPr>
              <a:xfrm>
                <a:off x="3679316" y="6465887"/>
                <a:ext cx="8064" cy="55752"/>
              </a:xfrm>
              <a:custGeom>
                <a:avLst/>
                <a:gdLst>
                  <a:gd name="connsiteX0" fmla="*/ 0 w 8064"/>
                  <a:gd name="connsiteY0" fmla="*/ 0 h 55752"/>
                  <a:gd name="connsiteX1" fmla="*/ 8065 w 8064"/>
                  <a:gd name="connsiteY1" fmla="*/ 0 h 55752"/>
                  <a:gd name="connsiteX2" fmla="*/ 8065 w 8064"/>
                  <a:gd name="connsiteY2" fmla="*/ 55753 h 55752"/>
                  <a:gd name="connsiteX3" fmla="*/ 0 w 8064"/>
                  <a:gd name="connsiteY3" fmla="*/ 55753 h 55752"/>
                </a:gdLst>
                <a:ahLst/>
                <a:cxnLst>
                  <a:cxn ang="0">
                    <a:pos x="connsiteX0" y="connsiteY0"/>
                  </a:cxn>
                  <a:cxn ang="0">
                    <a:pos x="connsiteX1" y="connsiteY1"/>
                  </a:cxn>
                  <a:cxn ang="0">
                    <a:pos x="connsiteX2" y="connsiteY2"/>
                  </a:cxn>
                  <a:cxn ang="0">
                    <a:pos x="connsiteX3" y="connsiteY3"/>
                  </a:cxn>
                </a:cxnLst>
                <a:rect l="l" t="t" r="r" b="b"/>
                <a:pathLst>
                  <a:path w="8064" h="55752">
                    <a:moveTo>
                      <a:pt x="0" y="0"/>
                    </a:moveTo>
                    <a:lnTo>
                      <a:pt x="8065" y="0"/>
                    </a:lnTo>
                    <a:lnTo>
                      <a:pt x="8065" y="55753"/>
                    </a:lnTo>
                    <a:lnTo>
                      <a:pt x="0" y="55753"/>
                    </a:lnTo>
                    <a:close/>
                  </a:path>
                </a:pathLst>
              </a:custGeom>
              <a:solidFill>
                <a:srgbClr val="B3B3B3"/>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39" name="Freeform: Shape 38">
                <a:extLst>
                  <a:ext uri="{FF2B5EF4-FFF2-40B4-BE49-F238E27FC236}">
                    <a16:creationId xmlns:a16="http://schemas.microsoft.com/office/drawing/2014/main" id="{65F385E7-62A0-4424-AA68-EC3AC5D492B0}"/>
                  </a:ext>
                </a:extLst>
              </p:cNvPr>
              <p:cNvSpPr/>
              <p:nvPr/>
            </p:nvSpPr>
            <p:spPr>
              <a:xfrm>
                <a:off x="3592067" y="6465887"/>
                <a:ext cx="8064" cy="55752"/>
              </a:xfrm>
              <a:custGeom>
                <a:avLst/>
                <a:gdLst>
                  <a:gd name="connsiteX0" fmla="*/ 0 w 8064"/>
                  <a:gd name="connsiteY0" fmla="*/ 0 h 55752"/>
                  <a:gd name="connsiteX1" fmla="*/ 8065 w 8064"/>
                  <a:gd name="connsiteY1" fmla="*/ 0 h 55752"/>
                  <a:gd name="connsiteX2" fmla="*/ 8065 w 8064"/>
                  <a:gd name="connsiteY2" fmla="*/ 55753 h 55752"/>
                  <a:gd name="connsiteX3" fmla="*/ 0 w 8064"/>
                  <a:gd name="connsiteY3" fmla="*/ 55753 h 55752"/>
                </a:gdLst>
                <a:ahLst/>
                <a:cxnLst>
                  <a:cxn ang="0">
                    <a:pos x="connsiteX0" y="connsiteY0"/>
                  </a:cxn>
                  <a:cxn ang="0">
                    <a:pos x="connsiteX1" y="connsiteY1"/>
                  </a:cxn>
                  <a:cxn ang="0">
                    <a:pos x="connsiteX2" y="connsiteY2"/>
                  </a:cxn>
                  <a:cxn ang="0">
                    <a:pos x="connsiteX3" y="connsiteY3"/>
                  </a:cxn>
                </a:cxnLst>
                <a:rect l="l" t="t" r="r" b="b"/>
                <a:pathLst>
                  <a:path w="8064" h="55752">
                    <a:moveTo>
                      <a:pt x="0" y="0"/>
                    </a:moveTo>
                    <a:lnTo>
                      <a:pt x="8065" y="0"/>
                    </a:lnTo>
                    <a:lnTo>
                      <a:pt x="8065" y="55753"/>
                    </a:lnTo>
                    <a:lnTo>
                      <a:pt x="0" y="55753"/>
                    </a:lnTo>
                    <a:close/>
                  </a:path>
                </a:pathLst>
              </a:custGeom>
              <a:solidFill>
                <a:srgbClr val="B3B3B3"/>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grpSp>
        <p:grpSp>
          <p:nvGrpSpPr>
            <p:cNvPr id="21" name="Graphic 42">
              <a:extLst>
                <a:ext uri="{FF2B5EF4-FFF2-40B4-BE49-F238E27FC236}">
                  <a16:creationId xmlns:a16="http://schemas.microsoft.com/office/drawing/2014/main" id="{3423C752-5534-4E66-A865-C988809C1E01}"/>
                </a:ext>
              </a:extLst>
            </p:cNvPr>
            <p:cNvGrpSpPr/>
            <p:nvPr/>
          </p:nvGrpSpPr>
          <p:grpSpPr>
            <a:xfrm>
              <a:off x="4397375" y="6465887"/>
              <a:ext cx="275081" cy="55752"/>
              <a:chOff x="4397375" y="6465887"/>
              <a:chExt cx="275081" cy="55752"/>
            </a:xfrm>
            <a:solidFill>
              <a:srgbClr val="B3B3B3"/>
            </a:solidFill>
          </p:grpSpPr>
          <p:sp>
            <p:nvSpPr>
              <p:cNvPr id="32" name="Freeform: Shape 31">
                <a:extLst>
                  <a:ext uri="{FF2B5EF4-FFF2-40B4-BE49-F238E27FC236}">
                    <a16:creationId xmlns:a16="http://schemas.microsoft.com/office/drawing/2014/main" id="{F6ADF341-7B9D-4DD8-9CA6-565A61A1D9F0}"/>
                  </a:ext>
                </a:extLst>
              </p:cNvPr>
              <p:cNvSpPr/>
              <p:nvPr/>
            </p:nvSpPr>
            <p:spPr>
              <a:xfrm>
                <a:off x="4664392" y="6465887"/>
                <a:ext cx="8064" cy="55752"/>
              </a:xfrm>
              <a:custGeom>
                <a:avLst/>
                <a:gdLst>
                  <a:gd name="connsiteX0" fmla="*/ 0 w 8064"/>
                  <a:gd name="connsiteY0" fmla="*/ 0 h 55752"/>
                  <a:gd name="connsiteX1" fmla="*/ 8065 w 8064"/>
                  <a:gd name="connsiteY1" fmla="*/ 0 h 55752"/>
                  <a:gd name="connsiteX2" fmla="*/ 8065 w 8064"/>
                  <a:gd name="connsiteY2" fmla="*/ 55753 h 55752"/>
                  <a:gd name="connsiteX3" fmla="*/ 0 w 8064"/>
                  <a:gd name="connsiteY3" fmla="*/ 55753 h 55752"/>
                </a:gdLst>
                <a:ahLst/>
                <a:cxnLst>
                  <a:cxn ang="0">
                    <a:pos x="connsiteX0" y="connsiteY0"/>
                  </a:cxn>
                  <a:cxn ang="0">
                    <a:pos x="connsiteX1" y="connsiteY1"/>
                  </a:cxn>
                  <a:cxn ang="0">
                    <a:pos x="connsiteX2" y="connsiteY2"/>
                  </a:cxn>
                  <a:cxn ang="0">
                    <a:pos x="connsiteX3" y="connsiteY3"/>
                  </a:cxn>
                </a:cxnLst>
                <a:rect l="l" t="t" r="r" b="b"/>
                <a:pathLst>
                  <a:path w="8064" h="55752">
                    <a:moveTo>
                      <a:pt x="0" y="0"/>
                    </a:moveTo>
                    <a:lnTo>
                      <a:pt x="8065" y="0"/>
                    </a:lnTo>
                    <a:lnTo>
                      <a:pt x="8065" y="55753"/>
                    </a:lnTo>
                    <a:lnTo>
                      <a:pt x="0" y="55753"/>
                    </a:lnTo>
                    <a:close/>
                  </a:path>
                </a:pathLst>
              </a:custGeom>
              <a:solidFill>
                <a:srgbClr val="B3B3B3"/>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33" name="Freeform: Shape 32">
                <a:extLst>
                  <a:ext uri="{FF2B5EF4-FFF2-40B4-BE49-F238E27FC236}">
                    <a16:creationId xmlns:a16="http://schemas.microsoft.com/office/drawing/2014/main" id="{3583D26D-856C-4A77-AE0D-3BA42CE1E584}"/>
                  </a:ext>
                </a:extLst>
              </p:cNvPr>
              <p:cNvSpPr/>
              <p:nvPr/>
            </p:nvSpPr>
            <p:spPr>
              <a:xfrm>
                <a:off x="4568190" y="6465887"/>
                <a:ext cx="8064" cy="55752"/>
              </a:xfrm>
              <a:custGeom>
                <a:avLst/>
                <a:gdLst>
                  <a:gd name="connsiteX0" fmla="*/ 0 w 8064"/>
                  <a:gd name="connsiteY0" fmla="*/ 0 h 55752"/>
                  <a:gd name="connsiteX1" fmla="*/ 8065 w 8064"/>
                  <a:gd name="connsiteY1" fmla="*/ 0 h 55752"/>
                  <a:gd name="connsiteX2" fmla="*/ 8065 w 8064"/>
                  <a:gd name="connsiteY2" fmla="*/ 55753 h 55752"/>
                  <a:gd name="connsiteX3" fmla="*/ 0 w 8064"/>
                  <a:gd name="connsiteY3" fmla="*/ 55753 h 55752"/>
                </a:gdLst>
                <a:ahLst/>
                <a:cxnLst>
                  <a:cxn ang="0">
                    <a:pos x="connsiteX0" y="connsiteY0"/>
                  </a:cxn>
                  <a:cxn ang="0">
                    <a:pos x="connsiteX1" y="connsiteY1"/>
                  </a:cxn>
                  <a:cxn ang="0">
                    <a:pos x="connsiteX2" y="connsiteY2"/>
                  </a:cxn>
                  <a:cxn ang="0">
                    <a:pos x="connsiteX3" y="connsiteY3"/>
                  </a:cxn>
                </a:cxnLst>
                <a:rect l="l" t="t" r="r" b="b"/>
                <a:pathLst>
                  <a:path w="8064" h="55752">
                    <a:moveTo>
                      <a:pt x="0" y="0"/>
                    </a:moveTo>
                    <a:lnTo>
                      <a:pt x="8065" y="0"/>
                    </a:lnTo>
                    <a:lnTo>
                      <a:pt x="8065" y="55753"/>
                    </a:lnTo>
                    <a:lnTo>
                      <a:pt x="0" y="55753"/>
                    </a:lnTo>
                    <a:close/>
                  </a:path>
                </a:pathLst>
              </a:custGeom>
              <a:solidFill>
                <a:srgbClr val="B3B3B3"/>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34" name="Freeform: Shape 33">
                <a:extLst>
                  <a:ext uri="{FF2B5EF4-FFF2-40B4-BE49-F238E27FC236}">
                    <a16:creationId xmlns:a16="http://schemas.microsoft.com/office/drawing/2014/main" id="{3AEFB025-6C70-433A-A300-828C72698CA9}"/>
                  </a:ext>
                </a:extLst>
              </p:cNvPr>
              <p:cNvSpPr/>
              <p:nvPr/>
            </p:nvSpPr>
            <p:spPr>
              <a:xfrm>
                <a:off x="4484624" y="6465887"/>
                <a:ext cx="8064" cy="55752"/>
              </a:xfrm>
              <a:custGeom>
                <a:avLst/>
                <a:gdLst>
                  <a:gd name="connsiteX0" fmla="*/ 0 w 8064"/>
                  <a:gd name="connsiteY0" fmla="*/ 0 h 55752"/>
                  <a:gd name="connsiteX1" fmla="*/ 8065 w 8064"/>
                  <a:gd name="connsiteY1" fmla="*/ 0 h 55752"/>
                  <a:gd name="connsiteX2" fmla="*/ 8065 w 8064"/>
                  <a:gd name="connsiteY2" fmla="*/ 55753 h 55752"/>
                  <a:gd name="connsiteX3" fmla="*/ 0 w 8064"/>
                  <a:gd name="connsiteY3" fmla="*/ 55753 h 55752"/>
                </a:gdLst>
                <a:ahLst/>
                <a:cxnLst>
                  <a:cxn ang="0">
                    <a:pos x="connsiteX0" y="connsiteY0"/>
                  </a:cxn>
                  <a:cxn ang="0">
                    <a:pos x="connsiteX1" y="connsiteY1"/>
                  </a:cxn>
                  <a:cxn ang="0">
                    <a:pos x="connsiteX2" y="connsiteY2"/>
                  </a:cxn>
                  <a:cxn ang="0">
                    <a:pos x="connsiteX3" y="connsiteY3"/>
                  </a:cxn>
                </a:cxnLst>
                <a:rect l="l" t="t" r="r" b="b"/>
                <a:pathLst>
                  <a:path w="8064" h="55752">
                    <a:moveTo>
                      <a:pt x="0" y="0"/>
                    </a:moveTo>
                    <a:lnTo>
                      <a:pt x="8065" y="0"/>
                    </a:lnTo>
                    <a:lnTo>
                      <a:pt x="8065" y="55753"/>
                    </a:lnTo>
                    <a:lnTo>
                      <a:pt x="0" y="55753"/>
                    </a:lnTo>
                    <a:close/>
                  </a:path>
                </a:pathLst>
              </a:custGeom>
              <a:solidFill>
                <a:srgbClr val="B3B3B3"/>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35" name="Freeform: Shape 34">
                <a:extLst>
                  <a:ext uri="{FF2B5EF4-FFF2-40B4-BE49-F238E27FC236}">
                    <a16:creationId xmlns:a16="http://schemas.microsoft.com/office/drawing/2014/main" id="{B1D62E97-9E08-4764-8431-00935A47F3A0}"/>
                  </a:ext>
                </a:extLst>
              </p:cNvPr>
              <p:cNvSpPr/>
              <p:nvPr/>
            </p:nvSpPr>
            <p:spPr>
              <a:xfrm>
                <a:off x="4397375" y="6465887"/>
                <a:ext cx="8064" cy="55752"/>
              </a:xfrm>
              <a:custGeom>
                <a:avLst/>
                <a:gdLst>
                  <a:gd name="connsiteX0" fmla="*/ 0 w 8064"/>
                  <a:gd name="connsiteY0" fmla="*/ 0 h 55752"/>
                  <a:gd name="connsiteX1" fmla="*/ 8065 w 8064"/>
                  <a:gd name="connsiteY1" fmla="*/ 0 h 55752"/>
                  <a:gd name="connsiteX2" fmla="*/ 8065 w 8064"/>
                  <a:gd name="connsiteY2" fmla="*/ 55753 h 55752"/>
                  <a:gd name="connsiteX3" fmla="*/ 0 w 8064"/>
                  <a:gd name="connsiteY3" fmla="*/ 55753 h 55752"/>
                </a:gdLst>
                <a:ahLst/>
                <a:cxnLst>
                  <a:cxn ang="0">
                    <a:pos x="connsiteX0" y="connsiteY0"/>
                  </a:cxn>
                  <a:cxn ang="0">
                    <a:pos x="connsiteX1" y="connsiteY1"/>
                  </a:cxn>
                  <a:cxn ang="0">
                    <a:pos x="connsiteX2" y="connsiteY2"/>
                  </a:cxn>
                  <a:cxn ang="0">
                    <a:pos x="connsiteX3" y="connsiteY3"/>
                  </a:cxn>
                </a:cxnLst>
                <a:rect l="l" t="t" r="r" b="b"/>
                <a:pathLst>
                  <a:path w="8064" h="55752">
                    <a:moveTo>
                      <a:pt x="0" y="0"/>
                    </a:moveTo>
                    <a:lnTo>
                      <a:pt x="8065" y="0"/>
                    </a:lnTo>
                    <a:lnTo>
                      <a:pt x="8065" y="55753"/>
                    </a:lnTo>
                    <a:lnTo>
                      <a:pt x="0" y="55753"/>
                    </a:lnTo>
                    <a:close/>
                  </a:path>
                </a:pathLst>
              </a:custGeom>
              <a:solidFill>
                <a:srgbClr val="B3B3B3"/>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grpSp>
        <p:grpSp>
          <p:nvGrpSpPr>
            <p:cNvPr id="22" name="Graphic 42">
              <a:extLst>
                <a:ext uri="{FF2B5EF4-FFF2-40B4-BE49-F238E27FC236}">
                  <a16:creationId xmlns:a16="http://schemas.microsoft.com/office/drawing/2014/main" id="{B5A71B70-4F7E-4F2D-B1E9-AA29844C693D}"/>
                </a:ext>
              </a:extLst>
            </p:cNvPr>
            <p:cNvGrpSpPr/>
            <p:nvPr/>
          </p:nvGrpSpPr>
          <p:grpSpPr>
            <a:xfrm>
              <a:off x="5193982" y="6465887"/>
              <a:ext cx="275081" cy="55752"/>
              <a:chOff x="5193982" y="6465887"/>
              <a:chExt cx="275081" cy="55752"/>
            </a:xfrm>
            <a:solidFill>
              <a:srgbClr val="B3B3B3"/>
            </a:solidFill>
          </p:grpSpPr>
          <p:sp>
            <p:nvSpPr>
              <p:cNvPr id="28" name="Freeform: Shape 27">
                <a:extLst>
                  <a:ext uri="{FF2B5EF4-FFF2-40B4-BE49-F238E27FC236}">
                    <a16:creationId xmlns:a16="http://schemas.microsoft.com/office/drawing/2014/main" id="{5C4D2D9B-3546-4854-9EF0-91DA8B5D343A}"/>
                  </a:ext>
                </a:extLst>
              </p:cNvPr>
              <p:cNvSpPr/>
              <p:nvPr/>
            </p:nvSpPr>
            <p:spPr>
              <a:xfrm>
                <a:off x="5461000" y="6465887"/>
                <a:ext cx="8064" cy="55752"/>
              </a:xfrm>
              <a:custGeom>
                <a:avLst/>
                <a:gdLst>
                  <a:gd name="connsiteX0" fmla="*/ 0 w 8064"/>
                  <a:gd name="connsiteY0" fmla="*/ 0 h 55752"/>
                  <a:gd name="connsiteX1" fmla="*/ 8065 w 8064"/>
                  <a:gd name="connsiteY1" fmla="*/ 0 h 55752"/>
                  <a:gd name="connsiteX2" fmla="*/ 8065 w 8064"/>
                  <a:gd name="connsiteY2" fmla="*/ 55753 h 55752"/>
                  <a:gd name="connsiteX3" fmla="*/ 0 w 8064"/>
                  <a:gd name="connsiteY3" fmla="*/ 55753 h 55752"/>
                </a:gdLst>
                <a:ahLst/>
                <a:cxnLst>
                  <a:cxn ang="0">
                    <a:pos x="connsiteX0" y="connsiteY0"/>
                  </a:cxn>
                  <a:cxn ang="0">
                    <a:pos x="connsiteX1" y="connsiteY1"/>
                  </a:cxn>
                  <a:cxn ang="0">
                    <a:pos x="connsiteX2" y="connsiteY2"/>
                  </a:cxn>
                  <a:cxn ang="0">
                    <a:pos x="connsiteX3" y="connsiteY3"/>
                  </a:cxn>
                </a:cxnLst>
                <a:rect l="l" t="t" r="r" b="b"/>
                <a:pathLst>
                  <a:path w="8064" h="55752">
                    <a:moveTo>
                      <a:pt x="0" y="0"/>
                    </a:moveTo>
                    <a:lnTo>
                      <a:pt x="8065" y="0"/>
                    </a:lnTo>
                    <a:lnTo>
                      <a:pt x="8065" y="55753"/>
                    </a:lnTo>
                    <a:lnTo>
                      <a:pt x="0" y="55753"/>
                    </a:lnTo>
                    <a:close/>
                  </a:path>
                </a:pathLst>
              </a:custGeom>
              <a:solidFill>
                <a:srgbClr val="B3B3B3"/>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29" name="Freeform: Shape 28">
                <a:extLst>
                  <a:ext uri="{FF2B5EF4-FFF2-40B4-BE49-F238E27FC236}">
                    <a16:creationId xmlns:a16="http://schemas.microsoft.com/office/drawing/2014/main" id="{CACC2168-473F-4DD8-9CCA-AC07604162E4}"/>
                  </a:ext>
                </a:extLst>
              </p:cNvPr>
              <p:cNvSpPr/>
              <p:nvPr/>
            </p:nvSpPr>
            <p:spPr>
              <a:xfrm>
                <a:off x="5364861" y="6465887"/>
                <a:ext cx="8064" cy="55752"/>
              </a:xfrm>
              <a:custGeom>
                <a:avLst/>
                <a:gdLst>
                  <a:gd name="connsiteX0" fmla="*/ 0 w 8064"/>
                  <a:gd name="connsiteY0" fmla="*/ 0 h 55752"/>
                  <a:gd name="connsiteX1" fmla="*/ 8065 w 8064"/>
                  <a:gd name="connsiteY1" fmla="*/ 0 h 55752"/>
                  <a:gd name="connsiteX2" fmla="*/ 8065 w 8064"/>
                  <a:gd name="connsiteY2" fmla="*/ 55753 h 55752"/>
                  <a:gd name="connsiteX3" fmla="*/ 0 w 8064"/>
                  <a:gd name="connsiteY3" fmla="*/ 55753 h 55752"/>
                </a:gdLst>
                <a:ahLst/>
                <a:cxnLst>
                  <a:cxn ang="0">
                    <a:pos x="connsiteX0" y="connsiteY0"/>
                  </a:cxn>
                  <a:cxn ang="0">
                    <a:pos x="connsiteX1" y="connsiteY1"/>
                  </a:cxn>
                  <a:cxn ang="0">
                    <a:pos x="connsiteX2" y="connsiteY2"/>
                  </a:cxn>
                  <a:cxn ang="0">
                    <a:pos x="connsiteX3" y="connsiteY3"/>
                  </a:cxn>
                </a:cxnLst>
                <a:rect l="l" t="t" r="r" b="b"/>
                <a:pathLst>
                  <a:path w="8064" h="55752">
                    <a:moveTo>
                      <a:pt x="0" y="0"/>
                    </a:moveTo>
                    <a:lnTo>
                      <a:pt x="8065" y="0"/>
                    </a:lnTo>
                    <a:lnTo>
                      <a:pt x="8065" y="55753"/>
                    </a:lnTo>
                    <a:lnTo>
                      <a:pt x="0" y="55753"/>
                    </a:lnTo>
                    <a:close/>
                  </a:path>
                </a:pathLst>
              </a:custGeom>
              <a:solidFill>
                <a:srgbClr val="B3B3B3"/>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30" name="Freeform: Shape 29">
                <a:extLst>
                  <a:ext uri="{FF2B5EF4-FFF2-40B4-BE49-F238E27FC236}">
                    <a16:creationId xmlns:a16="http://schemas.microsoft.com/office/drawing/2014/main" id="{C0676C98-9672-4F1C-B76D-533DC9DC61E9}"/>
                  </a:ext>
                </a:extLst>
              </p:cNvPr>
              <p:cNvSpPr/>
              <p:nvPr/>
            </p:nvSpPr>
            <p:spPr>
              <a:xfrm>
                <a:off x="5281231" y="6465887"/>
                <a:ext cx="8064" cy="55752"/>
              </a:xfrm>
              <a:custGeom>
                <a:avLst/>
                <a:gdLst>
                  <a:gd name="connsiteX0" fmla="*/ 0 w 8064"/>
                  <a:gd name="connsiteY0" fmla="*/ 0 h 55752"/>
                  <a:gd name="connsiteX1" fmla="*/ 8065 w 8064"/>
                  <a:gd name="connsiteY1" fmla="*/ 0 h 55752"/>
                  <a:gd name="connsiteX2" fmla="*/ 8065 w 8064"/>
                  <a:gd name="connsiteY2" fmla="*/ 55753 h 55752"/>
                  <a:gd name="connsiteX3" fmla="*/ 0 w 8064"/>
                  <a:gd name="connsiteY3" fmla="*/ 55753 h 55752"/>
                </a:gdLst>
                <a:ahLst/>
                <a:cxnLst>
                  <a:cxn ang="0">
                    <a:pos x="connsiteX0" y="connsiteY0"/>
                  </a:cxn>
                  <a:cxn ang="0">
                    <a:pos x="connsiteX1" y="connsiteY1"/>
                  </a:cxn>
                  <a:cxn ang="0">
                    <a:pos x="connsiteX2" y="connsiteY2"/>
                  </a:cxn>
                  <a:cxn ang="0">
                    <a:pos x="connsiteX3" y="connsiteY3"/>
                  </a:cxn>
                </a:cxnLst>
                <a:rect l="l" t="t" r="r" b="b"/>
                <a:pathLst>
                  <a:path w="8064" h="55752">
                    <a:moveTo>
                      <a:pt x="0" y="0"/>
                    </a:moveTo>
                    <a:lnTo>
                      <a:pt x="8065" y="0"/>
                    </a:lnTo>
                    <a:lnTo>
                      <a:pt x="8065" y="55753"/>
                    </a:lnTo>
                    <a:lnTo>
                      <a:pt x="0" y="55753"/>
                    </a:lnTo>
                    <a:close/>
                  </a:path>
                </a:pathLst>
              </a:custGeom>
              <a:solidFill>
                <a:srgbClr val="B3B3B3"/>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31" name="Freeform: Shape 30">
                <a:extLst>
                  <a:ext uri="{FF2B5EF4-FFF2-40B4-BE49-F238E27FC236}">
                    <a16:creationId xmlns:a16="http://schemas.microsoft.com/office/drawing/2014/main" id="{967CC653-46C7-4F44-8FF4-0AABDEBC12E7}"/>
                  </a:ext>
                </a:extLst>
              </p:cNvPr>
              <p:cNvSpPr/>
              <p:nvPr/>
            </p:nvSpPr>
            <p:spPr>
              <a:xfrm>
                <a:off x="5193982" y="6465887"/>
                <a:ext cx="8064" cy="55752"/>
              </a:xfrm>
              <a:custGeom>
                <a:avLst/>
                <a:gdLst>
                  <a:gd name="connsiteX0" fmla="*/ 0 w 8064"/>
                  <a:gd name="connsiteY0" fmla="*/ 0 h 55752"/>
                  <a:gd name="connsiteX1" fmla="*/ 8065 w 8064"/>
                  <a:gd name="connsiteY1" fmla="*/ 0 h 55752"/>
                  <a:gd name="connsiteX2" fmla="*/ 8065 w 8064"/>
                  <a:gd name="connsiteY2" fmla="*/ 55753 h 55752"/>
                  <a:gd name="connsiteX3" fmla="*/ 0 w 8064"/>
                  <a:gd name="connsiteY3" fmla="*/ 55753 h 55752"/>
                </a:gdLst>
                <a:ahLst/>
                <a:cxnLst>
                  <a:cxn ang="0">
                    <a:pos x="connsiteX0" y="connsiteY0"/>
                  </a:cxn>
                  <a:cxn ang="0">
                    <a:pos x="connsiteX1" y="connsiteY1"/>
                  </a:cxn>
                  <a:cxn ang="0">
                    <a:pos x="connsiteX2" y="connsiteY2"/>
                  </a:cxn>
                  <a:cxn ang="0">
                    <a:pos x="connsiteX3" y="connsiteY3"/>
                  </a:cxn>
                </a:cxnLst>
                <a:rect l="l" t="t" r="r" b="b"/>
                <a:pathLst>
                  <a:path w="8064" h="55752">
                    <a:moveTo>
                      <a:pt x="0" y="0"/>
                    </a:moveTo>
                    <a:lnTo>
                      <a:pt x="8065" y="0"/>
                    </a:lnTo>
                    <a:lnTo>
                      <a:pt x="8065" y="55753"/>
                    </a:lnTo>
                    <a:lnTo>
                      <a:pt x="0" y="55753"/>
                    </a:lnTo>
                    <a:close/>
                  </a:path>
                </a:pathLst>
              </a:custGeom>
              <a:solidFill>
                <a:srgbClr val="B3B3B3"/>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grpSp>
        <p:grpSp>
          <p:nvGrpSpPr>
            <p:cNvPr id="23" name="Graphic 42">
              <a:extLst>
                <a:ext uri="{FF2B5EF4-FFF2-40B4-BE49-F238E27FC236}">
                  <a16:creationId xmlns:a16="http://schemas.microsoft.com/office/drawing/2014/main" id="{2A1F82DF-03D9-444E-8317-8BEACA4F8E1E}"/>
                </a:ext>
              </a:extLst>
            </p:cNvPr>
            <p:cNvGrpSpPr/>
            <p:nvPr/>
          </p:nvGrpSpPr>
          <p:grpSpPr>
            <a:xfrm>
              <a:off x="5999289" y="6465887"/>
              <a:ext cx="275145" cy="55752"/>
              <a:chOff x="5999289" y="6465887"/>
              <a:chExt cx="275145" cy="55752"/>
            </a:xfrm>
            <a:solidFill>
              <a:srgbClr val="B3B3B3"/>
            </a:solidFill>
          </p:grpSpPr>
          <p:sp>
            <p:nvSpPr>
              <p:cNvPr id="24" name="Freeform: Shape 23">
                <a:extLst>
                  <a:ext uri="{FF2B5EF4-FFF2-40B4-BE49-F238E27FC236}">
                    <a16:creationId xmlns:a16="http://schemas.microsoft.com/office/drawing/2014/main" id="{491F24D6-8119-44C1-93F2-E5109D171FA2}"/>
                  </a:ext>
                </a:extLst>
              </p:cNvPr>
              <p:cNvSpPr/>
              <p:nvPr/>
            </p:nvSpPr>
            <p:spPr>
              <a:xfrm>
                <a:off x="6266370" y="6465887"/>
                <a:ext cx="8064" cy="55752"/>
              </a:xfrm>
              <a:custGeom>
                <a:avLst/>
                <a:gdLst>
                  <a:gd name="connsiteX0" fmla="*/ 0 w 8064"/>
                  <a:gd name="connsiteY0" fmla="*/ 0 h 55752"/>
                  <a:gd name="connsiteX1" fmla="*/ 8065 w 8064"/>
                  <a:gd name="connsiteY1" fmla="*/ 0 h 55752"/>
                  <a:gd name="connsiteX2" fmla="*/ 8065 w 8064"/>
                  <a:gd name="connsiteY2" fmla="*/ 55753 h 55752"/>
                  <a:gd name="connsiteX3" fmla="*/ 0 w 8064"/>
                  <a:gd name="connsiteY3" fmla="*/ 55753 h 55752"/>
                </a:gdLst>
                <a:ahLst/>
                <a:cxnLst>
                  <a:cxn ang="0">
                    <a:pos x="connsiteX0" y="connsiteY0"/>
                  </a:cxn>
                  <a:cxn ang="0">
                    <a:pos x="connsiteX1" y="connsiteY1"/>
                  </a:cxn>
                  <a:cxn ang="0">
                    <a:pos x="connsiteX2" y="connsiteY2"/>
                  </a:cxn>
                  <a:cxn ang="0">
                    <a:pos x="connsiteX3" y="connsiteY3"/>
                  </a:cxn>
                </a:cxnLst>
                <a:rect l="l" t="t" r="r" b="b"/>
                <a:pathLst>
                  <a:path w="8064" h="55752">
                    <a:moveTo>
                      <a:pt x="0" y="0"/>
                    </a:moveTo>
                    <a:lnTo>
                      <a:pt x="8065" y="0"/>
                    </a:lnTo>
                    <a:lnTo>
                      <a:pt x="8065" y="55753"/>
                    </a:lnTo>
                    <a:lnTo>
                      <a:pt x="0" y="55753"/>
                    </a:lnTo>
                    <a:close/>
                  </a:path>
                </a:pathLst>
              </a:custGeom>
              <a:solidFill>
                <a:srgbClr val="B3B3B3"/>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25" name="Freeform: Shape 24">
                <a:extLst>
                  <a:ext uri="{FF2B5EF4-FFF2-40B4-BE49-F238E27FC236}">
                    <a16:creationId xmlns:a16="http://schemas.microsoft.com/office/drawing/2014/main" id="{C81EC1E3-3540-4BE0-AD5A-51BA24740C03}"/>
                  </a:ext>
                </a:extLst>
              </p:cNvPr>
              <p:cNvSpPr/>
              <p:nvPr/>
            </p:nvSpPr>
            <p:spPr>
              <a:xfrm>
                <a:off x="6170168" y="6465887"/>
                <a:ext cx="8064" cy="55752"/>
              </a:xfrm>
              <a:custGeom>
                <a:avLst/>
                <a:gdLst>
                  <a:gd name="connsiteX0" fmla="*/ 0 w 8064"/>
                  <a:gd name="connsiteY0" fmla="*/ 0 h 55752"/>
                  <a:gd name="connsiteX1" fmla="*/ 8065 w 8064"/>
                  <a:gd name="connsiteY1" fmla="*/ 0 h 55752"/>
                  <a:gd name="connsiteX2" fmla="*/ 8065 w 8064"/>
                  <a:gd name="connsiteY2" fmla="*/ 55753 h 55752"/>
                  <a:gd name="connsiteX3" fmla="*/ 0 w 8064"/>
                  <a:gd name="connsiteY3" fmla="*/ 55753 h 55752"/>
                </a:gdLst>
                <a:ahLst/>
                <a:cxnLst>
                  <a:cxn ang="0">
                    <a:pos x="connsiteX0" y="connsiteY0"/>
                  </a:cxn>
                  <a:cxn ang="0">
                    <a:pos x="connsiteX1" y="connsiteY1"/>
                  </a:cxn>
                  <a:cxn ang="0">
                    <a:pos x="connsiteX2" y="connsiteY2"/>
                  </a:cxn>
                  <a:cxn ang="0">
                    <a:pos x="connsiteX3" y="connsiteY3"/>
                  </a:cxn>
                </a:cxnLst>
                <a:rect l="l" t="t" r="r" b="b"/>
                <a:pathLst>
                  <a:path w="8064" h="55752">
                    <a:moveTo>
                      <a:pt x="0" y="0"/>
                    </a:moveTo>
                    <a:lnTo>
                      <a:pt x="8065" y="0"/>
                    </a:lnTo>
                    <a:lnTo>
                      <a:pt x="8065" y="55753"/>
                    </a:lnTo>
                    <a:lnTo>
                      <a:pt x="0" y="55753"/>
                    </a:lnTo>
                    <a:close/>
                  </a:path>
                </a:pathLst>
              </a:custGeom>
              <a:solidFill>
                <a:srgbClr val="B3B3B3"/>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26" name="Freeform: Shape 25">
                <a:extLst>
                  <a:ext uri="{FF2B5EF4-FFF2-40B4-BE49-F238E27FC236}">
                    <a16:creationId xmlns:a16="http://schemas.microsoft.com/office/drawing/2014/main" id="{E8EFC42F-F751-4EA6-8C7C-816A8DE27840}"/>
                  </a:ext>
                </a:extLst>
              </p:cNvPr>
              <p:cNvSpPr/>
              <p:nvPr/>
            </p:nvSpPr>
            <p:spPr>
              <a:xfrm>
                <a:off x="6086538" y="6465887"/>
                <a:ext cx="8064" cy="55752"/>
              </a:xfrm>
              <a:custGeom>
                <a:avLst/>
                <a:gdLst>
                  <a:gd name="connsiteX0" fmla="*/ 0 w 8064"/>
                  <a:gd name="connsiteY0" fmla="*/ 0 h 55752"/>
                  <a:gd name="connsiteX1" fmla="*/ 8065 w 8064"/>
                  <a:gd name="connsiteY1" fmla="*/ 0 h 55752"/>
                  <a:gd name="connsiteX2" fmla="*/ 8065 w 8064"/>
                  <a:gd name="connsiteY2" fmla="*/ 55753 h 55752"/>
                  <a:gd name="connsiteX3" fmla="*/ 0 w 8064"/>
                  <a:gd name="connsiteY3" fmla="*/ 55753 h 55752"/>
                </a:gdLst>
                <a:ahLst/>
                <a:cxnLst>
                  <a:cxn ang="0">
                    <a:pos x="connsiteX0" y="connsiteY0"/>
                  </a:cxn>
                  <a:cxn ang="0">
                    <a:pos x="connsiteX1" y="connsiteY1"/>
                  </a:cxn>
                  <a:cxn ang="0">
                    <a:pos x="connsiteX2" y="connsiteY2"/>
                  </a:cxn>
                  <a:cxn ang="0">
                    <a:pos x="connsiteX3" y="connsiteY3"/>
                  </a:cxn>
                </a:cxnLst>
                <a:rect l="l" t="t" r="r" b="b"/>
                <a:pathLst>
                  <a:path w="8064" h="55752">
                    <a:moveTo>
                      <a:pt x="0" y="0"/>
                    </a:moveTo>
                    <a:lnTo>
                      <a:pt x="8065" y="0"/>
                    </a:lnTo>
                    <a:lnTo>
                      <a:pt x="8065" y="55753"/>
                    </a:lnTo>
                    <a:lnTo>
                      <a:pt x="0" y="55753"/>
                    </a:lnTo>
                    <a:close/>
                  </a:path>
                </a:pathLst>
              </a:custGeom>
              <a:solidFill>
                <a:srgbClr val="B3B3B3"/>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27" name="Freeform: Shape 26">
                <a:extLst>
                  <a:ext uri="{FF2B5EF4-FFF2-40B4-BE49-F238E27FC236}">
                    <a16:creationId xmlns:a16="http://schemas.microsoft.com/office/drawing/2014/main" id="{27C191A6-C627-4504-AFFA-3E1CD488F910}"/>
                  </a:ext>
                </a:extLst>
              </p:cNvPr>
              <p:cNvSpPr/>
              <p:nvPr/>
            </p:nvSpPr>
            <p:spPr>
              <a:xfrm>
                <a:off x="5999289" y="6465887"/>
                <a:ext cx="8064" cy="55752"/>
              </a:xfrm>
              <a:custGeom>
                <a:avLst/>
                <a:gdLst>
                  <a:gd name="connsiteX0" fmla="*/ 0 w 8064"/>
                  <a:gd name="connsiteY0" fmla="*/ 0 h 55752"/>
                  <a:gd name="connsiteX1" fmla="*/ 8065 w 8064"/>
                  <a:gd name="connsiteY1" fmla="*/ 0 h 55752"/>
                  <a:gd name="connsiteX2" fmla="*/ 8065 w 8064"/>
                  <a:gd name="connsiteY2" fmla="*/ 55753 h 55752"/>
                  <a:gd name="connsiteX3" fmla="*/ 0 w 8064"/>
                  <a:gd name="connsiteY3" fmla="*/ 55753 h 55752"/>
                </a:gdLst>
                <a:ahLst/>
                <a:cxnLst>
                  <a:cxn ang="0">
                    <a:pos x="connsiteX0" y="connsiteY0"/>
                  </a:cxn>
                  <a:cxn ang="0">
                    <a:pos x="connsiteX1" y="connsiteY1"/>
                  </a:cxn>
                  <a:cxn ang="0">
                    <a:pos x="connsiteX2" y="connsiteY2"/>
                  </a:cxn>
                  <a:cxn ang="0">
                    <a:pos x="connsiteX3" y="connsiteY3"/>
                  </a:cxn>
                </a:cxnLst>
                <a:rect l="l" t="t" r="r" b="b"/>
                <a:pathLst>
                  <a:path w="8064" h="55752">
                    <a:moveTo>
                      <a:pt x="0" y="0"/>
                    </a:moveTo>
                    <a:lnTo>
                      <a:pt x="8065" y="0"/>
                    </a:lnTo>
                    <a:lnTo>
                      <a:pt x="8065" y="55753"/>
                    </a:lnTo>
                    <a:lnTo>
                      <a:pt x="0" y="55753"/>
                    </a:lnTo>
                    <a:close/>
                  </a:path>
                </a:pathLst>
              </a:custGeom>
              <a:solidFill>
                <a:srgbClr val="B3B3B3"/>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grpSp>
      </p:grpSp>
      <p:sp>
        <p:nvSpPr>
          <p:cNvPr id="92" name="Freeform: Shape 91">
            <a:extLst>
              <a:ext uri="{FF2B5EF4-FFF2-40B4-BE49-F238E27FC236}">
                <a16:creationId xmlns:a16="http://schemas.microsoft.com/office/drawing/2014/main" id="{95075E11-C95B-43F7-AE58-F819F4432F94}"/>
              </a:ext>
            </a:extLst>
          </p:cNvPr>
          <p:cNvSpPr/>
          <p:nvPr userDrawn="1"/>
        </p:nvSpPr>
        <p:spPr>
          <a:xfrm>
            <a:off x="4558698" y="6297424"/>
            <a:ext cx="99631" cy="161861"/>
          </a:xfrm>
          <a:custGeom>
            <a:avLst/>
            <a:gdLst>
              <a:gd name="connsiteX0" fmla="*/ 0 w 99631"/>
              <a:gd name="connsiteY0" fmla="*/ 0 h 161861"/>
              <a:gd name="connsiteX1" fmla="*/ 47942 w 99631"/>
              <a:gd name="connsiteY1" fmla="*/ 0 h 161861"/>
              <a:gd name="connsiteX2" fmla="*/ 99631 w 99631"/>
              <a:gd name="connsiteY2" fmla="*/ 80962 h 161861"/>
              <a:gd name="connsiteX3" fmla="*/ 47942 w 99631"/>
              <a:gd name="connsiteY3" fmla="*/ 161862 h 161861"/>
              <a:gd name="connsiteX4" fmla="*/ 0 w 99631"/>
              <a:gd name="connsiteY4" fmla="*/ 161862 h 161861"/>
              <a:gd name="connsiteX5" fmla="*/ 51626 w 99631"/>
              <a:gd name="connsiteY5" fmla="*/ 80962 h 1618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9631" h="161861">
                <a:moveTo>
                  <a:pt x="0" y="0"/>
                </a:moveTo>
                <a:lnTo>
                  <a:pt x="47942" y="0"/>
                </a:lnTo>
                <a:lnTo>
                  <a:pt x="99631" y="80962"/>
                </a:lnTo>
                <a:lnTo>
                  <a:pt x="47942" y="161862"/>
                </a:lnTo>
                <a:lnTo>
                  <a:pt x="0" y="161862"/>
                </a:lnTo>
                <a:lnTo>
                  <a:pt x="51626" y="80962"/>
                </a:lnTo>
                <a:close/>
              </a:path>
            </a:pathLst>
          </a:custGeom>
          <a:solidFill>
            <a:schemeClr val="bg2">
              <a:alpha val="23000"/>
            </a:schemeClr>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93" name="Freeform: Shape 92">
            <a:extLst>
              <a:ext uri="{FF2B5EF4-FFF2-40B4-BE49-F238E27FC236}">
                <a16:creationId xmlns:a16="http://schemas.microsoft.com/office/drawing/2014/main" id="{E7C06D70-7E3E-4D15-B6B1-EAF35FBF771C}"/>
              </a:ext>
            </a:extLst>
          </p:cNvPr>
          <p:cNvSpPr/>
          <p:nvPr userDrawn="1"/>
        </p:nvSpPr>
        <p:spPr>
          <a:xfrm>
            <a:off x="4628548" y="6297424"/>
            <a:ext cx="99567" cy="161861"/>
          </a:xfrm>
          <a:custGeom>
            <a:avLst/>
            <a:gdLst>
              <a:gd name="connsiteX0" fmla="*/ 0 w 99567"/>
              <a:gd name="connsiteY0" fmla="*/ 0 h 161861"/>
              <a:gd name="connsiteX1" fmla="*/ 47942 w 99567"/>
              <a:gd name="connsiteY1" fmla="*/ 0 h 161861"/>
              <a:gd name="connsiteX2" fmla="*/ 99568 w 99567"/>
              <a:gd name="connsiteY2" fmla="*/ 80962 h 161861"/>
              <a:gd name="connsiteX3" fmla="*/ 47942 w 99567"/>
              <a:gd name="connsiteY3" fmla="*/ 161862 h 161861"/>
              <a:gd name="connsiteX4" fmla="*/ 0 w 99567"/>
              <a:gd name="connsiteY4" fmla="*/ 161862 h 161861"/>
              <a:gd name="connsiteX5" fmla="*/ 51626 w 99567"/>
              <a:gd name="connsiteY5" fmla="*/ 80962 h 1618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9567" h="161861">
                <a:moveTo>
                  <a:pt x="0" y="0"/>
                </a:moveTo>
                <a:lnTo>
                  <a:pt x="47942" y="0"/>
                </a:lnTo>
                <a:lnTo>
                  <a:pt x="99568" y="80962"/>
                </a:lnTo>
                <a:lnTo>
                  <a:pt x="47942" y="161862"/>
                </a:lnTo>
                <a:lnTo>
                  <a:pt x="0" y="161862"/>
                </a:lnTo>
                <a:lnTo>
                  <a:pt x="51626" y="80962"/>
                </a:lnTo>
                <a:close/>
              </a:path>
            </a:pathLst>
          </a:custGeom>
          <a:solidFill>
            <a:schemeClr val="bg2">
              <a:alpha val="23000"/>
            </a:schemeClr>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94" name="Freeform: Shape 93">
            <a:extLst>
              <a:ext uri="{FF2B5EF4-FFF2-40B4-BE49-F238E27FC236}">
                <a16:creationId xmlns:a16="http://schemas.microsoft.com/office/drawing/2014/main" id="{2560CFA8-8666-401D-B91D-47D7B7FABCCC}"/>
              </a:ext>
            </a:extLst>
          </p:cNvPr>
          <p:cNvSpPr/>
          <p:nvPr userDrawn="1"/>
        </p:nvSpPr>
        <p:spPr>
          <a:xfrm>
            <a:off x="4697001" y="6297424"/>
            <a:ext cx="99631" cy="161861"/>
          </a:xfrm>
          <a:custGeom>
            <a:avLst/>
            <a:gdLst>
              <a:gd name="connsiteX0" fmla="*/ 0 w 99631"/>
              <a:gd name="connsiteY0" fmla="*/ 0 h 161861"/>
              <a:gd name="connsiteX1" fmla="*/ 48006 w 99631"/>
              <a:gd name="connsiteY1" fmla="*/ 0 h 161861"/>
              <a:gd name="connsiteX2" fmla="*/ 99631 w 99631"/>
              <a:gd name="connsiteY2" fmla="*/ 80962 h 161861"/>
              <a:gd name="connsiteX3" fmla="*/ 48006 w 99631"/>
              <a:gd name="connsiteY3" fmla="*/ 161862 h 161861"/>
              <a:gd name="connsiteX4" fmla="*/ 0 w 99631"/>
              <a:gd name="connsiteY4" fmla="*/ 161862 h 161861"/>
              <a:gd name="connsiteX5" fmla="*/ 51625 w 99631"/>
              <a:gd name="connsiteY5" fmla="*/ 80962 h 1618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9631" h="161861">
                <a:moveTo>
                  <a:pt x="0" y="0"/>
                </a:moveTo>
                <a:lnTo>
                  <a:pt x="48006" y="0"/>
                </a:lnTo>
                <a:lnTo>
                  <a:pt x="99631" y="80962"/>
                </a:lnTo>
                <a:lnTo>
                  <a:pt x="48006" y="161862"/>
                </a:lnTo>
                <a:lnTo>
                  <a:pt x="0" y="161862"/>
                </a:lnTo>
                <a:lnTo>
                  <a:pt x="51625" y="80962"/>
                </a:lnTo>
                <a:close/>
              </a:path>
            </a:pathLst>
          </a:custGeom>
          <a:solidFill>
            <a:schemeClr val="bg2">
              <a:alpha val="23000"/>
            </a:schemeClr>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101" name="Text Placeholder 100">
            <a:extLst>
              <a:ext uri="{FF2B5EF4-FFF2-40B4-BE49-F238E27FC236}">
                <a16:creationId xmlns:a16="http://schemas.microsoft.com/office/drawing/2014/main" id="{E68E1B68-9A85-4371-8C00-E6C787C594B2}"/>
              </a:ext>
            </a:extLst>
          </p:cNvPr>
          <p:cNvSpPr>
            <a:spLocks noGrp="1"/>
          </p:cNvSpPr>
          <p:nvPr userDrawn="1">
            <p:ph type="body" sz="quarter" idx="11" hasCustomPrompt="1"/>
          </p:nvPr>
        </p:nvSpPr>
        <p:spPr>
          <a:xfrm>
            <a:off x="762318" y="1872616"/>
            <a:ext cx="3055937" cy="4038600"/>
          </a:xfrm>
        </p:spPr>
        <p:txBody>
          <a:bodyPr vert="horz" lIns="0" tIns="0" rIns="0" bIns="0" rtlCol="0" anchor="ctr" anchorCtr="0">
            <a:noAutofit/>
          </a:bodyPr>
          <a:lstStyle>
            <a:lvl1pPr>
              <a:defRPr lang="en-US" dirty="0" smtClean="0">
                <a:solidFill>
                  <a:schemeClr val="bg1"/>
                </a:solidFill>
              </a:defRPr>
            </a:lvl1pPr>
            <a:lvl2pPr>
              <a:defRPr lang="en-US" dirty="0" smtClean="0">
                <a:solidFill>
                  <a:schemeClr val="bg1"/>
                </a:solidFill>
              </a:defRPr>
            </a:lvl2pPr>
            <a:lvl3pPr marL="832104" indent="-228600">
              <a:buFontTx/>
              <a:buBlip>
                <a:blip r:embed="rId6">
                  <a:extLst>
                    <a:ext uri="{96DAC541-7B7A-43D3-8B79-37D633B846F1}">
                      <asvg:svgBlip xmlns:asvg="http://schemas.microsoft.com/office/drawing/2016/SVG/main" r:embed="rId7"/>
                    </a:ext>
                  </a:extLst>
                </a:blip>
              </a:buBlip>
              <a:defRPr lang="en-US" dirty="0" smtClean="0">
                <a:solidFill>
                  <a:schemeClr val="bg1"/>
                </a:solidFill>
              </a:defRPr>
            </a:lvl3pPr>
            <a:lvl4pPr marL="1078992" indent="-228600">
              <a:buFontTx/>
              <a:buBlip>
                <a:blip r:embed="rId8"/>
              </a:buBlip>
              <a:defRPr lang="en-US" dirty="0">
                <a:solidFill>
                  <a:schemeClr val="bg1"/>
                </a:solidFill>
              </a:defRPr>
            </a:lvl4pPr>
            <a:lvl5pPr marL="1104138" indent="0">
              <a:buNone/>
              <a:defRPr/>
            </a:lvl5pPr>
          </a:lstStyle>
          <a:p>
            <a:pPr lvl="0"/>
            <a:r>
              <a:rPr lang="en-US" dirty="0"/>
              <a:t>Add call out text here</a:t>
            </a:r>
          </a:p>
          <a:p>
            <a:pPr lvl="1"/>
            <a:r>
              <a:rPr lang="en-US" dirty="0"/>
              <a:t>Bullet 2</a:t>
            </a:r>
          </a:p>
          <a:p>
            <a:pPr lvl="2"/>
            <a:r>
              <a:rPr lang="en-US" dirty="0"/>
              <a:t>Bullet 3</a:t>
            </a:r>
          </a:p>
          <a:p>
            <a:pPr lvl="3"/>
            <a:r>
              <a:rPr lang="en-US" dirty="0"/>
              <a:t>Bullet 4</a:t>
            </a:r>
          </a:p>
        </p:txBody>
      </p:sp>
    </p:spTree>
    <p:extLst>
      <p:ext uri="{BB962C8B-B14F-4D97-AF65-F5344CB8AC3E}">
        <p14:creationId xmlns:p14="http://schemas.microsoft.com/office/powerpoint/2010/main" val="10479317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p:cSld name="2_Divider">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990AAAFC-EC6A-4B79-8E5C-2625B3C1AA92}"/>
              </a:ext>
            </a:extLst>
          </p:cNvPr>
          <p:cNvPicPr>
            <a:picLocks noChangeAspect="1"/>
          </p:cNvPicPr>
          <p:nvPr userDrawn="1"/>
        </p:nvPicPr>
        <p:blipFill>
          <a:blip r:embed="rId2" cstate="email">
            <a:alphaModFix amt="30000"/>
            <a:extLst>
              <a:ext uri="{28A0092B-C50C-407E-A947-70E740481C1C}">
                <a14:useLocalDpi xmlns:a14="http://schemas.microsoft.com/office/drawing/2010/main"/>
              </a:ext>
            </a:extLst>
          </a:blip>
          <a:srcRect/>
          <a:stretch/>
        </p:blipFill>
        <p:spPr>
          <a:xfrm>
            <a:off x="0" y="0"/>
            <a:ext cx="12188960" cy="6858000"/>
          </a:xfrm>
          <a:prstGeom prst="rect">
            <a:avLst/>
          </a:prstGeom>
        </p:spPr>
      </p:pic>
      <p:sp>
        <p:nvSpPr>
          <p:cNvPr id="27" name="Rectangle: Rounded Corners 26">
            <a:extLst>
              <a:ext uri="{FF2B5EF4-FFF2-40B4-BE49-F238E27FC236}">
                <a16:creationId xmlns:a16="http://schemas.microsoft.com/office/drawing/2014/main" id="{9BB3FF62-BEB4-4BBC-9BB1-5AA72B48CF38}"/>
              </a:ext>
            </a:extLst>
          </p:cNvPr>
          <p:cNvSpPr/>
          <p:nvPr userDrawn="1"/>
        </p:nvSpPr>
        <p:spPr>
          <a:xfrm rot="18679580">
            <a:off x="5571697" y="2250091"/>
            <a:ext cx="5236260" cy="1832698"/>
          </a:xfrm>
          <a:prstGeom prst="roundRect">
            <a:avLst/>
          </a:prstGeom>
          <a:solidFill>
            <a:srgbClr val="F8F9FA">
              <a:alpha val="64000"/>
            </a:srgbClr>
          </a:solidFill>
          <a:ln>
            <a:noFill/>
          </a:ln>
          <a:effectLst>
            <a:softEdge rad="444500"/>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Bef>
                <a:spcPts val="800"/>
              </a:spcBef>
            </a:pPr>
            <a:endParaRPr lang="en-US">
              <a:solidFill>
                <a:schemeClr val="bg1"/>
              </a:solidFill>
            </a:endParaRPr>
          </a:p>
        </p:txBody>
      </p:sp>
      <p:sp>
        <p:nvSpPr>
          <p:cNvPr id="21" name="Rectangle: Rounded Corners 20">
            <a:extLst>
              <a:ext uri="{FF2B5EF4-FFF2-40B4-BE49-F238E27FC236}">
                <a16:creationId xmlns:a16="http://schemas.microsoft.com/office/drawing/2014/main" id="{E7305282-8257-43B2-AEB0-4EECC265B6D8}"/>
              </a:ext>
            </a:extLst>
          </p:cNvPr>
          <p:cNvSpPr/>
          <p:nvPr userDrawn="1"/>
        </p:nvSpPr>
        <p:spPr>
          <a:xfrm>
            <a:off x="1817683" y="2214235"/>
            <a:ext cx="5236260" cy="1991381"/>
          </a:xfrm>
          <a:prstGeom prst="roundRect">
            <a:avLst/>
          </a:prstGeom>
          <a:gradFill>
            <a:gsLst>
              <a:gs pos="0">
                <a:srgbClr val="F0F2F6"/>
              </a:gs>
              <a:gs pos="100000">
                <a:srgbClr val="F0F2F5"/>
              </a:gs>
            </a:gsLst>
            <a:lin ang="5400000" scaled="1"/>
          </a:gradFill>
          <a:ln>
            <a:noFill/>
          </a:ln>
          <a:effectLst>
            <a:softEdge rad="444500"/>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Bef>
                <a:spcPts val="800"/>
              </a:spcBef>
            </a:pPr>
            <a:endParaRPr lang="en-US">
              <a:solidFill>
                <a:schemeClr val="bg1"/>
              </a:solidFill>
            </a:endParaRPr>
          </a:p>
        </p:txBody>
      </p:sp>
      <p:sp>
        <p:nvSpPr>
          <p:cNvPr id="22" name="Title 21"/>
          <p:cNvSpPr>
            <a:spLocks noGrp="1"/>
          </p:cNvSpPr>
          <p:nvPr>
            <p:ph type="title" hasCustomPrompt="1"/>
          </p:nvPr>
        </p:nvSpPr>
        <p:spPr bwMode="gray">
          <a:xfrm>
            <a:off x="2665328" y="3082752"/>
            <a:ext cx="8869680" cy="692497"/>
          </a:xfrm>
        </p:spPr>
        <p:txBody>
          <a:bodyPr vert="horz" lIns="0" tIns="0" rIns="0" bIns="0" rtlCol="0" anchor="ctr" anchorCtr="0">
            <a:spAutoFit/>
          </a:bodyPr>
          <a:lstStyle>
            <a:lvl1pPr>
              <a:lnSpc>
                <a:spcPct val="100000"/>
              </a:lnSpc>
              <a:defRPr lang="en-US" sz="5000" dirty="0"/>
            </a:lvl1pPr>
          </a:lstStyle>
          <a:p>
            <a:pPr marL="0" lvl="0">
              <a:lnSpc>
                <a:spcPct val="90000"/>
              </a:lnSpc>
              <a:spcBef>
                <a:spcPts val="1200"/>
              </a:spcBef>
            </a:pPr>
            <a:r>
              <a:rPr lang="en-US" dirty="0"/>
              <a:t>Divider – 2 lines of text</a:t>
            </a:r>
          </a:p>
        </p:txBody>
      </p:sp>
      <p:grpSp>
        <p:nvGrpSpPr>
          <p:cNvPr id="3" name="Group 2">
            <a:extLst>
              <a:ext uri="{FF2B5EF4-FFF2-40B4-BE49-F238E27FC236}">
                <a16:creationId xmlns:a16="http://schemas.microsoft.com/office/drawing/2014/main" id="{8D4250D6-FEAA-416E-9521-0C7E8FEDCFB1}"/>
              </a:ext>
            </a:extLst>
          </p:cNvPr>
          <p:cNvGrpSpPr/>
          <p:nvPr userDrawn="1"/>
        </p:nvGrpSpPr>
        <p:grpSpPr>
          <a:xfrm>
            <a:off x="0" y="2784626"/>
            <a:ext cx="2451100" cy="1288748"/>
            <a:chOff x="0" y="2781802"/>
            <a:chExt cx="2451100" cy="1288748"/>
          </a:xfrm>
        </p:grpSpPr>
        <p:sp>
          <p:nvSpPr>
            <p:cNvPr id="2" name="Rectangle 1">
              <a:extLst>
                <a:ext uri="{FF2B5EF4-FFF2-40B4-BE49-F238E27FC236}">
                  <a16:creationId xmlns:a16="http://schemas.microsoft.com/office/drawing/2014/main" id="{BB5A8BEB-B893-4846-98F3-0D2FA3DAF44A}"/>
                </a:ext>
              </a:extLst>
            </p:cNvPr>
            <p:cNvSpPr/>
            <p:nvPr userDrawn="1"/>
          </p:nvSpPr>
          <p:spPr>
            <a:xfrm>
              <a:off x="0" y="2781802"/>
              <a:ext cx="2451100" cy="128874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Bef>
                  <a:spcPts val="800"/>
                </a:spcBef>
              </a:pPr>
              <a:endParaRPr lang="es-PE">
                <a:solidFill>
                  <a:schemeClr val="bg1"/>
                </a:solidFill>
              </a:endParaRPr>
            </a:p>
          </p:txBody>
        </p:sp>
        <p:pic>
          <p:nvPicPr>
            <p:cNvPr id="25" name="Picture 24">
              <a:extLst>
                <a:ext uri="{FF2B5EF4-FFF2-40B4-BE49-F238E27FC236}">
                  <a16:creationId xmlns:a16="http://schemas.microsoft.com/office/drawing/2014/main" id="{97BE8F70-36B7-458B-B578-D69CA9DC3341}"/>
                </a:ext>
              </a:extLst>
            </p:cNvPr>
            <p:cNvPicPr>
              <a:picLocks noChangeAspect="1"/>
            </p:cNvPicPr>
            <p:nvPr userDrawn="1"/>
          </p:nvPicPr>
          <p:blipFill rotWithShape="1">
            <a:blip r:embed="rId3" cstate="screen">
              <a:alphaModFix amt="50000"/>
              <a:extLst>
                <a:ext uri="{28A0092B-C50C-407E-A947-70E740481C1C}">
                  <a14:useLocalDpi xmlns:a14="http://schemas.microsoft.com/office/drawing/2010/main"/>
                </a:ext>
              </a:extLst>
            </a:blip>
            <a:srcRect l="47779" r="6346"/>
            <a:stretch/>
          </p:blipFill>
          <p:spPr>
            <a:xfrm>
              <a:off x="1602722" y="2880097"/>
              <a:ext cx="762261" cy="438912"/>
            </a:xfrm>
            <a:prstGeom prst="rect">
              <a:avLst/>
            </a:prstGeom>
          </p:spPr>
        </p:pic>
        <p:sp>
          <p:nvSpPr>
            <p:cNvPr id="23" name="Freeform: Shape 22">
              <a:extLst>
                <a:ext uri="{FF2B5EF4-FFF2-40B4-BE49-F238E27FC236}">
                  <a16:creationId xmlns:a16="http://schemas.microsoft.com/office/drawing/2014/main" id="{E408083A-7AF2-485E-81A3-882A7E58FB9E}"/>
                </a:ext>
              </a:extLst>
            </p:cNvPr>
            <p:cNvSpPr/>
            <p:nvPr userDrawn="1"/>
          </p:nvSpPr>
          <p:spPr>
            <a:xfrm rot="16200000" flipH="1">
              <a:off x="310000" y="2739428"/>
              <a:ext cx="4756" cy="274320"/>
            </a:xfrm>
            <a:custGeom>
              <a:avLst/>
              <a:gdLst>
                <a:gd name="connsiteX0" fmla="*/ 0 w 19050"/>
                <a:gd name="connsiteY0" fmla="*/ 0 h 732567"/>
                <a:gd name="connsiteX1" fmla="*/ 19050 w 19050"/>
                <a:gd name="connsiteY1" fmla="*/ 0 h 732567"/>
                <a:gd name="connsiteX2" fmla="*/ 19050 w 19050"/>
                <a:gd name="connsiteY2" fmla="*/ 732568 h 732567"/>
                <a:gd name="connsiteX3" fmla="*/ 0 w 19050"/>
                <a:gd name="connsiteY3" fmla="*/ 732568 h 732567"/>
              </a:gdLst>
              <a:ahLst/>
              <a:cxnLst>
                <a:cxn ang="0">
                  <a:pos x="connsiteX0" y="connsiteY0"/>
                </a:cxn>
                <a:cxn ang="0">
                  <a:pos x="connsiteX1" y="connsiteY1"/>
                </a:cxn>
                <a:cxn ang="0">
                  <a:pos x="connsiteX2" y="connsiteY2"/>
                </a:cxn>
                <a:cxn ang="0">
                  <a:pos x="connsiteX3" y="connsiteY3"/>
                </a:cxn>
              </a:cxnLst>
              <a:rect l="l" t="t" r="r" b="b"/>
              <a:pathLst>
                <a:path w="19050" h="732567">
                  <a:moveTo>
                    <a:pt x="0" y="0"/>
                  </a:moveTo>
                  <a:lnTo>
                    <a:pt x="19050" y="0"/>
                  </a:lnTo>
                  <a:lnTo>
                    <a:pt x="19050" y="732568"/>
                  </a:lnTo>
                  <a:lnTo>
                    <a:pt x="0" y="732568"/>
                  </a:lnTo>
                  <a:close/>
                </a:path>
              </a:pathLst>
            </a:custGeom>
            <a:solidFill>
              <a:schemeClr val="bg1"/>
            </a:solidFill>
            <a:ln w="9525" cap="flat">
              <a:solidFill>
                <a:schemeClr val="bg1"/>
              </a:solidFill>
              <a:prstDash val="solid"/>
              <a:miter/>
            </a:ln>
          </p:spPr>
          <p:txBody>
            <a:bodyPr rtlCol="0" anchor="ctr"/>
            <a:lstStyle/>
            <a:p>
              <a:endParaRPr lang="en-US"/>
            </a:p>
          </p:txBody>
        </p:sp>
        <p:sp>
          <p:nvSpPr>
            <p:cNvPr id="19" name="Freeform: Shape 18">
              <a:extLst>
                <a:ext uri="{FF2B5EF4-FFF2-40B4-BE49-F238E27FC236}">
                  <a16:creationId xmlns:a16="http://schemas.microsoft.com/office/drawing/2014/main" id="{8F6F5B00-CCFD-4753-AE13-694C077322FB}"/>
                </a:ext>
              </a:extLst>
            </p:cNvPr>
            <p:cNvSpPr/>
            <p:nvPr userDrawn="1"/>
          </p:nvSpPr>
          <p:spPr>
            <a:xfrm rot="16200000" flipH="1">
              <a:off x="82144" y="2970143"/>
              <a:ext cx="182880" cy="4755"/>
            </a:xfrm>
            <a:custGeom>
              <a:avLst/>
              <a:gdLst>
                <a:gd name="connsiteX0" fmla="*/ 0 w 734853"/>
                <a:gd name="connsiteY0" fmla="*/ 0 h 19049"/>
                <a:gd name="connsiteX1" fmla="*/ 734854 w 734853"/>
                <a:gd name="connsiteY1" fmla="*/ 0 h 19049"/>
                <a:gd name="connsiteX2" fmla="*/ 734854 w 734853"/>
                <a:gd name="connsiteY2" fmla="*/ 19050 h 19049"/>
                <a:gd name="connsiteX3" fmla="*/ 0 w 734853"/>
                <a:gd name="connsiteY3" fmla="*/ 19050 h 19049"/>
              </a:gdLst>
              <a:ahLst/>
              <a:cxnLst>
                <a:cxn ang="0">
                  <a:pos x="connsiteX0" y="connsiteY0"/>
                </a:cxn>
                <a:cxn ang="0">
                  <a:pos x="connsiteX1" y="connsiteY1"/>
                </a:cxn>
                <a:cxn ang="0">
                  <a:pos x="connsiteX2" y="connsiteY2"/>
                </a:cxn>
                <a:cxn ang="0">
                  <a:pos x="connsiteX3" y="connsiteY3"/>
                </a:cxn>
              </a:cxnLst>
              <a:rect l="l" t="t" r="r" b="b"/>
              <a:pathLst>
                <a:path w="734853" h="19049">
                  <a:moveTo>
                    <a:pt x="0" y="0"/>
                  </a:moveTo>
                  <a:lnTo>
                    <a:pt x="734854" y="0"/>
                  </a:lnTo>
                  <a:lnTo>
                    <a:pt x="734854" y="19050"/>
                  </a:lnTo>
                  <a:lnTo>
                    <a:pt x="0" y="19050"/>
                  </a:lnTo>
                  <a:close/>
                </a:path>
              </a:pathLst>
            </a:custGeom>
            <a:solidFill>
              <a:schemeClr val="bg1"/>
            </a:solidFill>
            <a:ln w="3175" cap="flat">
              <a:solidFill>
                <a:schemeClr val="bg1"/>
              </a:solidFill>
              <a:prstDash val="solid"/>
              <a:miter/>
            </a:ln>
          </p:spPr>
          <p:txBody>
            <a:bodyPr rtlCol="0" anchor="ctr"/>
            <a:lstStyle/>
            <a:p>
              <a:endParaRPr lang="en-US"/>
            </a:p>
          </p:txBody>
        </p:sp>
        <p:cxnSp>
          <p:nvCxnSpPr>
            <p:cNvPr id="20" name="Straight Connector 19">
              <a:extLst>
                <a:ext uri="{FF2B5EF4-FFF2-40B4-BE49-F238E27FC236}">
                  <a16:creationId xmlns:a16="http://schemas.microsoft.com/office/drawing/2014/main" id="{03C3E752-A506-4A5E-A907-CAEBDA95F961}"/>
                </a:ext>
              </a:extLst>
            </p:cNvPr>
            <p:cNvCxnSpPr/>
            <p:nvPr userDrawn="1"/>
          </p:nvCxnSpPr>
          <p:spPr>
            <a:xfrm>
              <a:off x="176782" y="3016529"/>
              <a:ext cx="0" cy="1051560"/>
            </a:xfrm>
            <a:prstGeom prst="line">
              <a:avLst/>
            </a:prstGeom>
            <a:ln w="3175">
              <a:solidFill>
                <a:schemeClr val="bg1">
                  <a:alpha val="49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8697427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Title &amp; 1 Image">
    <p:spTree>
      <p:nvGrpSpPr>
        <p:cNvPr id="1" name=""/>
        <p:cNvGrpSpPr/>
        <p:nvPr/>
      </p:nvGrpSpPr>
      <p:grpSpPr>
        <a:xfrm>
          <a:off x="0" y="0"/>
          <a:ext cx="0" cy="0"/>
          <a:chOff x="0" y="0"/>
          <a:chExt cx="0" cy="0"/>
        </a:xfrm>
      </p:grpSpPr>
      <p:sp>
        <p:nvSpPr>
          <p:cNvPr id="20" name="Picture Placeholder 19">
            <a:extLst>
              <a:ext uri="{FF2B5EF4-FFF2-40B4-BE49-F238E27FC236}">
                <a16:creationId xmlns:a16="http://schemas.microsoft.com/office/drawing/2014/main" id="{8BA33D38-FF79-4659-BC13-5AED39062B0A}"/>
              </a:ext>
            </a:extLst>
          </p:cNvPr>
          <p:cNvSpPr>
            <a:spLocks noGrp="1"/>
          </p:cNvSpPr>
          <p:nvPr>
            <p:ph type="pic" sz="quarter" idx="12" hasCustomPrompt="1"/>
          </p:nvPr>
        </p:nvSpPr>
        <p:spPr>
          <a:xfrm>
            <a:off x="1524" y="0"/>
            <a:ext cx="12188952" cy="5208644"/>
          </a:xfrm>
          <a:custGeom>
            <a:avLst/>
            <a:gdLst>
              <a:gd name="connsiteX0" fmla="*/ 0 w 12188952"/>
              <a:gd name="connsiteY0" fmla="*/ 0 h 5195944"/>
              <a:gd name="connsiteX1" fmla="*/ 12188952 w 12188952"/>
              <a:gd name="connsiteY1" fmla="*/ 0 h 5195944"/>
              <a:gd name="connsiteX2" fmla="*/ 12188952 w 12188952"/>
              <a:gd name="connsiteY2" fmla="*/ 5195944 h 5195944"/>
              <a:gd name="connsiteX3" fmla="*/ 2659341 w 12188952"/>
              <a:gd name="connsiteY3" fmla="*/ 5195944 h 5195944"/>
              <a:gd name="connsiteX4" fmla="*/ 2257812 w 12188952"/>
              <a:gd name="connsiteY4" fmla="*/ 4992786 h 5195944"/>
              <a:gd name="connsiteX5" fmla="*/ 0 w 12188952"/>
              <a:gd name="connsiteY5" fmla="*/ 4992786 h 51959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88952" h="5195944">
                <a:moveTo>
                  <a:pt x="0" y="0"/>
                </a:moveTo>
                <a:lnTo>
                  <a:pt x="12188952" y="0"/>
                </a:lnTo>
                <a:lnTo>
                  <a:pt x="12188952" y="5195944"/>
                </a:lnTo>
                <a:lnTo>
                  <a:pt x="2659341" y="5195944"/>
                </a:lnTo>
                <a:lnTo>
                  <a:pt x="2257812" y="4992786"/>
                </a:lnTo>
                <a:lnTo>
                  <a:pt x="0" y="4992786"/>
                </a:lnTo>
                <a:close/>
              </a:path>
            </a:pathLst>
          </a:custGeom>
          <a:solidFill>
            <a:schemeClr val="bg1">
              <a:lumMod val="95000"/>
            </a:schemeClr>
          </a:solidFill>
        </p:spPr>
        <p:txBody>
          <a:bodyPr wrap="square" bIns="640080" anchor="ctr">
            <a:noAutofit/>
          </a:bodyPr>
          <a:lstStyle>
            <a:lvl1pPr marL="0" indent="0" algn="ctr">
              <a:buNone/>
              <a:defRPr sz="1600" b="0">
                <a:solidFill>
                  <a:schemeClr val="tx1"/>
                </a:solidFill>
                <a:latin typeface="+mn-lt"/>
              </a:defRPr>
            </a:lvl1pPr>
          </a:lstStyle>
          <a:p>
            <a:r>
              <a:rPr lang="en-US" dirty="0"/>
              <a:t>Click picture icon to add image</a:t>
            </a:r>
          </a:p>
        </p:txBody>
      </p:sp>
      <p:sp>
        <p:nvSpPr>
          <p:cNvPr id="11" name="Freeform: Shape 10">
            <a:extLst>
              <a:ext uri="{FF2B5EF4-FFF2-40B4-BE49-F238E27FC236}">
                <a16:creationId xmlns:a16="http://schemas.microsoft.com/office/drawing/2014/main" id="{061473D3-D9B8-4ABB-B46F-2584ADD4252E}"/>
              </a:ext>
            </a:extLst>
          </p:cNvPr>
          <p:cNvSpPr/>
          <p:nvPr userDrawn="1"/>
        </p:nvSpPr>
        <p:spPr>
          <a:xfrm>
            <a:off x="3048" y="4992785"/>
            <a:ext cx="12201129" cy="1778523"/>
          </a:xfrm>
          <a:custGeom>
            <a:avLst/>
            <a:gdLst>
              <a:gd name="connsiteX0" fmla="*/ 0 w 12225528"/>
              <a:gd name="connsiteY0" fmla="*/ 0 h 1742130"/>
              <a:gd name="connsiteX1" fmla="*/ 2261766 w 12225528"/>
              <a:gd name="connsiteY1" fmla="*/ 0 h 1742130"/>
              <a:gd name="connsiteX2" fmla="*/ 2669225 w 12225528"/>
              <a:gd name="connsiteY2" fmla="*/ 201008 h 1742130"/>
              <a:gd name="connsiteX3" fmla="*/ 12193158 w 12225528"/>
              <a:gd name="connsiteY3" fmla="*/ 201008 h 1742130"/>
              <a:gd name="connsiteX4" fmla="*/ 12193158 w 12225528"/>
              <a:gd name="connsiteY4" fmla="*/ 0 h 1742130"/>
              <a:gd name="connsiteX5" fmla="*/ 12225528 w 12225528"/>
              <a:gd name="connsiteY5" fmla="*/ 0 h 1742130"/>
              <a:gd name="connsiteX6" fmla="*/ 12225528 w 12225528"/>
              <a:gd name="connsiteY6" fmla="*/ 1508582 h 1742130"/>
              <a:gd name="connsiteX7" fmla="*/ 9244676 w 12225528"/>
              <a:gd name="connsiteY7" fmla="*/ 1508582 h 1742130"/>
              <a:gd name="connsiteX8" fmla="*/ 8712452 w 12225528"/>
              <a:gd name="connsiteY8" fmla="*/ 1740686 h 1742130"/>
              <a:gd name="connsiteX9" fmla="*/ 8715763 w 12225528"/>
              <a:gd name="connsiteY9" fmla="*/ 1742130 h 1742130"/>
              <a:gd name="connsiteX10" fmla="*/ 0 w 12225528"/>
              <a:gd name="connsiteY10" fmla="*/ 1742130 h 1742130"/>
              <a:gd name="connsiteX0" fmla="*/ 0 w 12225528"/>
              <a:gd name="connsiteY0" fmla="*/ 0 h 1742130"/>
              <a:gd name="connsiteX1" fmla="*/ 2261766 w 12225528"/>
              <a:gd name="connsiteY1" fmla="*/ 0 h 1742130"/>
              <a:gd name="connsiteX2" fmla="*/ 2669225 w 12225528"/>
              <a:gd name="connsiteY2" fmla="*/ 201008 h 1742130"/>
              <a:gd name="connsiteX3" fmla="*/ 12193158 w 12225528"/>
              <a:gd name="connsiteY3" fmla="*/ 201008 h 1742130"/>
              <a:gd name="connsiteX4" fmla="*/ 12193158 w 12225528"/>
              <a:gd name="connsiteY4" fmla="*/ 0 h 1742130"/>
              <a:gd name="connsiteX5" fmla="*/ 12225528 w 12225528"/>
              <a:gd name="connsiteY5" fmla="*/ 1508582 h 1742130"/>
              <a:gd name="connsiteX6" fmla="*/ 9244676 w 12225528"/>
              <a:gd name="connsiteY6" fmla="*/ 1508582 h 1742130"/>
              <a:gd name="connsiteX7" fmla="*/ 8712452 w 12225528"/>
              <a:gd name="connsiteY7" fmla="*/ 1740686 h 1742130"/>
              <a:gd name="connsiteX8" fmla="*/ 8715763 w 12225528"/>
              <a:gd name="connsiteY8" fmla="*/ 1742130 h 1742130"/>
              <a:gd name="connsiteX9" fmla="*/ 0 w 12225528"/>
              <a:gd name="connsiteY9" fmla="*/ 1742130 h 1742130"/>
              <a:gd name="connsiteX10" fmla="*/ 0 w 12225528"/>
              <a:gd name="connsiteY10" fmla="*/ 0 h 1742130"/>
              <a:gd name="connsiteX0" fmla="*/ 0 w 12225528"/>
              <a:gd name="connsiteY0" fmla="*/ 0 h 1742130"/>
              <a:gd name="connsiteX1" fmla="*/ 2261766 w 12225528"/>
              <a:gd name="connsiteY1" fmla="*/ 0 h 1742130"/>
              <a:gd name="connsiteX2" fmla="*/ 2669225 w 12225528"/>
              <a:gd name="connsiteY2" fmla="*/ 201008 h 1742130"/>
              <a:gd name="connsiteX3" fmla="*/ 12193158 w 12225528"/>
              <a:gd name="connsiteY3" fmla="*/ 201008 h 1742130"/>
              <a:gd name="connsiteX4" fmla="*/ 12225528 w 12225528"/>
              <a:gd name="connsiteY4" fmla="*/ 1508582 h 1742130"/>
              <a:gd name="connsiteX5" fmla="*/ 9244676 w 12225528"/>
              <a:gd name="connsiteY5" fmla="*/ 1508582 h 1742130"/>
              <a:gd name="connsiteX6" fmla="*/ 8712452 w 12225528"/>
              <a:gd name="connsiteY6" fmla="*/ 1740686 h 1742130"/>
              <a:gd name="connsiteX7" fmla="*/ 8715763 w 12225528"/>
              <a:gd name="connsiteY7" fmla="*/ 1742130 h 1742130"/>
              <a:gd name="connsiteX8" fmla="*/ 0 w 12225528"/>
              <a:gd name="connsiteY8" fmla="*/ 1742130 h 1742130"/>
              <a:gd name="connsiteX9" fmla="*/ 0 w 12225528"/>
              <a:gd name="connsiteY9" fmla="*/ 0 h 1742130"/>
              <a:gd name="connsiteX0" fmla="*/ 0 w 12244111"/>
              <a:gd name="connsiteY0" fmla="*/ 0 h 1742130"/>
              <a:gd name="connsiteX1" fmla="*/ 2261766 w 12244111"/>
              <a:gd name="connsiteY1" fmla="*/ 0 h 1742130"/>
              <a:gd name="connsiteX2" fmla="*/ 2669225 w 12244111"/>
              <a:gd name="connsiteY2" fmla="*/ 201008 h 1742130"/>
              <a:gd name="connsiteX3" fmla="*/ 12244111 w 12244111"/>
              <a:gd name="connsiteY3" fmla="*/ 207273 h 1742130"/>
              <a:gd name="connsiteX4" fmla="*/ 12225528 w 12244111"/>
              <a:gd name="connsiteY4" fmla="*/ 1508582 h 1742130"/>
              <a:gd name="connsiteX5" fmla="*/ 9244676 w 12244111"/>
              <a:gd name="connsiteY5" fmla="*/ 1508582 h 1742130"/>
              <a:gd name="connsiteX6" fmla="*/ 8712452 w 12244111"/>
              <a:gd name="connsiteY6" fmla="*/ 1740686 h 1742130"/>
              <a:gd name="connsiteX7" fmla="*/ 8715763 w 12244111"/>
              <a:gd name="connsiteY7" fmla="*/ 1742130 h 1742130"/>
              <a:gd name="connsiteX8" fmla="*/ 0 w 12244111"/>
              <a:gd name="connsiteY8" fmla="*/ 1742130 h 1742130"/>
              <a:gd name="connsiteX9" fmla="*/ 0 w 12244111"/>
              <a:gd name="connsiteY9" fmla="*/ 0 h 1742130"/>
              <a:gd name="connsiteX0" fmla="*/ 0 w 12244111"/>
              <a:gd name="connsiteY0" fmla="*/ 0 h 1742130"/>
              <a:gd name="connsiteX1" fmla="*/ 2261766 w 12244111"/>
              <a:gd name="connsiteY1" fmla="*/ 0 h 1742130"/>
              <a:gd name="connsiteX2" fmla="*/ 2669225 w 12244111"/>
              <a:gd name="connsiteY2" fmla="*/ 201008 h 1742130"/>
              <a:gd name="connsiteX3" fmla="*/ 12244111 w 12244111"/>
              <a:gd name="connsiteY3" fmla="*/ 207273 h 1742130"/>
              <a:gd name="connsiteX4" fmla="*/ 12225528 w 12244111"/>
              <a:gd name="connsiteY4" fmla="*/ 1508582 h 1742130"/>
              <a:gd name="connsiteX5" fmla="*/ 9244676 w 12244111"/>
              <a:gd name="connsiteY5" fmla="*/ 1508582 h 1742130"/>
              <a:gd name="connsiteX6" fmla="*/ 8712452 w 12244111"/>
              <a:gd name="connsiteY6" fmla="*/ 1740686 h 1742130"/>
              <a:gd name="connsiteX7" fmla="*/ 8715763 w 12244111"/>
              <a:gd name="connsiteY7" fmla="*/ 1742130 h 1742130"/>
              <a:gd name="connsiteX8" fmla="*/ 0 w 12244111"/>
              <a:gd name="connsiteY8" fmla="*/ 1742130 h 1742130"/>
              <a:gd name="connsiteX9" fmla="*/ 0 w 12244111"/>
              <a:gd name="connsiteY9" fmla="*/ 0 h 1742130"/>
              <a:gd name="connsiteX0" fmla="*/ 0 w 12237742"/>
              <a:gd name="connsiteY0" fmla="*/ 0 h 1742130"/>
              <a:gd name="connsiteX1" fmla="*/ 2261766 w 12237742"/>
              <a:gd name="connsiteY1" fmla="*/ 0 h 1742130"/>
              <a:gd name="connsiteX2" fmla="*/ 2669225 w 12237742"/>
              <a:gd name="connsiteY2" fmla="*/ 201008 h 1742130"/>
              <a:gd name="connsiteX3" fmla="*/ 12237742 w 12237742"/>
              <a:gd name="connsiteY3" fmla="*/ 201008 h 1742130"/>
              <a:gd name="connsiteX4" fmla="*/ 12225528 w 12237742"/>
              <a:gd name="connsiteY4" fmla="*/ 1508582 h 1742130"/>
              <a:gd name="connsiteX5" fmla="*/ 9244676 w 12237742"/>
              <a:gd name="connsiteY5" fmla="*/ 1508582 h 1742130"/>
              <a:gd name="connsiteX6" fmla="*/ 8712452 w 12237742"/>
              <a:gd name="connsiteY6" fmla="*/ 1740686 h 1742130"/>
              <a:gd name="connsiteX7" fmla="*/ 8715763 w 12237742"/>
              <a:gd name="connsiteY7" fmla="*/ 1742130 h 1742130"/>
              <a:gd name="connsiteX8" fmla="*/ 0 w 12237742"/>
              <a:gd name="connsiteY8" fmla="*/ 1742130 h 1742130"/>
              <a:gd name="connsiteX9" fmla="*/ 0 w 12237742"/>
              <a:gd name="connsiteY9" fmla="*/ 0 h 1742130"/>
              <a:gd name="connsiteX0" fmla="*/ 0 w 12237742"/>
              <a:gd name="connsiteY0" fmla="*/ 0 h 1742130"/>
              <a:gd name="connsiteX1" fmla="*/ 2261766 w 12237742"/>
              <a:gd name="connsiteY1" fmla="*/ 0 h 1742130"/>
              <a:gd name="connsiteX2" fmla="*/ 2669225 w 12237742"/>
              <a:gd name="connsiteY2" fmla="*/ 201008 h 1742130"/>
              <a:gd name="connsiteX3" fmla="*/ 12237742 w 12237742"/>
              <a:gd name="connsiteY3" fmla="*/ 201008 h 1742130"/>
              <a:gd name="connsiteX4" fmla="*/ 12234020 w 12237742"/>
              <a:gd name="connsiteY4" fmla="*/ 1625525 h 1742130"/>
              <a:gd name="connsiteX5" fmla="*/ 9244676 w 12237742"/>
              <a:gd name="connsiteY5" fmla="*/ 1508582 h 1742130"/>
              <a:gd name="connsiteX6" fmla="*/ 8712452 w 12237742"/>
              <a:gd name="connsiteY6" fmla="*/ 1740686 h 1742130"/>
              <a:gd name="connsiteX7" fmla="*/ 8715763 w 12237742"/>
              <a:gd name="connsiteY7" fmla="*/ 1742130 h 1742130"/>
              <a:gd name="connsiteX8" fmla="*/ 0 w 12237742"/>
              <a:gd name="connsiteY8" fmla="*/ 1742130 h 1742130"/>
              <a:gd name="connsiteX9" fmla="*/ 0 w 12237742"/>
              <a:gd name="connsiteY9" fmla="*/ 0 h 1742130"/>
              <a:gd name="connsiteX0" fmla="*/ 0 w 12237742"/>
              <a:gd name="connsiteY0" fmla="*/ 0 h 1742130"/>
              <a:gd name="connsiteX1" fmla="*/ 2261766 w 12237742"/>
              <a:gd name="connsiteY1" fmla="*/ 0 h 1742130"/>
              <a:gd name="connsiteX2" fmla="*/ 2669225 w 12237742"/>
              <a:gd name="connsiteY2" fmla="*/ 201008 h 1742130"/>
              <a:gd name="connsiteX3" fmla="*/ 12237742 w 12237742"/>
              <a:gd name="connsiteY3" fmla="*/ 201008 h 1742130"/>
              <a:gd name="connsiteX4" fmla="*/ 12234020 w 12237742"/>
              <a:gd name="connsiteY4" fmla="*/ 1625525 h 1742130"/>
              <a:gd name="connsiteX5" fmla="*/ 8998407 w 12237742"/>
              <a:gd name="connsiteY5" fmla="*/ 1625525 h 1742130"/>
              <a:gd name="connsiteX6" fmla="*/ 8712452 w 12237742"/>
              <a:gd name="connsiteY6" fmla="*/ 1740686 h 1742130"/>
              <a:gd name="connsiteX7" fmla="*/ 8715763 w 12237742"/>
              <a:gd name="connsiteY7" fmla="*/ 1742130 h 1742130"/>
              <a:gd name="connsiteX8" fmla="*/ 0 w 12237742"/>
              <a:gd name="connsiteY8" fmla="*/ 1742130 h 1742130"/>
              <a:gd name="connsiteX9" fmla="*/ 0 w 12237742"/>
              <a:gd name="connsiteY9" fmla="*/ 0 h 1742130"/>
              <a:gd name="connsiteX0" fmla="*/ 0 w 12237742"/>
              <a:gd name="connsiteY0" fmla="*/ 0 h 1742130"/>
              <a:gd name="connsiteX1" fmla="*/ 2261766 w 12237742"/>
              <a:gd name="connsiteY1" fmla="*/ 0 h 1742130"/>
              <a:gd name="connsiteX2" fmla="*/ 2669225 w 12237742"/>
              <a:gd name="connsiteY2" fmla="*/ 201008 h 1742130"/>
              <a:gd name="connsiteX3" fmla="*/ 12237742 w 12237742"/>
              <a:gd name="connsiteY3" fmla="*/ 201008 h 1742130"/>
              <a:gd name="connsiteX4" fmla="*/ 12234020 w 12237742"/>
              <a:gd name="connsiteY4" fmla="*/ 1625525 h 1742130"/>
              <a:gd name="connsiteX5" fmla="*/ 9130033 w 12237742"/>
              <a:gd name="connsiteY5" fmla="*/ 1621349 h 1742130"/>
              <a:gd name="connsiteX6" fmla="*/ 8712452 w 12237742"/>
              <a:gd name="connsiteY6" fmla="*/ 1740686 h 1742130"/>
              <a:gd name="connsiteX7" fmla="*/ 8715763 w 12237742"/>
              <a:gd name="connsiteY7" fmla="*/ 1742130 h 1742130"/>
              <a:gd name="connsiteX8" fmla="*/ 0 w 12237742"/>
              <a:gd name="connsiteY8" fmla="*/ 1742130 h 1742130"/>
              <a:gd name="connsiteX9" fmla="*/ 0 w 12237742"/>
              <a:gd name="connsiteY9" fmla="*/ 0 h 1742130"/>
              <a:gd name="connsiteX0" fmla="*/ 0 w 12237742"/>
              <a:gd name="connsiteY0" fmla="*/ 0 h 1754660"/>
              <a:gd name="connsiteX1" fmla="*/ 2261766 w 12237742"/>
              <a:gd name="connsiteY1" fmla="*/ 0 h 1754660"/>
              <a:gd name="connsiteX2" fmla="*/ 2669225 w 12237742"/>
              <a:gd name="connsiteY2" fmla="*/ 201008 h 1754660"/>
              <a:gd name="connsiteX3" fmla="*/ 12237742 w 12237742"/>
              <a:gd name="connsiteY3" fmla="*/ 201008 h 1754660"/>
              <a:gd name="connsiteX4" fmla="*/ 12234020 w 12237742"/>
              <a:gd name="connsiteY4" fmla="*/ 1625525 h 1754660"/>
              <a:gd name="connsiteX5" fmla="*/ 9130033 w 12237742"/>
              <a:gd name="connsiteY5" fmla="*/ 1621349 h 1754660"/>
              <a:gd name="connsiteX6" fmla="*/ 8712452 w 12237742"/>
              <a:gd name="connsiteY6" fmla="*/ 1740686 h 1754660"/>
              <a:gd name="connsiteX7" fmla="*/ 8864374 w 12237742"/>
              <a:gd name="connsiteY7" fmla="*/ 1754660 h 1754660"/>
              <a:gd name="connsiteX8" fmla="*/ 0 w 12237742"/>
              <a:gd name="connsiteY8" fmla="*/ 1742130 h 1754660"/>
              <a:gd name="connsiteX9" fmla="*/ 0 w 12237742"/>
              <a:gd name="connsiteY9" fmla="*/ 0 h 1754660"/>
              <a:gd name="connsiteX0" fmla="*/ 0 w 12237742"/>
              <a:gd name="connsiteY0" fmla="*/ 0 h 1754660"/>
              <a:gd name="connsiteX1" fmla="*/ 2261766 w 12237742"/>
              <a:gd name="connsiteY1" fmla="*/ 0 h 1754660"/>
              <a:gd name="connsiteX2" fmla="*/ 2669225 w 12237742"/>
              <a:gd name="connsiteY2" fmla="*/ 201008 h 1754660"/>
              <a:gd name="connsiteX3" fmla="*/ 12237742 w 12237742"/>
              <a:gd name="connsiteY3" fmla="*/ 201008 h 1754660"/>
              <a:gd name="connsiteX4" fmla="*/ 12234020 w 12237742"/>
              <a:gd name="connsiteY4" fmla="*/ 1625525 h 1754660"/>
              <a:gd name="connsiteX5" fmla="*/ 9130033 w 12237742"/>
              <a:gd name="connsiteY5" fmla="*/ 1621349 h 1754660"/>
              <a:gd name="connsiteX6" fmla="*/ 8864374 w 12237742"/>
              <a:gd name="connsiteY6" fmla="*/ 1754660 h 1754660"/>
              <a:gd name="connsiteX7" fmla="*/ 0 w 12237742"/>
              <a:gd name="connsiteY7" fmla="*/ 1742130 h 1754660"/>
              <a:gd name="connsiteX8" fmla="*/ 0 w 12237742"/>
              <a:gd name="connsiteY8" fmla="*/ 0 h 17546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237742" h="1754660">
                <a:moveTo>
                  <a:pt x="0" y="0"/>
                </a:moveTo>
                <a:lnTo>
                  <a:pt x="2261766" y="0"/>
                </a:lnTo>
                <a:lnTo>
                  <a:pt x="2669225" y="201008"/>
                </a:lnTo>
                <a:lnTo>
                  <a:pt x="12237742" y="201008"/>
                </a:lnTo>
                <a:cubicBezTo>
                  <a:pt x="12236501" y="675847"/>
                  <a:pt x="12235261" y="1150686"/>
                  <a:pt x="12234020" y="1625525"/>
                </a:cubicBezTo>
                <a:lnTo>
                  <a:pt x="9130033" y="1621349"/>
                </a:lnTo>
                <a:lnTo>
                  <a:pt x="8864374" y="1754660"/>
                </a:lnTo>
                <a:lnTo>
                  <a:pt x="0" y="1742130"/>
                </a:lnTo>
                <a:lnTo>
                  <a:pt x="0" y="0"/>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Bef>
                <a:spcPts val="800"/>
              </a:spcBef>
            </a:pPr>
            <a:endParaRPr lang="es-PE" dirty="0">
              <a:solidFill>
                <a:schemeClr val="bg1"/>
              </a:solidFill>
            </a:endParaRPr>
          </a:p>
        </p:txBody>
      </p:sp>
      <p:pic>
        <p:nvPicPr>
          <p:cNvPr id="27" name="Picture 26">
            <a:extLst>
              <a:ext uri="{FF2B5EF4-FFF2-40B4-BE49-F238E27FC236}">
                <a16:creationId xmlns:a16="http://schemas.microsoft.com/office/drawing/2014/main" id="{DF771BFD-33F4-4302-AE78-E4E13F5674E4}"/>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5332" r="41262"/>
          <a:stretch/>
        </p:blipFill>
        <p:spPr>
          <a:xfrm rot="16200000" flipH="1">
            <a:off x="953985" y="4422514"/>
            <a:ext cx="295205" cy="1832111"/>
          </a:xfrm>
          <a:prstGeom prst="rect">
            <a:avLst/>
          </a:prstGeom>
        </p:spPr>
      </p:pic>
      <p:pic>
        <p:nvPicPr>
          <p:cNvPr id="28" name="Picture 27">
            <a:extLst>
              <a:ext uri="{FF2B5EF4-FFF2-40B4-BE49-F238E27FC236}">
                <a16:creationId xmlns:a16="http://schemas.microsoft.com/office/drawing/2014/main" id="{4E774EAE-5A9D-4928-87E1-FB117CF26F03}"/>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t="5332" r="41262"/>
          <a:stretch/>
        </p:blipFill>
        <p:spPr>
          <a:xfrm rot="5400000" flipH="1">
            <a:off x="10974163" y="5290916"/>
            <a:ext cx="295205" cy="1832111"/>
          </a:xfrm>
          <a:prstGeom prst="rect">
            <a:avLst/>
          </a:prstGeom>
        </p:spPr>
      </p:pic>
      <p:sp>
        <p:nvSpPr>
          <p:cNvPr id="10" name="Text Placeholder 27"/>
          <p:cNvSpPr>
            <a:spLocks noGrp="1"/>
          </p:cNvSpPr>
          <p:nvPr>
            <p:ph type="body" sz="quarter" idx="15" hasCustomPrompt="1"/>
          </p:nvPr>
        </p:nvSpPr>
        <p:spPr bwMode="gray">
          <a:xfrm>
            <a:off x="1001776" y="5574141"/>
            <a:ext cx="10541000" cy="609398"/>
          </a:xfrm>
        </p:spPr>
        <p:txBody>
          <a:bodyPr anchor="ctr" anchorCtr="0">
            <a:spAutoFit/>
          </a:bodyPr>
          <a:lstStyle>
            <a:lvl1pPr marL="0" indent="0" algn="ctr">
              <a:lnSpc>
                <a:spcPct val="90000"/>
              </a:lnSpc>
              <a:spcBef>
                <a:spcPts val="0"/>
              </a:spcBef>
              <a:buNone/>
              <a:defRPr sz="4400" b="0" cap="none" baseline="0">
                <a:solidFill>
                  <a:schemeClr val="bg1"/>
                </a:solidFill>
              </a:defRPr>
            </a:lvl1pPr>
          </a:lstStyle>
          <a:p>
            <a:pPr lvl="0"/>
            <a:r>
              <a:rPr lang="en-US" dirty="0"/>
              <a:t>Click to add text</a:t>
            </a:r>
          </a:p>
        </p:txBody>
      </p:sp>
      <p:sp>
        <p:nvSpPr>
          <p:cNvPr id="8" name="Freeform: Shape 7">
            <a:extLst>
              <a:ext uri="{FF2B5EF4-FFF2-40B4-BE49-F238E27FC236}">
                <a16:creationId xmlns:a16="http://schemas.microsoft.com/office/drawing/2014/main" id="{224C9CD7-8228-4D6A-93B4-D9B4CD2A2779}"/>
              </a:ext>
            </a:extLst>
          </p:cNvPr>
          <p:cNvSpPr/>
          <p:nvPr userDrawn="1"/>
        </p:nvSpPr>
        <p:spPr>
          <a:xfrm>
            <a:off x="0" y="6624535"/>
            <a:ext cx="12188952" cy="233465"/>
          </a:xfrm>
          <a:custGeom>
            <a:avLst/>
            <a:gdLst>
              <a:gd name="connsiteX0" fmla="*/ 8949770 w 11969877"/>
              <a:gd name="connsiteY0" fmla="*/ 0 h 233465"/>
              <a:gd name="connsiteX1" fmla="*/ 11969877 w 11969877"/>
              <a:gd name="connsiteY1" fmla="*/ 0 h 233465"/>
              <a:gd name="connsiteX2" fmla="*/ 11969877 w 11969877"/>
              <a:gd name="connsiteY2" fmla="*/ 233465 h 233465"/>
              <a:gd name="connsiteX3" fmla="*/ 9027859 w 11969877"/>
              <a:gd name="connsiteY3" fmla="*/ 233465 h 233465"/>
              <a:gd name="connsiteX4" fmla="*/ 1048596 w 11969877"/>
              <a:gd name="connsiteY4" fmla="*/ 233465 h 233465"/>
              <a:gd name="connsiteX5" fmla="*/ 33436 w 11969877"/>
              <a:gd name="connsiteY5" fmla="*/ 233465 h 233465"/>
              <a:gd name="connsiteX6" fmla="*/ 0 w 11969877"/>
              <a:gd name="connsiteY6" fmla="*/ 233465 h 233465"/>
              <a:gd name="connsiteX7" fmla="*/ 0 w 11969877"/>
              <a:gd name="connsiteY7" fmla="*/ 169375 h 233465"/>
              <a:gd name="connsiteX8" fmla="*/ 0 w 11969877"/>
              <a:gd name="connsiteY8" fmla="*/ 126232 h 233465"/>
              <a:gd name="connsiteX9" fmla="*/ 0 w 11969877"/>
              <a:gd name="connsiteY9" fmla="*/ 109891 h 233465"/>
              <a:gd name="connsiteX10" fmla="*/ 8695556 w 11969877"/>
              <a:gd name="connsiteY10" fmla="*/ 109891 h 233465"/>
              <a:gd name="connsiteX11" fmla="*/ 8949770 w 11969877"/>
              <a:gd name="connsiteY11" fmla="*/ 0 h 233465"/>
              <a:gd name="connsiteX0" fmla="*/ 8949770 w 11969877"/>
              <a:gd name="connsiteY0" fmla="*/ 0 h 233465"/>
              <a:gd name="connsiteX1" fmla="*/ 11969877 w 11969877"/>
              <a:gd name="connsiteY1" fmla="*/ 0 h 233465"/>
              <a:gd name="connsiteX2" fmla="*/ 11969877 w 11969877"/>
              <a:gd name="connsiteY2" fmla="*/ 233465 h 233465"/>
              <a:gd name="connsiteX3" fmla="*/ 9027859 w 11969877"/>
              <a:gd name="connsiteY3" fmla="*/ 233465 h 233465"/>
              <a:gd name="connsiteX4" fmla="*/ 1048596 w 11969877"/>
              <a:gd name="connsiteY4" fmla="*/ 233465 h 233465"/>
              <a:gd name="connsiteX5" fmla="*/ 33436 w 11969877"/>
              <a:gd name="connsiteY5" fmla="*/ 233465 h 233465"/>
              <a:gd name="connsiteX6" fmla="*/ 0 w 11969877"/>
              <a:gd name="connsiteY6" fmla="*/ 233465 h 233465"/>
              <a:gd name="connsiteX7" fmla="*/ 0 w 11969877"/>
              <a:gd name="connsiteY7" fmla="*/ 169375 h 233465"/>
              <a:gd name="connsiteX8" fmla="*/ 0 w 11969877"/>
              <a:gd name="connsiteY8" fmla="*/ 126232 h 233465"/>
              <a:gd name="connsiteX9" fmla="*/ 0 w 11969877"/>
              <a:gd name="connsiteY9" fmla="*/ 109891 h 233465"/>
              <a:gd name="connsiteX10" fmla="*/ 8708028 w 11969877"/>
              <a:gd name="connsiteY10" fmla="*/ 141641 h 233465"/>
              <a:gd name="connsiteX11" fmla="*/ 8949770 w 11969877"/>
              <a:gd name="connsiteY11" fmla="*/ 0 h 2334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969877" h="233465">
                <a:moveTo>
                  <a:pt x="8949770" y="0"/>
                </a:moveTo>
                <a:lnTo>
                  <a:pt x="11969877" y="0"/>
                </a:lnTo>
                <a:lnTo>
                  <a:pt x="11969877" y="233465"/>
                </a:lnTo>
                <a:lnTo>
                  <a:pt x="9027859" y="233465"/>
                </a:lnTo>
                <a:lnTo>
                  <a:pt x="1048596" y="233465"/>
                </a:lnTo>
                <a:lnTo>
                  <a:pt x="33436" y="233465"/>
                </a:lnTo>
                <a:lnTo>
                  <a:pt x="0" y="233465"/>
                </a:lnTo>
                <a:lnTo>
                  <a:pt x="0" y="169375"/>
                </a:lnTo>
                <a:lnTo>
                  <a:pt x="0" y="126232"/>
                </a:lnTo>
                <a:lnTo>
                  <a:pt x="0" y="109891"/>
                </a:lnTo>
                <a:lnTo>
                  <a:pt x="8708028" y="141641"/>
                </a:lnTo>
                <a:lnTo>
                  <a:pt x="8949770" y="0"/>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Bef>
                <a:spcPts val="800"/>
              </a:spcBef>
            </a:pPr>
            <a:endParaRPr lang="en-US" sz="1800" dirty="0">
              <a:solidFill>
                <a:schemeClr val="bg1"/>
              </a:solidFill>
            </a:endParaRPr>
          </a:p>
        </p:txBody>
      </p:sp>
      <p:sp>
        <p:nvSpPr>
          <p:cNvPr id="9" name="Freeform 4">
            <a:extLst>
              <a:ext uri="{FF2B5EF4-FFF2-40B4-BE49-F238E27FC236}">
                <a16:creationId xmlns:a16="http://schemas.microsoft.com/office/drawing/2014/main" id="{D3794542-D2C7-432F-9113-2FE8B4A5528B}"/>
              </a:ext>
            </a:extLst>
          </p:cNvPr>
          <p:cNvSpPr>
            <a:spLocks noChangeAspect="1"/>
          </p:cNvSpPr>
          <p:nvPr userDrawn="1"/>
        </p:nvSpPr>
        <p:spPr>
          <a:xfrm>
            <a:off x="8585655" y="6620256"/>
            <a:ext cx="545655" cy="237744"/>
          </a:xfrm>
          <a:custGeom>
            <a:avLst/>
            <a:gdLst>
              <a:gd name="connsiteX0" fmla="*/ 57150 w 1790700"/>
              <a:gd name="connsiteY0" fmla="*/ 0 h 3086100"/>
              <a:gd name="connsiteX1" fmla="*/ 1790700 w 1790700"/>
              <a:gd name="connsiteY1" fmla="*/ 3086100 h 3086100"/>
              <a:gd name="connsiteX2" fmla="*/ 0 w 1790700"/>
              <a:gd name="connsiteY2" fmla="*/ 3067050 h 3086100"/>
              <a:gd name="connsiteX3" fmla="*/ 0 w 1790700"/>
              <a:gd name="connsiteY3" fmla="*/ 0 h 3086100"/>
              <a:gd name="connsiteX4" fmla="*/ 19050 w 1790700"/>
              <a:gd name="connsiteY4" fmla="*/ 38100 h 3086100"/>
              <a:gd name="connsiteX5" fmla="*/ 19050 w 1790700"/>
              <a:gd name="connsiteY5" fmla="*/ 57150 h 3086100"/>
              <a:gd name="connsiteX0" fmla="*/ 57150 w 1790700"/>
              <a:gd name="connsiteY0" fmla="*/ 0 h 3086100"/>
              <a:gd name="connsiteX1" fmla="*/ 1790700 w 1790700"/>
              <a:gd name="connsiteY1" fmla="*/ 3086100 h 3086100"/>
              <a:gd name="connsiteX2" fmla="*/ 0 w 1790700"/>
              <a:gd name="connsiteY2" fmla="*/ 3067050 h 3086100"/>
              <a:gd name="connsiteX3" fmla="*/ 0 w 1790700"/>
              <a:gd name="connsiteY3" fmla="*/ 0 h 3086100"/>
              <a:gd name="connsiteX4" fmla="*/ 19050 w 1790700"/>
              <a:gd name="connsiteY4" fmla="*/ 38100 h 3086100"/>
              <a:gd name="connsiteX0" fmla="*/ 57150 w 1790700"/>
              <a:gd name="connsiteY0" fmla="*/ 0 h 3086100"/>
              <a:gd name="connsiteX1" fmla="*/ 1790700 w 1790700"/>
              <a:gd name="connsiteY1" fmla="*/ 3086100 h 3086100"/>
              <a:gd name="connsiteX2" fmla="*/ 0 w 1790700"/>
              <a:gd name="connsiteY2" fmla="*/ 3067050 h 3086100"/>
              <a:gd name="connsiteX3" fmla="*/ 0 w 1790700"/>
              <a:gd name="connsiteY3" fmla="*/ 0 h 3086100"/>
              <a:gd name="connsiteX0" fmla="*/ 57150 w 1790700"/>
              <a:gd name="connsiteY0" fmla="*/ 0 h 3086100"/>
              <a:gd name="connsiteX1" fmla="*/ 1790700 w 1790700"/>
              <a:gd name="connsiteY1" fmla="*/ 3086100 h 3086100"/>
              <a:gd name="connsiteX2" fmla="*/ 0 w 1790700"/>
              <a:gd name="connsiteY2" fmla="*/ 3067050 h 3086100"/>
              <a:gd name="connsiteX0" fmla="*/ 0 w 1733550"/>
              <a:gd name="connsiteY0" fmla="*/ 0 h 3086100"/>
              <a:gd name="connsiteX1" fmla="*/ 1733550 w 1733550"/>
              <a:gd name="connsiteY1" fmla="*/ 3086100 h 3086100"/>
              <a:gd name="connsiteX2" fmla="*/ 613087 w 1733550"/>
              <a:gd name="connsiteY2" fmla="*/ 3077523 h 3086100"/>
              <a:gd name="connsiteX0" fmla="*/ 245654 w 1120463"/>
              <a:gd name="connsiteY0" fmla="*/ 0 h 1525705"/>
              <a:gd name="connsiteX1" fmla="*/ 1120463 w 1120463"/>
              <a:gd name="connsiteY1" fmla="*/ 1525705 h 1525705"/>
              <a:gd name="connsiteX2" fmla="*/ 0 w 1120463"/>
              <a:gd name="connsiteY2" fmla="*/ 1517128 h 1525705"/>
              <a:gd name="connsiteX0" fmla="*/ 811167 w 1120463"/>
              <a:gd name="connsiteY0" fmla="*/ 0 h 1211531"/>
              <a:gd name="connsiteX1" fmla="*/ 1120463 w 1120463"/>
              <a:gd name="connsiteY1" fmla="*/ 1211531 h 1211531"/>
              <a:gd name="connsiteX2" fmla="*/ 0 w 1120463"/>
              <a:gd name="connsiteY2" fmla="*/ 1202954 h 1211531"/>
              <a:gd name="connsiteX0" fmla="*/ 874002 w 1183298"/>
              <a:gd name="connsiteY0" fmla="*/ 0 h 1213426"/>
              <a:gd name="connsiteX1" fmla="*/ 1183298 w 1183298"/>
              <a:gd name="connsiteY1" fmla="*/ 1211531 h 1213426"/>
              <a:gd name="connsiteX2" fmla="*/ 0 w 1183298"/>
              <a:gd name="connsiteY2" fmla="*/ 1213426 h 1213426"/>
              <a:gd name="connsiteX0" fmla="*/ 857693 w 1166989"/>
              <a:gd name="connsiteY0" fmla="*/ 0 h 1213426"/>
              <a:gd name="connsiteX1" fmla="*/ 1166989 w 1166989"/>
              <a:gd name="connsiteY1" fmla="*/ 1211531 h 1213426"/>
              <a:gd name="connsiteX2" fmla="*/ 0 w 1166989"/>
              <a:gd name="connsiteY2" fmla="*/ 1213426 h 1213426"/>
              <a:gd name="connsiteX0" fmla="*/ 1062735 w 1166989"/>
              <a:gd name="connsiteY0" fmla="*/ 0 h 857667"/>
              <a:gd name="connsiteX1" fmla="*/ 1166989 w 1166989"/>
              <a:gd name="connsiteY1" fmla="*/ 855772 h 857667"/>
              <a:gd name="connsiteX2" fmla="*/ 0 w 1166989"/>
              <a:gd name="connsiteY2" fmla="*/ 857667 h 857667"/>
              <a:gd name="connsiteX0" fmla="*/ 1037104 w 1166989"/>
              <a:gd name="connsiteY0" fmla="*/ 0 h 928818"/>
              <a:gd name="connsiteX1" fmla="*/ 1166989 w 1166989"/>
              <a:gd name="connsiteY1" fmla="*/ 926923 h 928818"/>
              <a:gd name="connsiteX2" fmla="*/ 0 w 1166989"/>
              <a:gd name="connsiteY2" fmla="*/ 928818 h 928818"/>
              <a:gd name="connsiteX0" fmla="*/ 1037104 w 1037104"/>
              <a:gd name="connsiteY0" fmla="*/ 0 h 962499"/>
              <a:gd name="connsiteX1" fmla="*/ 791077 w 1037104"/>
              <a:gd name="connsiteY1" fmla="*/ 962499 h 962499"/>
              <a:gd name="connsiteX2" fmla="*/ 0 w 1037104"/>
              <a:gd name="connsiteY2" fmla="*/ 928818 h 962499"/>
              <a:gd name="connsiteX0" fmla="*/ 1037104 w 1037104"/>
              <a:gd name="connsiteY0" fmla="*/ 0 h 962499"/>
              <a:gd name="connsiteX1" fmla="*/ 791077 w 1037104"/>
              <a:gd name="connsiteY1" fmla="*/ 962499 h 962499"/>
              <a:gd name="connsiteX2" fmla="*/ 0 w 1037104"/>
              <a:gd name="connsiteY2" fmla="*/ 955031 h 962499"/>
              <a:gd name="connsiteX0" fmla="*/ 1046547 w 1046547"/>
              <a:gd name="connsiteY0" fmla="*/ 0 h 949391"/>
              <a:gd name="connsiteX1" fmla="*/ 791077 w 1046547"/>
              <a:gd name="connsiteY1" fmla="*/ 949391 h 949391"/>
              <a:gd name="connsiteX2" fmla="*/ 0 w 1046547"/>
              <a:gd name="connsiteY2" fmla="*/ 941923 h 949391"/>
            </a:gdLst>
            <a:ahLst/>
            <a:cxnLst>
              <a:cxn ang="0">
                <a:pos x="connsiteX0" y="connsiteY0"/>
              </a:cxn>
              <a:cxn ang="0">
                <a:pos x="connsiteX1" y="connsiteY1"/>
              </a:cxn>
              <a:cxn ang="0">
                <a:pos x="connsiteX2" y="connsiteY2"/>
              </a:cxn>
            </a:cxnLst>
            <a:rect l="l" t="t" r="r" b="b"/>
            <a:pathLst>
              <a:path w="1046547" h="949391">
                <a:moveTo>
                  <a:pt x="1046547" y="0"/>
                </a:moveTo>
                <a:lnTo>
                  <a:pt x="791077" y="949391"/>
                </a:lnTo>
                <a:lnTo>
                  <a:pt x="0" y="941923"/>
                </a:lnTo>
              </a:path>
            </a:pathLst>
          </a:custGeom>
          <a:gradFill>
            <a:gsLst>
              <a:gs pos="35000">
                <a:srgbClr val="6CC04A"/>
              </a:gs>
              <a:gs pos="100000">
                <a:schemeClr val="bg2">
                  <a:lumMod val="60000"/>
                  <a:lumOff val="4000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FFFFFF"/>
              </a:solidFill>
              <a:effectLst/>
              <a:uLnTx/>
              <a:uFillTx/>
              <a:latin typeface="PTCRaleway" panose="020B0503030101060003" pitchFamily="34" charset="0"/>
              <a:ea typeface="+mn-ea"/>
              <a:cs typeface="+mn-cs"/>
            </a:endParaRPr>
          </a:p>
        </p:txBody>
      </p:sp>
    </p:spTree>
    <p:extLst>
      <p:ext uri="{BB962C8B-B14F-4D97-AF65-F5344CB8AC3E}">
        <p14:creationId xmlns:p14="http://schemas.microsoft.com/office/powerpoint/2010/main" val="22311967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amp; 2 Images">
    <p:spTree>
      <p:nvGrpSpPr>
        <p:cNvPr id="1" name=""/>
        <p:cNvGrpSpPr/>
        <p:nvPr/>
      </p:nvGrpSpPr>
      <p:grpSpPr>
        <a:xfrm>
          <a:off x="0" y="0"/>
          <a:ext cx="0" cy="0"/>
          <a:chOff x="0" y="0"/>
          <a:chExt cx="0" cy="0"/>
        </a:xfrm>
      </p:grpSpPr>
      <p:sp>
        <p:nvSpPr>
          <p:cNvPr id="15" name="Picture Placeholder 9">
            <a:extLst>
              <a:ext uri="{FF2B5EF4-FFF2-40B4-BE49-F238E27FC236}">
                <a16:creationId xmlns:a16="http://schemas.microsoft.com/office/drawing/2014/main" id="{992F3403-9E0E-4B63-A839-BDA384B8E3CD}"/>
              </a:ext>
            </a:extLst>
          </p:cNvPr>
          <p:cNvSpPr>
            <a:spLocks noGrp="1"/>
          </p:cNvSpPr>
          <p:nvPr>
            <p:ph type="pic" sz="quarter" idx="20" hasCustomPrompt="1"/>
          </p:nvPr>
        </p:nvSpPr>
        <p:spPr>
          <a:xfrm>
            <a:off x="6448291" y="2733199"/>
            <a:ext cx="5120640" cy="2812017"/>
          </a:xfrm>
          <a:prstGeom prst="rect">
            <a:avLst/>
          </a:prstGeom>
          <a:ln w="9525">
            <a:solidFill>
              <a:schemeClr val="bg2"/>
            </a:solidFill>
          </a:ln>
        </p:spPr>
        <p:style>
          <a:lnRef idx="1">
            <a:schemeClr val="accent1"/>
          </a:lnRef>
          <a:fillRef idx="0">
            <a:schemeClr val="accent1"/>
          </a:fillRef>
          <a:effectRef idx="0">
            <a:schemeClr val="accent1"/>
          </a:effectRef>
          <a:fontRef idx="minor">
            <a:schemeClr val="tx1"/>
          </a:fontRef>
        </p:style>
        <p:txBody>
          <a:bodyPr vert="horz" lIns="0" tIns="0" rIns="0" bIns="548640" rtlCol="0" anchor="ctr">
            <a:noAutofit/>
          </a:bodyPr>
          <a:lstStyle>
            <a:lvl1pPr marL="0" indent="0" algn="ctr">
              <a:buFontTx/>
              <a:buNone/>
              <a:defRPr lang="en-US" sz="1000" b="0" baseline="0">
                <a:solidFill>
                  <a:schemeClr val="accent3"/>
                </a:solidFill>
                <a:effectLst/>
                <a:ea typeface="+mj-ea"/>
                <a:cs typeface="Arial" pitchFamily="34" charset="0"/>
              </a:defRPr>
            </a:lvl1pPr>
          </a:lstStyle>
          <a:p>
            <a:r>
              <a:rPr lang="en-US" dirty="0"/>
              <a:t>Click picture icon to add image</a:t>
            </a:r>
          </a:p>
        </p:txBody>
      </p:sp>
      <p:sp>
        <p:nvSpPr>
          <p:cNvPr id="8" name="Picture Placeholder 2">
            <a:extLst>
              <a:ext uri="{FF2B5EF4-FFF2-40B4-BE49-F238E27FC236}">
                <a16:creationId xmlns:a16="http://schemas.microsoft.com/office/drawing/2014/main" id="{2BD43F86-E489-4FF1-B499-7BF132B537E4}"/>
              </a:ext>
            </a:extLst>
          </p:cNvPr>
          <p:cNvSpPr>
            <a:spLocks noGrp="1"/>
          </p:cNvSpPr>
          <p:nvPr>
            <p:ph type="pic" idx="14" hasCustomPrompt="1"/>
          </p:nvPr>
        </p:nvSpPr>
        <p:spPr>
          <a:xfrm>
            <a:off x="868491" y="2733198"/>
            <a:ext cx="5120640" cy="2818946"/>
          </a:xfrm>
          <a:prstGeom prst="rect">
            <a:avLst/>
          </a:prstGeom>
          <a:ln w="9525">
            <a:solidFill>
              <a:schemeClr val="bg2"/>
            </a:solidFill>
          </a:ln>
        </p:spPr>
        <p:style>
          <a:lnRef idx="1">
            <a:schemeClr val="accent1"/>
          </a:lnRef>
          <a:fillRef idx="0">
            <a:schemeClr val="accent1"/>
          </a:fillRef>
          <a:effectRef idx="0">
            <a:schemeClr val="accent1"/>
          </a:effectRef>
          <a:fontRef idx="minor">
            <a:schemeClr val="tx1"/>
          </a:fontRef>
        </p:style>
        <p:txBody>
          <a:bodyPr vert="horz" lIns="0" tIns="0" rIns="0" bIns="548640" rtlCol="0" anchor="ctr">
            <a:noAutofit/>
          </a:bodyPr>
          <a:lstStyle>
            <a:lvl1pPr marL="0" indent="0" algn="ctr">
              <a:buFontTx/>
              <a:buNone/>
              <a:defRPr lang="ko-KR" altLang="en-US" sz="1000" baseline="0" dirty="0">
                <a:solidFill>
                  <a:schemeClr val="accent3"/>
                </a:solidFill>
                <a:effectLst/>
                <a:ea typeface="+mj-ea"/>
                <a:cs typeface="Arial" pitchFamily="34" charset="0"/>
              </a:defRPr>
            </a:lvl1pPr>
          </a:lstStyle>
          <a:p>
            <a:r>
              <a:rPr lang="en-US" dirty="0"/>
              <a:t>Click picture icon to add image</a:t>
            </a:r>
          </a:p>
        </p:txBody>
      </p:sp>
      <p:sp>
        <p:nvSpPr>
          <p:cNvPr id="4" name="Text Placeholder 3">
            <a:extLst>
              <a:ext uri="{FF2B5EF4-FFF2-40B4-BE49-F238E27FC236}">
                <a16:creationId xmlns:a16="http://schemas.microsoft.com/office/drawing/2014/main" id="{A25A81C6-E459-47F8-BE7E-E79BDF03FDEA}"/>
              </a:ext>
            </a:extLst>
          </p:cNvPr>
          <p:cNvSpPr>
            <a:spLocks noGrp="1"/>
          </p:cNvSpPr>
          <p:nvPr>
            <p:ph type="body" sz="quarter" idx="15" hasCustomPrompt="1"/>
          </p:nvPr>
        </p:nvSpPr>
        <p:spPr>
          <a:xfrm>
            <a:off x="868491" y="5726510"/>
            <a:ext cx="5120640" cy="276999"/>
          </a:xfrm>
        </p:spPr>
        <p:txBody>
          <a:bodyPr anchor="t" anchorCtr="0">
            <a:spAutoFit/>
          </a:bodyPr>
          <a:lstStyle>
            <a:lvl1pPr marL="0" indent="0" algn="ctr">
              <a:spcBef>
                <a:spcPts val="600"/>
              </a:spcBef>
              <a:buFontTx/>
              <a:buNone/>
              <a:defRPr sz="2000"/>
            </a:lvl1pPr>
          </a:lstStyle>
          <a:p>
            <a:pPr lvl="0"/>
            <a:r>
              <a:rPr lang="en-US" dirty="0"/>
              <a:t>Add text</a:t>
            </a:r>
          </a:p>
        </p:txBody>
      </p:sp>
      <p:sp>
        <p:nvSpPr>
          <p:cNvPr id="16" name="Text Placeholder 15">
            <a:extLst>
              <a:ext uri="{FF2B5EF4-FFF2-40B4-BE49-F238E27FC236}">
                <a16:creationId xmlns:a16="http://schemas.microsoft.com/office/drawing/2014/main" id="{9043761F-801C-479C-8752-C1BDEEBF98F6}"/>
              </a:ext>
            </a:extLst>
          </p:cNvPr>
          <p:cNvSpPr>
            <a:spLocks noGrp="1"/>
          </p:cNvSpPr>
          <p:nvPr>
            <p:ph type="body" sz="quarter" idx="16" hasCustomPrompt="1"/>
          </p:nvPr>
        </p:nvSpPr>
        <p:spPr>
          <a:xfrm>
            <a:off x="868491" y="2306505"/>
            <a:ext cx="5120640" cy="347472"/>
          </a:xfrm>
        </p:spPr>
        <p:txBody>
          <a:bodyPr vert="horz" lIns="0" tIns="0" rIns="0" bIns="0" rtlCol="0" anchor="ctr" anchorCtr="0">
            <a:noAutofit/>
          </a:bodyPr>
          <a:lstStyle>
            <a:lvl1pPr>
              <a:defRPr lang="en-US" sz="2000" b="1" dirty="0"/>
            </a:lvl1pPr>
          </a:lstStyle>
          <a:p>
            <a:pPr marL="0" lvl="0" indent="0" algn="ctr">
              <a:lnSpc>
                <a:spcPct val="85000"/>
              </a:lnSpc>
              <a:spcBef>
                <a:spcPts val="0"/>
              </a:spcBef>
              <a:buNone/>
            </a:pPr>
            <a:r>
              <a:rPr lang="en-US" dirty="0"/>
              <a:t>Add title</a:t>
            </a:r>
          </a:p>
        </p:txBody>
      </p:sp>
      <p:sp>
        <p:nvSpPr>
          <p:cNvPr id="12" name="Text Placeholder 11">
            <a:extLst>
              <a:ext uri="{FF2B5EF4-FFF2-40B4-BE49-F238E27FC236}">
                <a16:creationId xmlns:a16="http://schemas.microsoft.com/office/drawing/2014/main" id="{6A54E21F-0B44-4E38-ACAA-0FDCCCC54078}"/>
              </a:ext>
            </a:extLst>
          </p:cNvPr>
          <p:cNvSpPr>
            <a:spLocks noGrp="1"/>
          </p:cNvSpPr>
          <p:nvPr>
            <p:ph type="body" sz="quarter" idx="21" hasCustomPrompt="1"/>
          </p:nvPr>
        </p:nvSpPr>
        <p:spPr>
          <a:xfrm>
            <a:off x="6448291" y="2306505"/>
            <a:ext cx="5120640" cy="347472"/>
          </a:xfrm>
        </p:spPr>
        <p:txBody>
          <a:bodyPr vert="horz" lIns="0" tIns="0" rIns="0" bIns="0" rtlCol="0" anchor="ctr" anchorCtr="0">
            <a:noAutofit/>
          </a:bodyPr>
          <a:lstStyle>
            <a:lvl1pPr>
              <a:defRPr lang="en-US" sz="2000" b="1" dirty="0"/>
            </a:lvl1pPr>
          </a:lstStyle>
          <a:p>
            <a:pPr marL="0" lvl="0" indent="0" algn="ctr">
              <a:lnSpc>
                <a:spcPct val="85000"/>
              </a:lnSpc>
              <a:spcBef>
                <a:spcPts val="0"/>
              </a:spcBef>
              <a:buNone/>
            </a:pPr>
            <a:r>
              <a:rPr lang="en-US" dirty="0"/>
              <a:t>Add title</a:t>
            </a:r>
          </a:p>
        </p:txBody>
      </p:sp>
      <p:sp>
        <p:nvSpPr>
          <p:cNvPr id="13" name="Text Placeholder 12">
            <a:extLst>
              <a:ext uri="{FF2B5EF4-FFF2-40B4-BE49-F238E27FC236}">
                <a16:creationId xmlns:a16="http://schemas.microsoft.com/office/drawing/2014/main" id="{A63526DB-9535-4082-B91B-6B7BAEA14DD3}"/>
              </a:ext>
            </a:extLst>
          </p:cNvPr>
          <p:cNvSpPr>
            <a:spLocks noGrp="1"/>
          </p:cNvSpPr>
          <p:nvPr>
            <p:ph type="body" sz="quarter" idx="25" hasCustomPrompt="1"/>
          </p:nvPr>
        </p:nvSpPr>
        <p:spPr>
          <a:xfrm>
            <a:off x="6448291" y="5726510"/>
            <a:ext cx="5120640" cy="276999"/>
          </a:xfrm>
        </p:spPr>
        <p:txBody>
          <a:bodyPr anchor="t" anchorCtr="0">
            <a:spAutoFit/>
          </a:bodyPr>
          <a:lstStyle>
            <a:lvl1pPr marL="0" indent="0" algn="ctr">
              <a:spcBef>
                <a:spcPts val="600"/>
              </a:spcBef>
              <a:buFontTx/>
              <a:buNone/>
              <a:defRPr sz="2000"/>
            </a:lvl1pPr>
          </a:lstStyle>
          <a:p>
            <a:pPr lvl="0"/>
            <a:r>
              <a:rPr lang="en-US" dirty="0"/>
              <a:t>Add text</a:t>
            </a:r>
          </a:p>
        </p:txBody>
      </p:sp>
      <p:sp>
        <p:nvSpPr>
          <p:cNvPr id="9" name="Rectangle 8">
            <a:extLst>
              <a:ext uri="{FF2B5EF4-FFF2-40B4-BE49-F238E27FC236}">
                <a16:creationId xmlns:a16="http://schemas.microsoft.com/office/drawing/2014/main" id="{0A4810EA-6AC4-42A0-98B5-8E13D873B935}"/>
              </a:ext>
            </a:extLst>
          </p:cNvPr>
          <p:cNvSpPr/>
          <p:nvPr userDrawn="1"/>
        </p:nvSpPr>
        <p:spPr>
          <a:xfrm>
            <a:off x="0" y="2733198"/>
            <a:ext cx="521970" cy="281894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Bef>
                <a:spcPts val="800"/>
              </a:spcBef>
            </a:pPr>
            <a:endParaRPr lang="en-US">
              <a:solidFill>
                <a:schemeClr val="accent3"/>
              </a:solidFill>
            </a:endParaRPr>
          </a:p>
        </p:txBody>
      </p:sp>
      <p:sp>
        <p:nvSpPr>
          <p:cNvPr id="3" name="Title 2">
            <a:extLst>
              <a:ext uri="{FF2B5EF4-FFF2-40B4-BE49-F238E27FC236}">
                <a16:creationId xmlns:a16="http://schemas.microsoft.com/office/drawing/2014/main" id="{A1ACC0E3-5E84-4BB5-8DA2-7D1265BD1860}"/>
              </a:ext>
            </a:extLst>
          </p:cNvPr>
          <p:cNvSpPr>
            <a:spLocks noGrp="1"/>
          </p:cNvSpPr>
          <p:nvPr>
            <p:ph type="title" hasCustomPrompt="1"/>
          </p:nvPr>
        </p:nvSpPr>
        <p:spPr/>
        <p:txBody>
          <a:bodyPr/>
          <a:lstStyle>
            <a:lvl1pPr>
              <a:defRPr/>
            </a:lvl1pPr>
          </a:lstStyle>
          <a:p>
            <a:r>
              <a:rPr lang="en-US" dirty="0"/>
              <a:t>add title – keep it brief</a:t>
            </a:r>
          </a:p>
        </p:txBody>
      </p:sp>
      <p:sp>
        <p:nvSpPr>
          <p:cNvPr id="11" name="Text Placeholder 3">
            <a:extLst>
              <a:ext uri="{FF2B5EF4-FFF2-40B4-BE49-F238E27FC236}">
                <a16:creationId xmlns:a16="http://schemas.microsoft.com/office/drawing/2014/main" id="{B036D3AC-79C7-4664-A1E8-BBAF473E80C2}"/>
              </a:ext>
            </a:extLst>
          </p:cNvPr>
          <p:cNvSpPr>
            <a:spLocks noGrp="1"/>
          </p:cNvSpPr>
          <p:nvPr>
            <p:ph type="body" sz="quarter" idx="42" hasCustomPrompt="1"/>
          </p:nvPr>
        </p:nvSpPr>
        <p:spPr>
          <a:xfrm>
            <a:off x="880243" y="1704673"/>
            <a:ext cx="10698480" cy="304699"/>
          </a:xfrm>
          <a:noFill/>
        </p:spPr>
        <p:txBody>
          <a:bodyPr vert="horz" lIns="0" tIns="0" rIns="0" bIns="0" rtlCol="0" anchor="ctr" anchorCtr="0">
            <a:spAutoFit/>
          </a:bodyPr>
          <a:lstStyle>
            <a:lvl1pPr marL="0" indent="0" algn="ctr">
              <a:buFontTx/>
              <a:buNone/>
              <a:defRPr lang="en-US" sz="2200" dirty="0"/>
            </a:lvl1pPr>
          </a:lstStyle>
          <a:p>
            <a:pPr lvl="0"/>
            <a:r>
              <a:rPr lang="en-US" dirty="0"/>
              <a:t>Call out blurb</a:t>
            </a:r>
          </a:p>
        </p:txBody>
      </p:sp>
    </p:spTree>
    <p:extLst>
      <p:ext uri="{BB962C8B-B14F-4D97-AF65-F5344CB8AC3E}">
        <p14:creationId xmlns:p14="http://schemas.microsoft.com/office/powerpoint/2010/main" val="10987634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amp; 3 Imag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05A72E-D1F7-4136-939F-889F4228C564}"/>
              </a:ext>
            </a:extLst>
          </p:cNvPr>
          <p:cNvSpPr>
            <a:spLocks noGrp="1"/>
          </p:cNvSpPr>
          <p:nvPr>
            <p:ph type="title" hasCustomPrompt="1"/>
          </p:nvPr>
        </p:nvSpPr>
        <p:spPr/>
        <p:txBody>
          <a:bodyPr/>
          <a:lstStyle/>
          <a:p>
            <a:r>
              <a:rPr lang="en-US" dirty="0"/>
              <a:t>add title – keep it brief</a:t>
            </a:r>
          </a:p>
        </p:txBody>
      </p:sp>
      <p:sp>
        <p:nvSpPr>
          <p:cNvPr id="17" name="Picture Placeholder 2">
            <a:extLst>
              <a:ext uri="{FF2B5EF4-FFF2-40B4-BE49-F238E27FC236}">
                <a16:creationId xmlns:a16="http://schemas.microsoft.com/office/drawing/2014/main" id="{734315CC-5450-4530-9C7C-C6329202BB8A}"/>
              </a:ext>
            </a:extLst>
          </p:cNvPr>
          <p:cNvSpPr>
            <a:spLocks noGrp="1"/>
          </p:cNvSpPr>
          <p:nvPr>
            <p:ph type="pic" idx="14" hasCustomPrompt="1"/>
          </p:nvPr>
        </p:nvSpPr>
        <p:spPr>
          <a:xfrm>
            <a:off x="868491" y="2733197"/>
            <a:ext cx="3291840" cy="2818947"/>
          </a:xfrm>
          <a:prstGeom prst="rect">
            <a:avLst/>
          </a:prstGeom>
          <a:ln w="9525">
            <a:solidFill>
              <a:schemeClr val="bg2"/>
            </a:solidFill>
          </a:ln>
        </p:spPr>
        <p:style>
          <a:lnRef idx="1">
            <a:schemeClr val="accent1"/>
          </a:lnRef>
          <a:fillRef idx="0">
            <a:schemeClr val="accent1"/>
          </a:fillRef>
          <a:effectRef idx="0">
            <a:schemeClr val="accent1"/>
          </a:effectRef>
          <a:fontRef idx="minor">
            <a:schemeClr val="tx1"/>
          </a:fontRef>
        </p:style>
        <p:txBody>
          <a:bodyPr vert="horz" lIns="0" tIns="0" rIns="0" bIns="548640" rtlCol="0" anchor="ctr">
            <a:noAutofit/>
          </a:bodyPr>
          <a:lstStyle>
            <a:lvl1pPr marL="273582" indent="-273582" algn="ctr">
              <a:buFontTx/>
              <a:buNone/>
              <a:defRPr lang="ko-KR" altLang="en-US" sz="1000" baseline="0" dirty="0">
                <a:solidFill>
                  <a:schemeClr val="accent3"/>
                </a:solidFill>
                <a:effectLst/>
                <a:ea typeface="+mj-ea"/>
                <a:cs typeface="Arial" pitchFamily="34" charset="0"/>
              </a:defRPr>
            </a:lvl1pPr>
          </a:lstStyle>
          <a:p>
            <a:r>
              <a:rPr lang="en-US" dirty="0"/>
              <a:t>Click picture icon to add image</a:t>
            </a:r>
          </a:p>
        </p:txBody>
      </p:sp>
      <p:sp>
        <p:nvSpPr>
          <p:cNvPr id="18" name="Text Placeholder 3">
            <a:extLst>
              <a:ext uri="{FF2B5EF4-FFF2-40B4-BE49-F238E27FC236}">
                <a16:creationId xmlns:a16="http://schemas.microsoft.com/office/drawing/2014/main" id="{EB534821-3EEB-4445-9BFD-DB59E8633CDB}"/>
              </a:ext>
            </a:extLst>
          </p:cNvPr>
          <p:cNvSpPr>
            <a:spLocks noGrp="1"/>
          </p:cNvSpPr>
          <p:nvPr>
            <p:ph type="body" sz="quarter" idx="15" hasCustomPrompt="1"/>
          </p:nvPr>
        </p:nvSpPr>
        <p:spPr>
          <a:xfrm>
            <a:off x="868491" y="5726508"/>
            <a:ext cx="3291840" cy="276999"/>
          </a:xfrm>
        </p:spPr>
        <p:txBody>
          <a:bodyPr anchor="t" anchorCtr="0">
            <a:spAutoFit/>
          </a:bodyPr>
          <a:lstStyle>
            <a:lvl1pPr marL="0" indent="0" algn="ctr">
              <a:spcBef>
                <a:spcPts val="600"/>
              </a:spcBef>
              <a:buFontTx/>
              <a:buNone/>
              <a:defRPr sz="2000"/>
            </a:lvl1pPr>
          </a:lstStyle>
          <a:p>
            <a:pPr lvl="0"/>
            <a:r>
              <a:rPr lang="en-US" dirty="0"/>
              <a:t>Add text</a:t>
            </a:r>
          </a:p>
        </p:txBody>
      </p:sp>
      <p:sp>
        <p:nvSpPr>
          <p:cNvPr id="19" name="Text Placeholder 15">
            <a:extLst>
              <a:ext uri="{FF2B5EF4-FFF2-40B4-BE49-F238E27FC236}">
                <a16:creationId xmlns:a16="http://schemas.microsoft.com/office/drawing/2014/main" id="{CC531C6F-4A51-422E-AAD3-66A97107E2E5}"/>
              </a:ext>
            </a:extLst>
          </p:cNvPr>
          <p:cNvSpPr>
            <a:spLocks noGrp="1"/>
          </p:cNvSpPr>
          <p:nvPr>
            <p:ph type="body" sz="quarter" idx="16" hasCustomPrompt="1"/>
          </p:nvPr>
        </p:nvSpPr>
        <p:spPr>
          <a:xfrm>
            <a:off x="868491" y="2262960"/>
            <a:ext cx="3291840" cy="347472"/>
          </a:xfrm>
        </p:spPr>
        <p:txBody>
          <a:bodyPr anchor="ctr" anchorCtr="0"/>
          <a:lstStyle>
            <a:lvl1pPr marL="0" indent="0" algn="ctr">
              <a:lnSpc>
                <a:spcPct val="85000"/>
              </a:lnSpc>
              <a:spcBef>
                <a:spcPts val="0"/>
              </a:spcBef>
              <a:buFontTx/>
              <a:buNone/>
              <a:defRPr sz="2000" b="1">
                <a:solidFill>
                  <a:schemeClr val="tx1"/>
                </a:solidFill>
              </a:defRPr>
            </a:lvl1pPr>
          </a:lstStyle>
          <a:p>
            <a:pPr lvl="0"/>
            <a:r>
              <a:rPr lang="en-US" dirty="0"/>
              <a:t>Add title</a:t>
            </a:r>
          </a:p>
        </p:txBody>
      </p:sp>
      <p:sp>
        <p:nvSpPr>
          <p:cNvPr id="30" name="Picture Placeholder 2">
            <a:extLst>
              <a:ext uri="{FF2B5EF4-FFF2-40B4-BE49-F238E27FC236}">
                <a16:creationId xmlns:a16="http://schemas.microsoft.com/office/drawing/2014/main" id="{6967C944-2E33-48AF-A92E-64B48BAE381C}"/>
              </a:ext>
            </a:extLst>
          </p:cNvPr>
          <p:cNvSpPr>
            <a:spLocks noGrp="1"/>
          </p:cNvSpPr>
          <p:nvPr>
            <p:ph type="pic" idx="17" hasCustomPrompt="1"/>
          </p:nvPr>
        </p:nvSpPr>
        <p:spPr>
          <a:xfrm>
            <a:off x="4568395" y="2733198"/>
            <a:ext cx="3291840" cy="2818947"/>
          </a:xfrm>
          <a:prstGeom prst="rect">
            <a:avLst/>
          </a:prstGeom>
          <a:ln w="9525">
            <a:solidFill>
              <a:schemeClr val="bg2"/>
            </a:solidFill>
          </a:ln>
        </p:spPr>
        <p:style>
          <a:lnRef idx="1">
            <a:schemeClr val="accent1"/>
          </a:lnRef>
          <a:fillRef idx="0">
            <a:schemeClr val="accent1"/>
          </a:fillRef>
          <a:effectRef idx="0">
            <a:schemeClr val="accent1"/>
          </a:effectRef>
          <a:fontRef idx="minor">
            <a:schemeClr val="tx1"/>
          </a:fontRef>
        </p:style>
        <p:txBody>
          <a:bodyPr vert="horz" lIns="0" tIns="0" rIns="0" bIns="548640" rtlCol="0" anchor="ctr">
            <a:noAutofit/>
          </a:bodyPr>
          <a:lstStyle>
            <a:lvl1pPr marL="273582" indent="-273582" algn="ctr">
              <a:buFontTx/>
              <a:buNone/>
              <a:defRPr lang="ko-KR" altLang="en-US" sz="1000" baseline="0" dirty="0">
                <a:solidFill>
                  <a:schemeClr val="accent3"/>
                </a:solidFill>
                <a:effectLst/>
                <a:ea typeface="+mj-ea"/>
                <a:cs typeface="Arial" pitchFamily="34" charset="0"/>
              </a:defRPr>
            </a:lvl1pPr>
          </a:lstStyle>
          <a:p>
            <a:r>
              <a:rPr lang="en-US" dirty="0"/>
              <a:t>Click picture icon to add image</a:t>
            </a:r>
          </a:p>
        </p:txBody>
      </p:sp>
      <p:sp>
        <p:nvSpPr>
          <p:cNvPr id="31" name="Text Placeholder 3">
            <a:extLst>
              <a:ext uri="{FF2B5EF4-FFF2-40B4-BE49-F238E27FC236}">
                <a16:creationId xmlns:a16="http://schemas.microsoft.com/office/drawing/2014/main" id="{E3C1D16A-B36B-4A37-80DC-56B397DB69FA}"/>
              </a:ext>
            </a:extLst>
          </p:cNvPr>
          <p:cNvSpPr>
            <a:spLocks noGrp="1"/>
          </p:cNvSpPr>
          <p:nvPr>
            <p:ph type="body" sz="quarter" idx="18" hasCustomPrompt="1"/>
          </p:nvPr>
        </p:nvSpPr>
        <p:spPr>
          <a:xfrm>
            <a:off x="4568396" y="5726509"/>
            <a:ext cx="3291839" cy="276999"/>
          </a:xfrm>
        </p:spPr>
        <p:txBody>
          <a:bodyPr anchor="t" anchorCtr="0">
            <a:spAutoFit/>
          </a:bodyPr>
          <a:lstStyle>
            <a:lvl1pPr marL="0" indent="0" algn="ctr">
              <a:spcBef>
                <a:spcPts val="600"/>
              </a:spcBef>
              <a:buFontTx/>
              <a:buNone/>
              <a:defRPr sz="2000"/>
            </a:lvl1pPr>
          </a:lstStyle>
          <a:p>
            <a:pPr lvl="0"/>
            <a:r>
              <a:rPr lang="en-US" dirty="0"/>
              <a:t>Add text</a:t>
            </a:r>
          </a:p>
        </p:txBody>
      </p:sp>
      <p:sp>
        <p:nvSpPr>
          <p:cNvPr id="32" name="Text Placeholder 15">
            <a:extLst>
              <a:ext uri="{FF2B5EF4-FFF2-40B4-BE49-F238E27FC236}">
                <a16:creationId xmlns:a16="http://schemas.microsoft.com/office/drawing/2014/main" id="{962DDCE9-BA3F-487A-BE50-C54836969250}"/>
              </a:ext>
            </a:extLst>
          </p:cNvPr>
          <p:cNvSpPr>
            <a:spLocks noGrp="1"/>
          </p:cNvSpPr>
          <p:nvPr>
            <p:ph type="body" sz="quarter" idx="19" hasCustomPrompt="1"/>
          </p:nvPr>
        </p:nvSpPr>
        <p:spPr>
          <a:xfrm>
            <a:off x="4568394" y="2262961"/>
            <a:ext cx="3291841" cy="347472"/>
          </a:xfrm>
        </p:spPr>
        <p:txBody>
          <a:bodyPr anchor="ctr" anchorCtr="0"/>
          <a:lstStyle>
            <a:lvl1pPr marL="0" indent="0" algn="ctr">
              <a:lnSpc>
                <a:spcPct val="85000"/>
              </a:lnSpc>
              <a:spcBef>
                <a:spcPts val="0"/>
              </a:spcBef>
              <a:buFontTx/>
              <a:buNone/>
              <a:defRPr sz="2000" b="1">
                <a:solidFill>
                  <a:schemeClr val="tx1"/>
                </a:solidFill>
              </a:defRPr>
            </a:lvl1pPr>
          </a:lstStyle>
          <a:p>
            <a:pPr lvl="0"/>
            <a:r>
              <a:rPr lang="en-US" dirty="0"/>
              <a:t>Add title</a:t>
            </a:r>
          </a:p>
        </p:txBody>
      </p:sp>
      <p:sp>
        <p:nvSpPr>
          <p:cNvPr id="33" name="Picture Placeholder 2">
            <a:extLst>
              <a:ext uri="{FF2B5EF4-FFF2-40B4-BE49-F238E27FC236}">
                <a16:creationId xmlns:a16="http://schemas.microsoft.com/office/drawing/2014/main" id="{82F5E967-4A83-4253-BD21-C1AF0745354A}"/>
              </a:ext>
            </a:extLst>
          </p:cNvPr>
          <p:cNvSpPr>
            <a:spLocks noGrp="1"/>
          </p:cNvSpPr>
          <p:nvPr>
            <p:ph type="pic" idx="20" hasCustomPrompt="1"/>
          </p:nvPr>
        </p:nvSpPr>
        <p:spPr>
          <a:xfrm>
            <a:off x="8268299" y="2733198"/>
            <a:ext cx="3291840" cy="2818947"/>
          </a:xfrm>
          <a:prstGeom prst="rect">
            <a:avLst/>
          </a:prstGeom>
          <a:ln w="9525">
            <a:solidFill>
              <a:schemeClr val="bg2"/>
            </a:solidFill>
          </a:ln>
        </p:spPr>
        <p:style>
          <a:lnRef idx="1">
            <a:schemeClr val="accent1"/>
          </a:lnRef>
          <a:fillRef idx="0">
            <a:schemeClr val="accent1"/>
          </a:fillRef>
          <a:effectRef idx="0">
            <a:schemeClr val="accent1"/>
          </a:effectRef>
          <a:fontRef idx="minor">
            <a:schemeClr val="tx1"/>
          </a:fontRef>
        </p:style>
        <p:txBody>
          <a:bodyPr vert="horz" lIns="0" tIns="0" rIns="0" bIns="548640" rtlCol="0" anchor="ctr">
            <a:noAutofit/>
          </a:bodyPr>
          <a:lstStyle>
            <a:lvl1pPr marL="273582" indent="-273582" algn="ctr">
              <a:buFontTx/>
              <a:buNone/>
              <a:defRPr lang="ko-KR" altLang="en-US" sz="1000" baseline="0" dirty="0">
                <a:solidFill>
                  <a:schemeClr val="accent3"/>
                </a:solidFill>
                <a:effectLst/>
                <a:ea typeface="+mj-ea"/>
                <a:cs typeface="Arial" pitchFamily="34" charset="0"/>
              </a:defRPr>
            </a:lvl1pPr>
          </a:lstStyle>
          <a:p>
            <a:r>
              <a:rPr lang="en-US" dirty="0"/>
              <a:t>Click picture icon to add image</a:t>
            </a:r>
          </a:p>
        </p:txBody>
      </p:sp>
      <p:sp>
        <p:nvSpPr>
          <p:cNvPr id="34" name="Text Placeholder 3">
            <a:extLst>
              <a:ext uri="{FF2B5EF4-FFF2-40B4-BE49-F238E27FC236}">
                <a16:creationId xmlns:a16="http://schemas.microsoft.com/office/drawing/2014/main" id="{75B09AD7-1999-496D-94CA-E2EF33498E38}"/>
              </a:ext>
            </a:extLst>
          </p:cNvPr>
          <p:cNvSpPr>
            <a:spLocks noGrp="1"/>
          </p:cNvSpPr>
          <p:nvPr>
            <p:ph type="body" sz="quarter" idx="21" hasCustomPrompt="1"/>
          </p:nvPr>
        </p:nvSpPr>
        <p:spPr>
          <a:xfrm>
            <a:off x="8268300" y="5726509"/>
            <a:ext cx="3291839" cy="276999"/>
          </a:xfrm>
        </p:spPr>
        <p:txBody>
          <a:bodyPr anchor="t" anchorCtr="0">
            <a:spAutoFit/>
          </a:bodyPr>
          <a:lstStyle>
            <a:lvl1pPr marL="0" indent="0" algn="ctr">
              <a:spcBef>
                <a:spcPts val="600"/>
              </a:spcBef>
              <a:buFontTx/>
              <a:buNone/>
              <a:defRPr sz="2000"/>
            </a:lvl1pPr>
          </a:lstStyle>
          <a:p>
            <a:pPr lvl="0"/>
            <a:r>
              <a:rPr lang="en-US" dirty="0"/>
              <a:t>Add text</a:t>
            </a:r>
          </a:p>
        </p:txBody>
      </p:sp>
      <p:sp>
        <p:nvSpPr>
          <p:cNvPr id="35" name="Text Placeholder 15">
            <a:extLst>
              <a:ext uri="{FF2B5EF4-FFF2-40B4-BE49-F238E27FC236}">
                <a16:creationId xmlns:a16="http://schemas.microsoft.com/office/drawing/2014/main" id="{EBE0EF1C-084A-4014-B7CE-5126CE9333B6}"/>
              </a:ext>
            </a:extLst>
          </p:cNvPr>
          <p:cNvSpPr>
            <a:spLocks noGrp="1"/>
          </p:cNvSpPr>
          <p:nvPr>
            <p:ph type="body" sz="quarter" idx="22" hasCustomPrompt="1"/>
          </p:nvPr>
        </p:nvSpPr>
        <p:spPr>
          <a:xfrm>
            <a:off x="8268299" y="2262961"/>
            <a:ext cx="3291840" cy="347472"/>
          </a:xfrm>
        </p:spPr>
        <p:txBody>
          <a:bodyPr anchor="ctr" anchorCtr="0"/>
          <a:lstStyle>
            <a:lvl1pPr marL="0" indent="0" algn="ctr">
              <a:lnSpc>
                <a:spcPct val="85000"/>
              </a:lnSpc>
              <a:spcBef>
                <a:spcPts val="0"/>
              </a:spcBef>
              <a:buFontTx/>
              <a:buNone/>
              <a:defRPr sz="2000" b="1">
                <a:solidFill>
                  <a:schemeClr val="tx1"/>
                </a:solidFill>
              </a:defRPr>
            </a:lvl1pPr>
          </a:lstStyle>
          <a:p>
            <a:pPr lvl="0"/>
            <a:r>
              <a:rPr lang="en-US" dirty="0"/>
              <a:t>Add title</a:t>
            </a:r>
          </a:p>
        </p:txBody>
      </p:sp>
      <p:sp>
        <p:nvSpPr>
          <p:cNvPr id="20" name="Text Placeholder 3">
            <a:extLst>
              <a:ext uri="{FF2B5EF4-FFF2-40B4-BE49-F238E27FC236}">
                <a16:creationId xmlns:a16="http://schemas.microsoft.com/office/drawing/2014/main" id="{D3814C0C-404A-4CB0-97DE-88DAC91C9F18}"/>
              </a:ext>
            </a:extLst>
          </p:cNvPr>
          <p:cNvSpPr>
            <a:spLocks noGrp="1"/>
          </p:cNvSpPr>
          <p:nvPr>
            <p:ph type="body" sz="quarter" idx="42" hasCustomPrompt="1"/>
          </p:nvPr>
        </p:nvSpPr>
        <p:spPr>
          <a:xfrm>
            <a:off x="880243" y="1704676"/>
            <a:ext cx="10698480" cy="304699"/>
          </a:xfrm>
          <a:noFill/>
        </p:spPr>
        <p:txBody>
          <a:bodyPr vert="horz" lIns="0" tIns="0" rIns="0" bIns="0" rtlCol="0" anchor="ctr" anchorCtr="0">
            <a:spAutoFit/>
          </a:bodyPr>
          <a:lstStyle>
            <a:lvl1pPr marL="0" indent="0" algn="ctr">
              <a:buFontTx/>
              <a:buNone/>
              <a:defRPr lang="en-US" sz="2200" dirty="0"/>
            </a:lvl1pPr>
          </a:lstStyle>
          <a:p>
            <a:pPr lvl="0"/>
            <a:r>
              <a:rPr lang="en-US" dirty="0"/>
              <a:t>Call out blurb</a:t>
            </a:r>
          </a:p>
        </p:txBody>
      </p:sp>
      <p:sp>
        <p:nvSpPr>
          <p:cNvPr id="23" name="Rectangle 22">
            <a:extLst>
              <a:ext uri="{FF2B5EF4-FFF2-40B4-BE49-F238E27FC236}">
                <a16:creationId xmlns:a16="http://schemas.microsoft.com/office/drawing/2014/main" id="{AB871635-60AD-42B6-916B-AB696FC21C48}"/>
              </a:ext>
            </a:extLst>
          </p:cNvPr>
          <p:cNvSpPr/>
          <p:nvPr userDrawn="1"/>
        </p:nvSpPr>
        <p:spPr>
          <a:xfrm>
            <a:off x="0" y="2733198"/>
            <a:ext cx="521970" cy="281894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Bef>
                <a:spcPts val="800"/>
              </a:spcBef>
            </a:pPr>
            <a:endParaRPr lang="en-US">
              <a:solidFill>
                <a:schemeClr val="accent3"/>
              </a:solidFill>
            </a:endParaRPr>
          </a:p>
        </p:txBody>
      </p:sp>
    </p:spTree>
    <p:extLst>
      <p:ext uri="{BB962C8B-B14F-4D97-AF65-F5344CB8AC3E}">
        <p14:creationId xmlns:p14="http://schemas.microsoft.com/office/powerpoint/2010/main" val="41141160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amp; 4 Imag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05A72E-D1F7-4136-939F-889F4228C564}"/>
              </a:ext>
            </a:extLst>
          </p:cNvPr>
          <p:cNvSpPr>
            <a:spLocks noGrp="1"/>
          </p:cNvSpPr>
          <p:nvPr>
            <p:ph type="title" hasCustomPrompt="1"/>
          </p:nvPr>
        </p:nvSpPr>
        <p:spPr/>
        <p:txBody>
          <a:bodyPr/>
          <a:lstStyle/>
          <a:p>
            <a:r>
              <a:rPr lang="en-US" dirty="0"/>
              <a:t>add title – keep it brief</a:t>
            </a:r>
          </a:p>
        </p:txBody>
      </p:sp>
      <p:sp>
        <p:nvSpPr>
          <p:cNvPr id="19" name="Picture Placeholder 2">
            <a:extLst>
              <a:ext uri="{FF2B5EF4-FFF2-40B4-BE49-F238E27FC236}">
                <a16:creationId xmlns:a16="http://schemas.microsoft.com/office/drawing/2014/main" id="{D08697A9-763D-4101-A629-B8C464587CD1}"/>
              </a:ext>
            </a:extLst>
          </p:cNvPr>
          <p:cNvSpPr>
            <a:spLocks noGrp="1"/>
          </p:cNvSpPr>
          <p:nvPr>
            <p:ph type="pic" idx="14" hasCustomPrompt="1"/>
          </p:nvPr>
        </p:nvSpPr>
        <p:spPr>
          <a:xfrm>
            <a:off x="868491" y="2733197"/>
            <a:ext cx="2331720" cy="2818947"/>
          </a:xfrm>
          <a:prstGeom prst="rect">
            <a:avLst/>
          </a:prstGeom>
          <a:ln w="9525">
            <a:solidFill>
              <a:schemeClr val="bg2"/>
            </a:solidFill>
          </a:ln>
        </p:spPr>
        <p:style>
          <a:lnRef idx="1">
            <a:schemeClr val="accent1"/>
          </a:lnRef>
          <a:fillRef idx="0">
            <a:schemeClr val="accent1"/>
          </a:fillRef>
          <a:effectRef idx="0">
            <a:schemeClr val="accent1"/>
          </a:effectRef>
          <a:fontRef idx="minor">
            <a:schemeClr val="tx1"/>
          </a:fontRef>
        </p:style>
        <p:txBody>
          <a:bodyPr vert="horz" lIns="0" tIns="0" rIns="0" bIns="548640" rtlCol="0" anchor="ctr">
            <a:noAutofit/>
          </a:bodyPr>
          <a:lstStyle>
            <a:lvl1pPr marL="273582" indent="-273582" algn="ctr">
              <a:buFontTx/>
              <a:buNone/>
              <a:defRPr lang="ko-KR" altLang="en-US" sz="1000" baseline="0" dirty="0">
                <a:solidFill>
                  <a:schemeClr val="accent3"/>
                </a:solidFill>
                <a:effectLst/>
                <a:ea typeface="+mj-ea"/>
                <a:cs typeface="Arial" pitchFamily="34" charset="0"/>
              </a:defRPr>
            </a:lvl1pPr>
          </a:lstStyle>
          <a:p>
            <a:r>
              <a:rPr lang="en-US" dirty="0"/>
              <a:t>Click picture icon to add image</a:t>
            </a:r>
          </a:p>
        </p:txBody>
      </p:sp>
      <p:sp>
        <p:nvSpPr>
          <p:cNvPr id="20" name="Text Placeholder 3">
            <a:extLst>
              <a:ext uri="{FF2B5EF4-FFF2-40B4-BE49-F238E27FC236}">
                <a16:creationId xmlns:a16="http://schemas.microsoft.com/office/drawing/2014/main" id="{C0A40696-8BDA-4467-A948-8FDEE7B2B086}"/>
              </a:ext>
            </a:extLst>
          </p:cNvPr>
          <p:cNvSpPr>
            <a:spLocks noGrp="1"/>
          </p:cNvSpPr>
          <p:nvPr>
            <p:ph type="body" sz="quarter" idx="15" hasCustomPrompt="1"/>
          </p:nvPr>
        </p:nvSpPr>
        <p:spPr>
          <a:xfrm>
            <a:off x="868491" y="5726508"/>
            <a:ext cx="2331718" cy="276999"/>
          </a:xfrm>
        </p:spPr>
        <p:txBody>
          <a:bodyPr anchor="t" anchorCtr="0">
            <a:spAutoFit/>
          </a:bodyPr>
          <a:lstStyle>
            <a:lvl1pPr marL="0" indent="0" algn="ctr">
              <a:spcBef>
                <a:spcPts val="600"/>
              </a:spcBef>
              <a:buFontTx/>
              <a:buNone/>
              <a:defRPr sz="2000"/>
            </a:lvl1pPr>
          </a:lstStyle>
          <a:p>
            <a:pPr lvl="0"/>
            <a:r>
              <a:rPr lang="en-US" dirty="0"/>
              <a:t>Add text</a:t>
            </a:r>
          </a:p>
        </p:txBody>
      </p:sp>
      <p:sp>
        <p:nvSpPr>
          <p:cNvPr id="21" name="Text Placeholder 15">
            <a:extLst>
              <a:ext uri="{FF2B5EF4-FFF2-40B4-BE49-F238E27FC236}">
                <a16:creationId xmlns:a16="http://schemas.microsoft.com/office/drawing/2014/main" id="{45834AD1-67C6-4B52-9C1C-9CDC6E8FEDA2}"/>
              </a:ext>
            </a:extLst>
          </p:cNvPr>
          <p:cNvSpPr>
            <a:spLocks noGrp="1"/>
          </p:cNvSpPr>
          <p:nvPr>
            <p:ph type="body" sz="quarter" idx="16" hasCustomPrompt="1"/>
          </p:nvPr>
        </p:nvSpPr>
        <p:spPr>
          <a:xfrm>
            <a:off x="880243" y="2262961"/>
            <a:ext cx="2319968" cy="347472"/>
          </a:xfrm>
        </p:spPr>
        <p:txBody>
          <a:bodyPr anchor="ctr" anchorCtr="0"/>
          <a:lstStyle>
            <a:lvl1pPr marL="0" indent="0" algn="ctr">
              <a:lnSpc>
                <a:spcPct val="85000"/>
              </a:lnSpc>
              <a:spcBef>
                <a:spcPts val="0"/>
              </a:spcBef>
              <a:buFontTx/>
              <a:buNone/>
              <a:defRPr sz="2000" b="1">
                <a:solidFill>
                  <a:schemeClr val="tx1"/>
                </a:solidFill>
              </a:defRPr>
            </a:lvl1pPr>
          </a:lstStyle>
          <a:p>
            <a:pPr lvl="0"/>
            <a:r>
              <a:rPr lang="en-US" dirty="0"/>
              <a:t>Add title</a:t>
            </a:r>
          </a:p>
        </p:txBody>
      </p:sp>
      <p:sp>
        <p:nvSpPr>
          <p:cNvPr id="22" name="Picture Placeholder 2">
            <a:extLst>
              <a:ext uri="{FF2B5EF4-FFF2-40B4-BE49-F238E27FC236}">
                <a16:creationId xmlns:a16="http://schemas.microsoft.com/office/drawing/2014/main" id="{E2F4580A-0D5E-4A36-897F-BC82DD2F947C}"/>
              </a:ext>
            </a:extLst>
          </p:cNvPr>
          <p:cNvSpPr>
            <a:spLocks noGrp="1"/>
          </p:cNvSpPr>
          <p:nvPr>
            <p:ph type="pic" idx="17" hasCustomPrompt="1"/>
          </p:nvPr>
        </p:nvSpPr>
        <p:spPr>
          <a:xfrm>
            <a:off x="3661171" y="2733198"/>
            <a:ext cx="2331720" cy="2818947"/>
          </a:xfrm>
          <a:prstGeom prst="rect">
            <a:avLst/>
          </a:prstGeom>
          <a:ln w="9525">
            <a:solidFill>
              <a:schemeClr val="bg2"/>
            </a:solidFill>
          </a:ln>
        </p:spPr>
        <p:style>
          <a:lnRef idx="1">
            <a:schemeClr val="accent1"/>
          </a:lnRef>
          <a:fillRef idx="0">
            <a:schemeClr val="accent1"/>
          </a:fillRef>
          <a:effectRef idx="0">
            <a:schemeClr val="accent1"/>
          </a:effectRef>
          <a:fontRef idx="minor">
            <a:schemeClr val="tx1"/>
          </a:fontRef>
        </p:style>
        <p:txBody>
          <a:bodyPr vert="horz" lIns="0" tIns="0" rIns="0" bIns="548640" rtlCol="0" anchor="ctr">
            <a:noAutofit/>
          </a:bodyPr>
          <a:lstStyle>
            <a:lvl1pPr marL="273582" indent="-273582" algn="ctr">
              <a:buFontTx/>
              <a:buNone/>
              <a:defRPr lang="ko-KR" altLang="en-US" sz="1000" baseline="0" dirty="0">
                <a:solidFill>
                  <a:schemeClr val="accent3"/>
                </a:solidFill>
                <a:effectLst/>
                <a:ea typeface="+mj-ea"/>
                <a:cs typeface="Arial" pitchFamily="34" charset="0"/>
              </a:defRPr>
            </a:lvl1pPr>
          </a:lstStyle>
          <a:p>
            <a:r>
              <a:rPr lang="en-US" dirty="0"/>
              <a:t>Click picture icon to add image</a:t>
            </a:r>
          </a:p>
        </p:txBody>
      </p:sp>
      <p:sp>
        <p:nvSpPr>
          <p:cNvPr id="23" name="Text Placeholder 3">
            <a:extLst>
              <a:ext uri="{FF2B5EF4-FFF2-40B4-BE49-F238E27FC236}">
                <a16:creationId xmlns:a16="http://schemas.microsoft.com/office/drawing/2014/main" id="{414A120F-5254-4AC5-842D-EDABFC036717}"/>
              </a:ext>
            </a:extLst>
          </p:cNvPr>
          <p:cNvSpPr>
            <a:spLocks noGrp="1"/>
          </p:cNvSpPr>
          <p:nvPr>
            <p:ph type="body" sz="quarter" idx="18" hasCustomPrompt="1"/>
          </p:nvPr>
        </p:nvSpPr>
        <p:spPr>
          <a:xfrm>
            <a:off x="3661171" y="5726509"/>
            <a:ext cx="2331720" cy="276999"/>
          </a:xfrm>
        </p:spPr>
        <p:txBody>
          <a:bodyPr anchor="t" anchorCtr="0">
            <a:spAutoFit/>
          </a:bodyPr>
          <a:lstStyle>
            <a:lvl1pPr marL="0" indent="0" algn="ctr">
              <a:spcBef>
                <a:spcPts val="600"/>
              </a:spcBef>
              <a:buFontTx/>
              <a:buNone/>
              <a:defRPr sz="2000"/>
            </a:lvl1pPr>
          </a:lstStyle>
          <a:p>
            <a:pPr lvl="0"/>
            <a:r>
              <a:rPr lang="en-US" dirty="0"/>
              <a:t>Add text</a:t>
            </a:r>
          </a:p>
        </p:txBody>
      </p:sp>
      <p:sp>
        <p:nvSpPr>
          <p:cNvPr id="24" name="Text Placeholder 15">
            <a:extLst>
              <a:ext uri="{FF2B5EF4-FFF2-40B4-BE49-F238E27FC236}">
                <a16:creationId xmlns:a16="http://schemas.microsoft.com/office/drawing/2014/main" id="{5D35A3A2-00CD-44D2-821F-EE7604FDC940}"/>
              </a:ext>
            </a:extLst>
          </p:cNvPr>
          <p:cNvSpPr>
            <a:spLocks noGrp="1"/>
          </p:cNvSpPr>
          <p:nvPr>
            <p:ph type="body" sz="quarter" idx="19" hasCustomPrompt="1"/>
          </p:nvPr>
        </p:nvSpPr>
        <p:spPr>
          <a:xfrm>
            <a:off x="3661171" y="2262962"/>
            <a:ext cx="2331720" cy="347472"/>
          </a:xfrm>
        </p:spPr>
        <p:txBody>
          <a:bodyPr anchor="ctr" anchorCtr="0"/>
          <a:lstStyle>
            <a:lvl1pPr marL="0" indent="0" algn="ctr">
              <a:lnSpc>
                <a:spcPct val="85000"/>
              </a:lnSpc>
              <a:spcBef>
                <a:spcPts val="0"/>
              </a:spcBef>
              <a:buFontTx/>
              <a:buNone/>
              <a:defRPr sz="2000" b="1">
                <a:solidFill>
                  <a:schemeClr val="tx1"/>
                </a:solidFill>
              </a:defRPr>
            </a:lvl1pPr>
          </a:lstStyle>
          <a:p>
            <a:pPr lvl="0"/>
            <a:r>
              <a:rPr lang="en-US" dirty="0"/>
              <a:t>Add title</a:t>
            </a:r>
          </a:p>
        </p:txBody>
      </p:sp>
      <p:sp>
        <p:nvSpPr>
          <p:cNvPr id="32" name="Picture Placeholder 2">
            <a:extLst>
              <a:ext uri="{FF2B5EF4-FFF2-40B4-BE49-F238E27FC236}">
                <a16:creationId xmlns:a16="http://schemas.microsoft.com/office/drawing/2014/main" id="{5B0DDFC0-CB07-4EDA-AA79-CD84C12E72DF}"/>
              </a:ext>
            </a:extLst>
          </p:cNvPr>
          <p:cNvSpPr>
            <a:spLocks noGrp="1"/>
          </p:cNvSpPr>
          <p:nvPr>
            <p:ph type="pic" idx="20" hasCustomPrompt="1"/>
          </p:nvPr>
        </p:nvSpPr>
        <p:spPr>
          <a:xfrm>
            <a:off x="6453851" y="2733198"/>
            <a:ext cx="2331720" cy="2818947"/>
          </a:xfrm>
          <a:prstGeom prst="rect">
            <a:avLst/>
          </a:prstGeom>
          <a:ln w="9525">
            <a:solidFill>
              <a:schemeClr val="bg2"/>
            </a:solidFill>
          </a:ln>
        </p:spPr>
        <p:style>
          <a:lnRef idx="1">
            <a:schemeClr val="accent1"/>
          </a:lnRef>
          <a:fillRef idx="0">
            <a:schemeClr val="accent1"/>
          </a:fillRef>
          <a:effectRef idx="0">
            <a:schemeClr val="accent1"/>
          </a:effectRef>
          <a:fontRef idx="minor">
            <a:schemeClr val="tx1"/>
          </a:fontRef>
        </p:style>
        <p:txBody>
          <a:bodyPr vert="horz" lIns="0" tIns="0" rIns="0" bIns="548640" rtlCol="0" anchor="ctr">
            <a:noAutofit/>
          </a:bodyPr>
          <a:lstStyle>
            <a:lvl1pPr marL="273582" indent="-273582" algn="ctr">
              <a:buFontTx/>
              <a:buNone/>
              <a:defRPr lang="ko-KR" altLang="en-US" sz="1000" baseline="0" dirty="0">
                <a:solidFill>
                  <a:schemeClr val="accent3"/>
                </a:solidFill>
                <a:effectLst/>
                <a:ea typeface="+mj-ea"/>
                <a:cs typeface="Arial" pitchFamily="34" charset="0"/>
              </a:defRPr>
            </a:lvl1pPr>
          </a:lstStyle>
          <a:p>
            <a:r>
              <a:rPr lang="en-US" dirty="0"/>
              <a:t>Click picture icon to add image</a:t>
            </a:r>
          </a:p>
        </p:txBody>
      </p:sp>
      <p:sp>
        <p:nvSpPr>
          <p:cNvPr id="33" name="Text Placeholder 3">
            <a:extLst>
              <a:ext uri="{FF2B5EF4-FFF2-40B4-BE49-F238E27FC236}">
                <a16:creationId xmlns:a16="http://schemas.microsoft.com/office/drawing/2014/main" id="{DDA81F5E-BFF4-40DB-9E52-F5C7CE6F26D3}"/>
              </a:ext>
            </a:extLst>
          </p:cNvPr>
          <p:cNvSpPr>
            <a:spLocks noGrp="1"/>
          </p:cNvSpPr>
          <p:nvPr>
            <p:ph type="body" sz="quarter" idx="21" hasCustomPrompt="1"/>
          </p:nvPr>
        </p:nvSpPr>
        <p:spPr>
          <a:xfrm>
            <a:off x="6453851" y="5726509"/>
            <a:ext cx="2331719" cy="276999"/>
          </a:xfrm>
        </p:spPr>
        <p:txBody>
          <a:bodyPr anchor="t" anchorCtr="0">
            <a:spAutoFit/>
          </a:bodyPr>
          <a:lstStyle>
            <a:lvl1pPr marL="0" indent="0" algn="ctr">
              <a:spcBef>
                <a:spcPts val="600"/>
              </a:spcBef>
              <a:buFontTx/>
              <a:buNone/>
              <a:defRPr sz="2000"/>
            </a:lvl1pPr>
          </a:lstStyle>
          <a:p>
            <a:pPr lvl="0"/>
            <a:r>
              <a:rPr lang="en-US" dirty="0"/>
              <a:t>Add text</a:t>
            </a:r>
          </a:p>
        </p:txBody>
      </p:sp>
      <p:sp>
        <p:nvSpPr>
          <p:cNvPr id="34" name="Text Placeholder 15">
            <a:extLst>
              <a:ext uri="{FF2B5EF4-FFF2-40B4-BE49-F238E27FC236}">
                <a16:creationId xmlns:a16="http://schemas.microsoft.com/office/drawing/2014/main" id="{8A96BFD0-28FC-48C9-9D67-C16FE0496C6C}"/>
              </a:ext>
            </a:extLst>
          </p:cNvPr>
          <p:cNvSpPr>
            <a:spLocks noGrp="1"/>
          </p:cNvSpPr>
          <p:nvPr>
            <p:ph type="body" sz="quarter" idx="22" hasCustomPrompt="1"/>
          </p:nvPr>
        </p:nvSpPr>
        <p:spPr>
          <a:xfrm>
            <a:off x="6453851" y="2262962"/>
            <a:ext cx="2331719" cy="347472"/>
          </a:xfrm>
        </p:spPr>
        <p:txBody>
          <a:bodyPr anchor="ctr" anchorCtr="0"/>
          <a:lstStyle>
            <a:lvl1pPr marL="0" indent="0" algn="ctr">
              <a:lnSpc>
                <a:spcPct val="85000"/>
              </a:lnSpc>
              <a:spcBef>
                <a:spcPts val="0"/>
              </a:spcBef>
              <a:buFontTx/>
              <a:buNone/>
              <a:defRPr sz="2000" b="1">
                <a:solidFill>
                  <a:schemeClr val="tx1"/>
                </a:solidFill>
              </a:defRPr>
            </a:lvl1pPr>
          </a:lstStyle>
          <a:p>
            <a:pPr lvl="0"/>
            <a:r>
              <a:rPr lang="en-US" dirty="0"/>
              <a:t>Add title</a:t>
            </a:r>
          </a:p>
        </p:txBody>
      </p:sp>
      <p:sp>
        <p:nvSpPr>
          <p:cNvPr id="38" name="Picture Placeholder 2">
            <a:extLst>
              <a:ext uri="{FF2B5EF4-FFF2-40B4-BE49-F238E27FC236}">
                <a16:creationId xmlns:a16="http://schemas.microsoft.com/office/drawing/2014/main" id="{1C2FFA97-B5B5-4425-A02D-BE159DE90DDB}"/>
              </a:ext>
            </a:extLst>
          </p:cNvPr>
          <p:cNvSpPr>
            <a:spLocks noGrp="1"/>
          </p:cNvSpPr>
          <p:nvPr>
            <p:ph type="pic" idx="23" hasCustomPrompt="1"/>
          </p:nvPr>
        </p:nvSpPr>
        <p:spPr>
          <a:xfrm>
            <a:off x="9246532" y="2733197"/>
            <a:ext cx="2331720" cy="2818947"/>
          </a:xfrm>
          <a:prstGeom prst="rect">
            <a:avLst/>
          </a:prstGeom>
          <a:ln w="9525">
            <a:solidFill>
              <a:schemeClr val="bg2"/>
            </a:solidFill>
          </a:ln>
        </p:spPr>
        <p:style>
          <a:lnRef idx="1">
            <a:schemeClr val="accent1"/>
          </a:lnRef>
          <a:fillRef idx="0">
            <a:schemeClr val="accent1"/>
          </a:fillRef>
          <a:effectRef idx="0">
            <a:schemeClr val="accent1"/>
          </a:effectRef>
          <a:fontRef idx="minor">
            <a:schemeClr val="tx1"/>
          </a:fontRef>
        </p:style>
        <p:txBody>
          <a:bodyPr vert="horz" lIns="0" tIns="0" rIns="0" bIns="548640" rtlCol="0" anchor="ctr">
            <a:noAutofit/>
          </a:bodyPr>
          <a:lstStyle>
            <a:lvl1pPr marL="273582" indent="-273582" algn="ctr">
              <a:buFontTx/>
              <a:buNone/>
              <a:defRPr lang="ko-KR" altLang="en-US" sz="1000" baseline="0" dirty="0">
                <a:solidFill>
                  <a:schemeClr val="accent3"/>
                </a:solidFill>
                <a:effectLst/>
                <a:ea typeface="+mj-ea"/>
                <a:cs typeface="Arial" pitchFamily="34" charset="0"/>
              </a:defRPr>
            </a:lvl1pPr>
          </a:lstStyle>
          <a:p>
            <a:r>
              <a:rPr lang="en-US" dirty="0"/>
              <a:t>Click picture icon to add image</a:t>
            </a:r>
          </a:p>
        </p:txBody>
      </p:sp>
      <p:sp>
        <p:nvSpPr>
          <p:cNvPr id="39" name="Text Placeholder 3">
            <a:extLst>
              <a:ext uri="{FF2B5EF4-FFF2-40B4-BE49-F238E27FC236}">
                <a16:creationId xmlns:a16="http://schemas.microsoft.com/office/drawing/2014/main" id="{F5705EDC-D0D7-43C3-AF77-46F76E76BC9F}"/>
              </a:ext>
            </a:extLst>
          </p:cNvPr>
          <p:cNvSpPr>
            <a:spLocks noGrp="1"/>
          </p:cNvSpPr>
          <p:nvPr>
            <p:ph type="body" sz="quarter" idx="24" hasCustomPrompt="1"/>
          </p:nvPr>
        </p:nvSpPr>
        <p:spPr>
          <a:xfrm>
            <a:off x="9246531" y="5726508"/>
            <a:ext cx="2332191" cy="276999"/>
          </a:xfrm>
        </p:spPr>
        <p:txBody>
          <a:bodyPr anchor="t" anchorCtr="0">
            <a:spAutoFit/>
          </a:bodyPr>
          <a:lstStyle>
            <a:lvl1pPr marL="0" indent="0" algn="ctr">
              <a:spcBef>
                <a:spcPts val="600"/>
              </a:spcBef>
              <a:buFontTx/>
              <a:buNone/>
              <a:defRPr sz="2000"/>
            </a:lvl1pPr>
          </a:lstStyle>
          <a:p>
            <a:pPr lvl="0"/>
            <a:r>
              <a:rPr lang="en-US" dirty="0"/>
              <a:t>Add text</a:t>
            </a:r>
          </a:p>
        </p:txBody>
      </p:sp>
      <p:sp>
        <p:nvSpPr>
          <p:cNvPr id="40" name="Text Placeholder 15">
            <a:extLst>
              <a:ext uri="{FF2B5EF4-FFF2-40B4-BE49-F238E27FC236}">
                <a16:creationId xmlns:a16="http://schemas.microsoft.com/office/drawing/2014/main" id="{665046A0-2F9E-4A45-A3DC-1A8077995507}"/>
              </a:ext>
            </a:extLst>
          </p:cNvPr>
          <p:cNvSpPr>
            <a:spLocks noGrp="1"/>
          </p:cNvSpPr>
          <p:nvPr>
            <p:ph type="body" sz="quarter" idx="25" hasCustomPrompt="1"/>
          </p:nvPr>
        </p:nvSpPr>
        <p:spPr>
          <a:xfrm>
            <a:off x="9246531" y="2262961"/>
            <a:ext cx="2332191" cy="347472"/>
          </a:xfrm>
        </p:spPr>
        <p:txBody>
          <a:bodyPr anchor="ctr" anchorCtr="0"/>
          <a:lstStyle>
            <a:lvl1pPr marL="0" indent="0" algn="ctr">
              <a:lnSpc>
                <a:spcPct val="85000"/>
              </a:lnSpc>
              <a:spcBef>
                <a:spcPts val="0"/>
              </a:spcBef>
              <a:buFontTx/>
              <a:buNone/>
              <a:defRPr sz="2000" b="1">
                <a:solidFill>
                  <a:schemeClr val="tx1"/>
                </a:solidFill>
              </a:defRPr>
            </a:lvl1pPr>
          </a:lstStyle>
          <a:p>
            <a:pPr lvl="0"/>
            <a:r>
              <a:rPr lang="en-US" dirty="0"/>
              <a:t>Add title</a:t>
            </a:r>
          </a:p>
        </p:txBody>
      </p:sp>
      <p:sp>
        <p:nvSpPr>
          <p:cNvPr id="17" name="Text Placeholder 3">
            <a:extLst>
              <a:ext uri="{FF2B5EF4-FFF2-40B4-BE49-F238E27FC236}">
                <a16:creationId xmlns:a16="http://schemas.microsoft.com/office/drawing/2014/main" id="{F5713E64-52D7-4B1E-A775-FFC5675D67BC}"/>
              </a:ext>
            </a:extLst>
          </p:cNvPr>
          <p:cNvSpPr>
            <a:spLocks noGrp="1"/>
          </p:cNvSpPr>
          <p:nvPr>
            <p:ph type="body" sz="quarter" idx="42" hasCustomPrompt="1"/>
          </p:nvPr>
        </p:nvSpPr>
        <p:spPr>
          <a:xfrm>
            <a:off x="880243" y="1704676"/>
            <a:ext cx="10698480" cy="304699"/>
          </a:xfrm>
          <a:noFill/>
        </p:spPr>
        <p:txBody>
          <a:bodyPr vert="horz" lIns="0" tIns="0" rIns="0" bIns="0" rtlCol="0" anchor="ctr" anchorCtr="0">
            <a:spAutoFit/>
          </a:bodyPr>
          <a:lstStyle>
            <a:lvl1pPr marL="0" indent="0" algn="ctr">
              <a:buFontTx/>
              <a:buNone/>
              <a:defRPr lang="en-US" sz="2200" dirty="0"/>
            </a:lvl1pPr>
          </a:lstStyle>
          <a:p>
            <a:pPr lvl="0"/>
            <a:r>
              <a:rPr lang="en-US" dirty="0"/>
              <a:t>Call out blurb</a:t>
            </a:r>
          </a:p>
        </p:txBody>
      </p:sp>
      <p:sp>
        <p:nvSpPr>
          <p:cNvPr id="26" name="Rectangle 25">
            <a:extLst>
              <a:ext uri="{FF2B5EF4-FFF2-40B4-BE49-F238E27FC236}">
                <a16:creationId xmlns:a16="http://schemas.microsoft.com/office/drawing/2014/main" id="{C8E0C0A8-F8B8-4AB7-BE6F-330CFF51FE14}"/>
              </a:ext>
            </a:extLst>
          </p:cNvPr>
          <p:cNvSpPr/>
          <p:nvPr userDrawn="1"/>
        </p:nvSpPr>
        <p:spPr>
          <a:xfrm>
            <a:off x="0" y="2733198"/>
            <a:ext cx="521970" cy="281894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Bef>
                <a:spcPts val="800"/>
              </a:spcBef>
            </a:pPr>
            <a:endParaRPr lang="en-US">
              <a:solidFill>
                <a:schemeClr val="accent3"/>
              </a:solidFill>
            </a:endParaRPr>
          </a:p>
        </p:txBody>
      </p:sp>
    </p:spTree>
    <p:extLst>
      <p:ext uri="{BB962C8B-B14F-4D97-AF65-F5344CB8AC3E}">
        <p14:creationId xmlns:p14="http://schemas.microsoft.com/office/powerpoint/2010/main" val="38644077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Case Study 2">
    <p:spTree>
      <p:nvGrpSpPr>
        <p:cNvPr id="1" name=""/>
        <p:cNvGrpSpPr/>
        <p:nvPr/>
      </p:nvGrpSpPr>
      <p:grpSpPr>
        <a:xfrm>
          <a:off x="0" y="0"/>
          <a:ext cx="0" cy="0"/>
          <a:chOff x="0" y="0"/>
          <a:chExt cx="0" cy="0"/>
        </a:xfrm>
      </p:grpSpPr>
      <p:sp>
        <p:nvSpPr>
          <p:cNvPr id="22" name="Picture Placeholder 3">
            <a:extLst>
              <a:ext uri="{FF2B5EF4-FFF2-40B4-BE49-F238E27FC236}">
                <a16:creationId xmlns:a16="http://schemas.microsoft.com/office/drawing/2014/main" id="{D5773A3F-F682-4CDF-A763-ADF830C949EE}"/>
              </a:ext>
            </a:extLst>
          </p:cNvPr>
          <p:cNvSpPr>
            <a:spLocks noGrp="1"/>
          </p:cNvSpPr>
          <p:nvPr>
            <p:ph type="pic" sz="quarter" idx="12" hasCustomPrompt="1"/>
          </p:nvPr>
        </p:nvSpPr>
        <p:spPr>
          <a:xfrm>
            <a:off x="-18951" y="98770"/>
            <a:ext cx="5833011" cy="6759230"/>
          </a:xfrm>
          <a:custGeom>
            <a:avLst/>
            <a:gdLst>
              <a:gd name="connsiteX0" fmla="*/ 0 w 12188953"/>
              <a:gd name="connsiteY0" fmla="*/ 0 h 6426200"/>
              <a:gd name="connsiteX1" fmla="*/ 12188953 w 12188953"/>
              <a:gd name="connsiteY1" fmla="*/ 0 h 6426200"/>
              <a:gd name="connsiteX2" fmla="*/ 12188953 w 12188953"/>
              <a:gd name="connsiteY2" fmla="*/ 6426200 h 6426200"/>
              <a:gd name="connsiteX3" fmla="*/ 0 w 12188953"/>
              <a:gd name="connsiteY3" fmla="*/ 6426200 h 6426200"/>
              <a:gd name="connsiteX4" fmla="*/ 0 w 12188953"/>
              <a:gd name="connsiteY4" fmla="*/ 0 h 6426200"/>
              <a:gd name="connsiteX0" fmla="*/ 0 w 12188953"/>
              <a:gd name="connsiteY0" fmla="*/ 0 h 6426200"/>
              <a:gd name="connsiteX1" fmla="*/ 12188953 w 12188953"/>
              <a:gd name="connsiteY1" fmla="*/ 0 h 6426200"/>
              <a:gd name="connsiteX2" fmla="*/ 12188953 w 12188953"/>
              <a:gd name="connsiteY2" fmla="*/ 6426200 h 6426200"/>
              <a:gd name="connsiteX3" fmla="*/ 9102853 w 12188953"/>
              <a:gd name="connsiteY3" fmla="*/ 6413500 h 6426200"/>
              <a:gd name="connsiteX4" fmla="*/ 0 w 12188953"/>
              <a:gd name="connsiteY4" fmla="*/ 6426200 h 6426200"/>
              <a:gd name="connsiteX5" fmla="*/ 0 w 12188953"/>
              <a:gd name="connsiteY5" fmla="*/ 0 h 6426200"/>
              <a:gd name="connsiteX0" fmla="*/ 0 w 12188953"/>
              <a:gd name="connsiteY0" fmla="*/ 0 h 6426200"/>
              <a:gd name="connsiteX1" fmla="*/ 12188953 w 12188953"/>
              <a:gd name="connsiteY1" fmla="*/ 0 h 6426200"/>
              <a:gd name="connsiteX2" fmla="*/ 12188953 w 12188953"/>
              <a:gd name="connsiteY2" fmla="*/ 6426200 h 6426200"/>
              <a:gd name="connsiteX3" fmla="*/ 9102853 w 12188953"/>
              <a:gd name="connsiteY3" fmla="*/ 6413500 h 6426200"/>
              <a:gd name="connsiteX4" fmla="*/ 8366253 w 12188953"/>
              <a:gd name="connsiteY4" fmla="*/ 6413500 h 6426200"/>
              <a:gd name="connsiteX5" fmla="*/ 0 w 12188953"/>
              <a:gd name="connsiteY5" fmla="*/ 6426200 h 6426200"/>
              <a:gd name="connsiteX6" fmla="*/ 0 w 12188953"/>
              <a:gd name="connsiteY6" fmla="*/ 0 h 6426200"/>
              <a:gd name="connsiteX0" fmla="*/ 0 w 12188953"/>
              <a:gd name="connsiteY0" fmla="*/ 0 h 6629400"/>
              <a:gd name="connsiteX1" fmla="*/ 12188953 w 12188953"/>
              <a:gd name="connsiteY1" fmla="*/ 0 h 6629400"/>
              <a:gd name="connsiteX2" fmla="*/ 12188953 w 12188953"/>
              <a:gd name="connsiteY2" fmla="*/ 6426200 h 6629400"/>
              <a:gd name="connsiteX3" fmla="*/ 9102853 w 12188953"/>
              <a:gd name="connsiteY3" fmla="*/ 6413500 h 6629400"/>
              <a:gd name="connsiteX4" fmla="*/ 8632953 w 12188953"/>
              <a:gd name="connsiteY4" fmla="*/ 6629400 h 6629400"/>
              <a:gd name="connsiteX5" fmla="*/ 0 w 12188953"/>
              <a:gd name="connsiteY5" fmla="*/ 6426200 h 6629400"/>
              <a:gd name="connsiteX6" fmla="*/ 0 w 12188953"/>
              <a:gd name="connsiteY6" fmla="*/ 0 h 6629400"/>
              <a:gd name="connsiteX0" fmla="*/ 12700 w 12201653"/>
              <a:gd name="connsiteY0" fmla="*/ 0 h 6629400"/>
              <a:gd name="connsiteX1" fmla="*/ 12201653 w 12201653"/>
              <a:gd name="connsiteY1" fmla="*/ 0 h 6629400"/>
              <a:gd name="connsiteX2" fmla="*/ 12201653 w 12201653"/>
              <a:gd name="connsiteY2" fmla="*/ 6426200 h 6629400"/>
              <a:gd name="connsiteX3" fmla="*/ 9115553 w 12201653"/>
              <a:gd name="connsiteY3" fmla="*/ 6413500 h 6629400"/>
              <a:gd name="connsiteX4" fmla="*/ 8645653 w 12201653"/>
              <a:gd name="connsiteY4" fmla="*/ 6629400 h 6629400"/>
              <a:gd name="connsiteX5" fmla="*/ 0 w 12201653"/>
              <a:gd name="connsiteY5" fmla="*/ 6629400 h 6629400"/>
              <a:gd name="connsiteX6" fmla="*/ 12700 w 12201653"/>
              <a:gd name="connsiteY6" fmla="*/ 0 h 6629400"/>
              <a:gd name="connsiteX0" fmla="*/ 12700 w 12201653"/>
              <a:gd name="connsiteY0" fmla="*/ 0 h 6629400"/>
              <a:gd name="connsiteX1" fmla="*/ 12201653 w 12201653"/>
              <a:gd name="connsiteY1" fmla="*/ 0 h 6629400"/>
              <a:gd name="connsiteX2" fmla="*/ 12201653 w 12201653"/>
              <a:gd name="connsiteY2" fmla="*/ 6426200 h 6629400"/>
              <a:gd name="connsiteX3" fmla="*/ 9242553 w 12201653"/>
              <a:gd name="connsiteY3" fmla="*/ 6413500 h 6629400"/>
              <a:gd name="connsiteX4" fmla="*/ 8645653 w 12201653"/>
              <a:gd name="connsiteY4" fmla="*/ 6629400 h 6629400"/>
              <a:gd name="connsiteX5" fmla="*/ 0 w 12201653"/>
              <a:gd name="connsiteY5" fmla="*/ 6629400 h 6629400"/>
              <a:gd name="connsiteX6" fmla="*/ 12700 w 12201653"/>
              <a:gd name="connsiteY6" fmla="*/ 0 h 6629400"/>
              <a:gd name="connsiteX0" fmla="*/ 12700 w 12201653"/>
              <a:gd name="connsiteY0" fmla="*/ 0 h 6642027"/>
              <a:gd name="connsiteX1" fmla="*/ 12201653 w 12201653"/>
              <a:gd name="connsiteY1" fmla="*/ 0 h 6642027"/>
              <a:gd name="connsiteX2" fmla="*/ 12201653 w 12201653"/>
              <a:gd name="connsiteY2" fmla="*/ 6426200 h 6642027"/>
              <a:gd name="connsiteX3" fmla="*/ 9242553 w 12201653"/>
              <a:gd name="connsiteY3" fmla="*/ 6413500 h 6642027"/>
              <a:gd name="connsiteX4" fmla="*/ 8671053 w 12201653"/>
              <a:gd name="connsiteY4" fmla="*/ 6642027 h 6642027"/>
              <a:gd name="connsiteX5" fmla="*/ 0 w 12201653"/>
              <a:gd name="connsiteY5" fmla="*/ 6629400 h 6642027"/>
              <a:gd name="connsiteX6" fmla="*/ 12700 w 12201653"/>
              <a:gd name="connsiteY6" fmla="*/ 0 h 6642027"/>
              <a:gd name="connsiteX0" fmla="*/ 12700 w 12201653"/>
              <a:gd name="connsiteY0" fmla="*/ 0 h 6642027"/>
              <a:gd name="connsiteX1" fmla="*/ 12201653 w 12201653"/>
              <a:gd name="connsiteY1" fmla="*/ 0 h 6642027"/>
              <a:gd name="connsiteX2" fmla="*/ 12201653 w 12201653"/>
              <a:gd name="connsiteY2" fmla="*/ 6426200 h 6642027"/>
              <a:gd name="connsiteX3" fmla="*/ 9242553 w 12201653"/>
              <a:gd name="connsiteY3" fmla="*/ 6413500 h 6642027"/>
              <a:gd name="connsiteX4" fmla="*/ 8671053 w 12201653"/>
              <a:gd name="connsiteY4" fmla="*/ 6642027 h 6642027"/>
              <a:gd name="connsiteX5" fmla="*/ 0 w 12201653"/>
              <a:gd name="connsiteY5" fmla="*/ 6629400 h 6642027"/>
              <a:gd name="connsiteX6" fmla="*/ 12700 w 12201653"/>
              <a:gd name="connsiteY6" fmla="*/ 0 h 6642027"/>
              <a:gd name="connsiteX0" fmla="*/ 50800 w 12239753"/>
              <a:gd name="connsiteY0" fmla="*/ 0 h 6654655"/>
              <a:gd name="connsiteX1" fmla="*/ 12239753 w 12239753"/>
              <a:gd name="connsiteY1" fmla="*/ 0 h 6654655"/>
              <a:gd name="connsiteX2" fmla="*/ 12239753 w 12239753"/>
              <a:gd name="connsiteY2" fmla="*/ 6426200 h 6654655"/>
              <a:gd name="connsiteX3" fmla="*/ 9280653 w 12239753"/>
              <a:gd name="connsiteY3" fmla="*/ 6413500 h 6654655"/>
              <a:gd name="connsiteX4" fmla="*/ 8709153 w 12239753"/>
              <a:gd name="connsiteY4" fmla="*/ 6642027 h 6654655"/>
              <a:gd name="connsiteX5" fmla="*/ 0 w 12239753"/>
              <a:gd name="connsiteY5" fmla="*/ 6654655 h 6654655"/>
              <a:gd name="connsiteX6" fmla="*/ 50800 w 12239753"/>
              <a:gd name="connsiteY6" fmla="*/ 0 h 6654655"/>
              <a:gd name="connsiteX0" fmla="*/ 50800 w 12239753"/>
              <a:gd name="connsiteY0" fmla="*/ 12627 h 6667282"/>
              <a:gd name="connsiteX1" fmla="*/ 6143753 w 12239753"/>
              <a:gd name="connsiteY1" fmla="*/ 0 h 6667282"/>
              <a:gd name="connsiteX2" fmla="*/ 12239753 w 12239753"/>
              <a:gd name="connsiteY2" fmla="*/ 6438827 h 6667282"/>
              <a:gd name="connsiteX3" fmla="*/ 9280653 w 12239753"/>
              <a:gd name="connsiteY3" fmla="*/ 6426127 h 6667282"/>
              <a:gd name="connsiteX4" fmla="*/ 8709153 w 12239753"/>
              <a:gd name="connsiteY4" fmla="*/ 6654654 h 6667282"/>
              <a:gd name="connsiteX5" fmla="*/ 0 w 12239753"/>
              <a:gd name="connsiteY5" fmla="*/ 6667282 h 6667282"/>
              <a:gd name="connsiteX6" fmla="*/ 50800 w 12239753"/>
              <a:gd name="connsiteY6" fmla="*/ 12627 h 6667282"/>
              <a:gd name="connsiteX0" fmla="*/ 50800 w 9280653"/>
              <a:gd name="connsiteY0" fmla="*/ 12627 h 6667282"/>
              <a:gd name="connsiteX1" fmla="*/ 6143753 w 9280653"/>
              <a:gd name="connsiteY1" fmla="*/ 0 h 6667282"/>
              <a:gd name="connsiteX2" fmla="*/ 9280653 w 9280653"/>
              <a:gd name="connsiteY2" fmla="*/ 6426127 h 6667282"/>
              <a:gd name="connsiteX3" fmla="*/ 8709153 w 9280653"/>
              <a:gd name="connsiteY3" fmla="*/ 6654654 h 6667282"/>
              <a:gd name="connsiteX4" fmla="*/ 0 w 9280653"/>
              <a:gd name="connsiteY4" fmla="*/ 6667282 h 6667282"/>
              <a:gd name="connsiteX5" fmla="*/ 50800 w 9280653"/>
              <a:gd name="connsiteY5" fmla="*/ 12627 h 6667282"/>
              <a:gd name="connsiteX0" fmla="*/ 50800 w 8709153"/>
              <a:gd name="connsiteY0" fmla="*/ 12627 h 6667282"/>
              <a:gd name="connsiteX1" fmla="*/ 6143753 w 8709153"/>
              <a:gd name="connsiteY1" fmla="*/ 0 h 6667282"/>
              <a:gd name="connsiteX2" fmla="*/ 8709153 w 8709153"/>
              <a:gd name="connsiteY2" fmla="*/ 6654654 h 6667282"/>
              <a:gd name="connsiteX3" fmla="*/ 0 w 8709153"/>
              <a:gd name="connsiteY3" fmla="*/ 6667282 h 6667282"/>
              <a:gd name="connsiteX4" fmla="*/ 50800 w 8709153"/>
              <a:gd name="connsiteY4" fmla="*/ 12627 h 6667282"/>
              <a:gd name="connsiteX0" fmla="*/ 50800 w 6181853"/>
              <a:gd name="connsiteY0" fmla="*/ 12627 h 6667282"/>
              <a:gd name="connsiteX1" fmla="*/ 6143753 w 6181853"/>
              <a:gd name="connsiteY1" fmla="*/ 0 h 6667282"/>
              <a:gd name="connsiteX2" fmla="*/ 6181853 w 6181853"/>
              <a:gd name="connsiteY2" fmla="*/ 6667282 h 6667282"/>
              <a:gd name="connsiteX3" fmla="*/ 0 w 6181853"/>
              <a:gd name="connsiteY3" fmla="*/ 6667282 h 6667282"/>
              <a:gd name="connsiteX4" fmla="*/ 50800 w 6181853"/>
              <a:gd name="connsiteY4" fmla="*/ 12627 h 6667282"/>
              <a:gd name="connsiteX0" fmla="*/ 50800 w 6181853"/>
              <a:gd name="connsiteY0" fmla="*/ 12627 h 6667282"/>
              <a:gd name="connsiteX1" fmla="*/ 6143753 w 6181853"/>
              <a:gd name="connsiteY1" fmla="*/ 0 h 6667282"/>
              <a:gd name="connsiteX2" fmla="*/ 6181853 w 6181853"/>
              <a:gd name="connsiteY2" fmla="*/ 6667282 h 6667282"/>
              <a:gd name="connsiteX3" fmla="*/ 0 w 6181853"/>
              <a:gd name="connsiteY3" fmla="*/ 6667282 h 6667282"/>
              <a:gd name="connsiteX4" fmla="*/ 50800 w 6181853"/>
              <a:gd name="connsiteY4" fmla="*/ 12627 h 6667282"/>
              <a:gd name="connsiteX0" fmla="*/ 720 w 6190083"/>
              <a:gd name="connsiteY0" fmla="*/ 12627 h 6667282"/>
              <a:gd name="connsiteX1" fmla="*/ 6151983 w 6190083"/>
              <a:gd name="connsiteY1" fmla="*/ 0 h 6667282"/>
              <a:gd name="connsiteX2" fmla="*/ 6190083 w 6190083"/>
              <a:gd name="connsiteY2" fmla="*/ 6667282 h 6667282"/>
              <a:gd name="connsiteX3" fmla="*/ 8230 w 6190083"/>
              <a:gd name="connsiteY3" fmla="*/ 6667282 h 6667282"/>
              <a:gd name="connsiteX4" fmla="*/ 720 w 6190083"/>
              <a:gd name="connsiteY4" fmla="*/ 12627 h 6667282"/>
              <a:gd name="connsiteX0" fmla="*/ 720 w 6190083"/>
              <a:gd name="connsiteY0" fmla="*/ 12627 h 6667282"/>
              <a:gd name="connsiteX1" fmla="*/ 6151983 w 6190083"/>
              <a:gd name="connsiteY1" fmla="*/ 0 h 6667282"/>
              <a:gd name="connsiteX2" fmla="*/ 6186537 w 6190083"/>
              <a:gd name="connsiteY2" fmla="*/ 530294 h 6667282"/>
              <a:gd name="connsiteX3" fmla="*/ 6190083 w 6190083"/>
              <a:gd name="connsiteY3" fmla="*/ 6667282 h 6667282"/>
              <a:gd name="connsiteX4" fmla="*/ 8230 w 6190083"/>
              <a:gd name="connsiteY4" fmla="*/ 6667282 h 6667282"/>
              <a:gd name="connsiteX5" fmla="*/ 720 w 6190083"/>
              <a:gd name="connsiteY5" fmla="*/ 12627 h 6667282"/>
              <a:gd name="connsiteX0" fmla="*/ 720 w 6190083"/>
              <a:gd name="connsiteY0" fmla="*/ 0 h 6654655"/>
              <a:gd name="connsiteX1" fmla="*/ 5731178 w 6190083"/>
              <a:gd name="connsiteY1" fmla="*/ 17406 h 6654655"/>
              <a:gd name="connsiteX2" fmla="*/ 6186537 w 6190083"/>
              <a:gd name="connsiteY2" fmla="*/ 517667 h 6654655"/>
              <a:gd name="connsiteX3" fmla="*/ 6190083 w 6190083"/>
              <a:gd name="connsiteY3" fmla="*/ 6654655 h 6654655"/>
              <a:gd name="connsiteX4" fmla="*/ 8230 w 6190083"/>
              <a:gd name="connsiteY4" fmla="*/ 6654655 h 6654655"/>
              <a:gd name="connsiteX5" fmla="*/ 720 w 6190083"/>
              <a:gd name="connsiteY5" fmla="*/ 0 h 6654655"/>
              <a:gd name="connsiteX0" fmla="*/ 720 w 6190083"/>
              <a:gd name="connsiteY0" fmla="*/ 5119 h 6659774"/>
              <a:gd name="connsiteX1" fmla="*/ 5731178 w 6190083"/>
              <a:gd name="connsiteY1" fmla="*/ 0 h 6659774"/>
              <a:gd name="connsiteX2" fmla="*/ 6186537 w 6190083"/>
              <a:gd name="connsiteY2" fmla="*/ 522786 h 6659774"/>
              <a:gd name="connsiteX3" fmla="*/ 6190083 w 6190083"/>
              <a:gd name="connsiteY3" fmla="*/ 6659774 h 6659774"/>
              <a:gd name="connsiteX4" fmla="*/ 8230 w 6190083"/>
              <a:gd name="connsiteY4" fmla="*/ 6659774 h 6659774"/>
              <a:gd name="connsiteX5" fmla="*/ 720 w 6190083"/>
              <a:gd name="connsiteY5" fmla="*/ 5119 h 6659774"/>
              <a:gd name="connsiteX0" fmla="*/ 720 w 6190083"/>
              <a:gd name="connsiteY0" fmla="*/ 5119 h 6659774"/>
              <a:gd name="connsiteX1" fmla="*/ 5731178 w 6190083"/>
              <a:gd name="connsiteY1" fmla="*/ 0 h 6659774"/>
              <a:gd name="connsiteX2" fmla="*/ 6186537 w 6190083"/>
              <a:gd name="connsiteY2" fmla="*/ 485245 h 6659774"/>
              <a:gd name="connsiteX3" fmla="*/ 6190083 w 6190083"/>
              <a:gd name="connsiteY3" fmla="*/ 6659774 h 6659774"/>
              <a:gd name="connsiteX4" fmla="*/ 8230 w 6190083"/>
              <a:gd name="connsiteY4" fmla="*/ 6659774 h 6659774"/>
              <a:gd name="connsiteX5" fmla="*/ 720 w 6190083"/>
              <a:gd name="connsiteY5" fmla="*/ 5119 h 6659774"/>
              <a:gd name="connsiteX0" fmla="*/ 720 w 6194629"/>
              <a:gd name="connsiteY0" fmla="*/ 5119 h 6659774"/>
              <a:gd name="connsiteX1" fmla="*/ 5731178 w 6194629"/>
              <a:gd name="connsiteY1" fmla="*/ 0 h 6659774"/>
              <a:gd name="connsiteX2" fmla="*/ 6194629 w 6194629"/>
              <a:gd name="connsiteY2" fmla="*/ 440195 h 6659774"/>
              <a:gd name="connsiteX3" fmla="*/ 6190083 w 6194629"/>
              <a:gd name="connsiteY3" fmla="*/ 6659774 h 6659774"/>
              <a:gd name="connsiteX4" fmla="*/ 8230 w 6194629"/>
              <a:gd name="connsiteY4" fmla="*/ 6659774 h 6659774"/>
              <a:gd name="connsiteX5" fmla="*/ 720 w 6194629"/>
              <a:gd name="connsiteY5" fmla="*/ 5119 h 66597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194629" h="6659774">
                <a:moveTo>
                  <a:pt x="720" y="5119"/>
                </a:moveTo>
                <a:lnTo>
                  <a:pt x="5731178" y="0"/>
                </a:lnTo>
                <a:lnTo>
                  <a:pt x="6194629" y="440195"/>
                </a:lnTo>
                <a:cubicBezTo>
                  <a:pt x="6193114" y="2513388"/>
                  <a:pt x="6191598" y="4586581"/>
                  <a:pt x="6190083" y="6659774"/>
                </a:cubicBezTo>
                <a:lnTo>
                  <a:pt x="8230" y="6659774"/>
                </a:lnTo>
                <a:cubicBezTo>
                  <a:pt x="12463" y="4449974"/>
                  <a:pt x="-3513" y="2214919"/>
                  <a:pt x="720" y="5119"/>
                </a:cubicBezTo>
                <a:close/>
              </a:path>
            </a:pathLst>
          </a:custGeom>
          <a:solidFill>
            <a:schemeClr val="bg1">
              <a:lumMod val="95000"/>
            </a:schemeClr>
          </a:solidFill>
        </p:spPr>
        <p:txBody>
          <a:bodyPr bIns="640080" anchor="ctr"/>
          <a:lstStyle>
            <a:lvl1pPr marL="0" indent="0" algn="ctr">
              <a:buNone/>
              <a:defRPr sz="1600">
                <a:solidFill>
                  <a:schemeClr val="tx1"/>
                </a:solidFill>
                <a:latin typeface="+mn-lt"/>
              </a:defRPr>
            </a:lvl1pPr>
          </a:lstStyle>
          <a:p>
            <a:r>
              <a:rPr lang="en-US" dirty="0"/>
              <a:t>Click picture icon to add image</a:t>
            </a:r>
          </a:p>
        </p:txBody>
      </p:sp>
      <p:sp>
        <p:nvSpPr>
          <p:cNvPr id="9" name="Text Placeholder 33"/>
          <p:cNvSpPr>
            <a:spLocks noGrp="1"/>
          </p:cNvSpPr>
          <p:nvPr>
            <p:ph type="body" sz="quarter" idx="18" hasCustomPrompt="1"/>
          </p:nvPr>
        </p:nvSpPr>
        <p:spPr>
          <a:xfrm>
            <a:off x="-11279" y="4615198"/>
            <a:ext cx="3653537" cy="1249154"/>
          </a:xfrm>
          <a:custGeom>
            <a:avLst/>
            <a:gdLst>
              <a:gd name="connsiteX0" fmla="*/ 0 w 7790688"/>
              <a:gd name="connsiteY0" fmla="*/ 1495912 h 1495912"/>
              <a:gd name="connsiteX1" fmla="*/ 449537 w 7790688"/>
              <a:gd name="connsiteY1" fmla="*/ 0 h 1495912"/>
              <a:gd name="connsiteX2" fmla="*/ 7790688 w 7790688"/>
              <a:gd name="connsiteY2" fmla="*/ 0 h 1495912"/>
              <a:gd name="connsiteX3" fmla="*/ 7341151 w 7790688"/>
              <a:gd name="connsiteY3" fmla="*/ 1495912 h 1495912"/>
              <a:gd name="connsiteX4" fmla="*/ 0 w 7790688"/>
              <a:gd name="connsiteY4" fmla="*/ 1495912 h 1495912"/>
              <a:gd name="connsiteX0" fmla="*/ 0 w 7790688"/>
              <a:gd name="connsiteY0" fmla="*/ 1495912 h 1495912"/>
              <a:gd name="connsiteX1" fmla="*/ 4818337 w 7790688"/>
              <a:gd name="connsiteY1" fmla="*/ 25400 h 1495912"/>
              <a:gd name="connsiteX2" fmla="*/ 7790688 w 7790688"/>
              <a:gd name="connsiteY2" fmla="*/ 0 h 1495912"/>
              <a:gd name="connsiteX3" fmla="*/ 7341151 w 7790688"/>
              <a:gd name="connsiteY3" fmla="*/ 1495912 h 1495912"/>
              <a:gd name="connsiteX4" fmla="*/ 0 w 7790688"/>
              <a:gd name="connsiteY4" fmla="*/ 1495912 h 1495912"/>
              <a:gd name="connsiteX0" fmla="*/ 0 w 2990088"/>
              <a:gd name="connsiteY0" fmla="*/ 1521312 h 1521312"/>
              <a:gd name="connsiteX1" fmla="*/ 17737 w 2990088"/>
              <a:gd name="connsiteY1" fmla="*/ 25400 h 1521312"/>
              <a:gd name="connsiteX2" fmla="*/ 2990088 w 2990088"/>
              <a:gd name="connsiteY2" fmla="*/ 0 h 1521312"/>
              <a:gd name="connsiteX3" fmla="*/ 2540551 w 2990088"/>
              <a:gd name="connsiteY3" fmla="*/ 1495912 h 1521312"/>
              <a:gd name="connsiteX4" fmla="*/ 0 w 2990088"/>
              <a:gd name="connsiteY4" fmla="*/ 1521312 h 1521312"/>
              <a:gd name="connsiteX0" fmla="*/ 0 w 2990088"/>
              <a:gd name="connsiteY0" fmla="*/ 1521312 h 1521312"/>
              <a:gd name="connsiteX1" fmla="*/ 93937 w 2990088"/>
              <a:gd name="connsiteY1" fmla="*/ 25400 h 1521312"/>
              <a:gd name="connsiteX2" fmla="*/ 2990088 w 2990088"/>
              <a:gd name="connsiteY2" fmla="*/ 0 h 1521312"/>
              <a:gd name="connsiteX3" fmla="*/ 2540551 w 2990088"/>
              <a:gd name="connsiteY3" fmla="*/ 1495912 h 1521312"/>
              <a:gd name="connsiteX4" fmla="*/ 0 w 2990088"/>
              <a:gd name="connsiteY4" fmla="*/ 1521312 h 1521312"/>
              <a:gd name="connsiteX0" fmla="*/ 7663 w 2896151"/>
              <a:gd name="connsiteY0" fmla="*/ 1521312 h 1521312"/>
              <a:gd name="connsiteX1" fmla="*/ 0 w 2896151"/>
              <a:gd name="connsiteY1" fmla="*/ 25400 h 1521312"/>
              <a:gd name="connsiteX2" fmla="*/ 2896151 w 2896151"/>
              <a:gd name="connsiteY2" fmla="*/ 0 h 1521312"/>
              <a:gd name="connsiteX3" fmla="*/ 2446614 w 2896151"/>
              <a:gd name="connsiteY3" fmla="*/ 1495912 h 1521312"/>
              <a:gd name="connsiteX4" fmla="*/ 7663 w 2896151"/>
              <a:gd name="connsiteY4" fmla="*/ 1521312 h 1521312"/>
              <a:gd name="connsiteX0" fmla="*/ 743 w 2889231"/>
              <a:gd name="connsiteY0" fmla="*/ 1521312 h 1521312"/>
              <a:gd name="connsiteX1" fmla="*/ 700 w 2889231"/>
              <a:gd name="connsiteY1" fmla="*/ 2540 h 1521312"/>
              <a:gd name="connsiteX2" fmla="*/ 2889231 w 2889231"/>
              <a:gd name="connsiteY2" fmla="*/ 0 h 1521312"/>
              <a:gd name="connsiteX3" fmla="*/ 2439694 w 2889231"/>
              <a:gd name="connsiteY3" fmla="*/ 1495912 h 1521312"/>
              <a:gd name="connsiteX4" fmla="*/ 743 w 2889231"/>
              <a:gd name="connsiteY4" fmla="*/ 1521312 h 1521312"/>
              <a:gd name="connsiteX0" fmla="*/ 15283 w 2888531"/>
              <a:gd name="connsiteY0" fmla="*/ 1483212 h 1495912"/>
              <a:gd name="connsiteX1" fmla="*/ 0 w 2888531"/>
              <a:gd name="connsiteY1" fmla="*/ 2540 h 1495912"/>
              <a:gd name="connsiteX2" fmla="*/ 2888531 w 2888531"/>
              <a:gd name="connsiteY2" fmla="*/ 0 h 1495912"/>
              <a:gd name="connsiteX3" fmla="*/ 2438994 w 2888531"/>
              <a:gd name="connsiteY3" fmla="*/ 1495912 h 1495912"/>
              <a:gd name="connsiteX4" fmla="*/ 15283 w 2888531"/>
              <a:gd name="connsiteY4" fmla="*/ 1483212 h 1495912"/>
              <a:gd name="connsiteX0" fmla="*/ 15283 w 2888531"/>
              <a:gd name="connsiteY0" fmla="*/ 1483212 h 1495912"/>
              <a:gd name="connsiteX1" fmla="*/ 0 w 2888531"/>
              <a:gd name="connsiteY1" fmla="*/ 116840 h 1495912"/>
              <a:gd name="connsiteX2" fmla="*/ 2888531 w 2888531"/>
              <a:gd name="connsiteY2" fmla="*/ 0 h 1495912"/>
              <a:gd name="connsiteX3" fmla="*/ 2438994 w 2888531"/>
              <a:gd name="connsiteY3" fmla="*/ 1495912 h 1495912"/>
              <a:gd name="connsiteX4" fmla="*/ 15283 w 2888531"/>
              <a:gd name="connsiteY4" fmla="*/ 1483212 h 1495912"/>
              <a:gd name="connsiteX0" fmla="*/ 15283 w 2888531"/>
              <a:gd name="connsiteY0" fmla="*/ 1483212 h 1495912"/>
              <a:gd name="connsiteX1" fmla="*/ 0 w 2888531"/>
              <a:gd name="connsiteY1" fmla="*/ 116840 h 1495912"/>
              <a:gd name="connsiteX2" fmla="*/ 2598312 w 2888531"/>
              <a:gd name="connsiteY2" fmla="*/ 360 h 1495912"/>
              <a:gd name="connsiteX3" fmla="*/ 2888531 w 2888531"/>
              <a:gd name="connsiteY3" fmla="*/ 0 h 1495912"/>
              <a:gd name="connsiteX4" fmla="*/ 2438994 w 2888531"/>
              <a:gd name="connsiteY4" fmla="*/ 1495912 h 1495912"/>
              <a:gd name="connsiteX5" fmla="*/ 15283 w 2888531"/>
              <a:gd name="connsiteY5" fmla="*/ 1483212 h 1495912"/>
              <a:gd name="connsiteX0" fmla="*/ 15283 w 2888531"/>
              <a:gd name="connsiteY0" fmla="*/ 1483212 h 1495912"/>
              <a:gd name="connsiteX1" fmla="*/ 0 w 2888531"/>
              <a:gd name="connsiteY1" fmla="*/ 116840 h 1495912"/>
              <a:gd name="connsiteX2" fmla="*/ 2588787 w 2888531"/>
              <a:gd name="connsiteY2" fmla="*/ 128948 h 1495912"/>
              <a:gd name="connsiteX3" fmla="*/ 2888531 w 2888531"/>
              <a:gd name="connsiteY3" fmla="*/ 0 h 1495912"/>
              <a:gd name="connsiteX4" fmla="*/ 2438994 w 2888531"/>
              <a:gd name="connsiteY4" fmla="*/ 1495912 h 1495912"/>
              <a:gd name="connsiteX5" fmla="*/ 15283 w 2888531"/>
              <a:gd name="connsiteY5" fmla="*/ 1483212 h 1495912"/>
              <a:gd name="connsiteX0" fmla="*/ 15283 w 2802806"/>
              <a:gd name="connsiteY0" fmla="*/ 1366372 h 1379072"/>
              <a:gd name="connsiteX1" fmla="*/ 0 w 2802806"/>
              <a:gd name="connsiteY1" fmla="*/ 0 h 1379072"/>
              <a:gd name="connsiteX2" fmla="*/ 2588787 w 2802806"/>
              <a:gd name="connsiteY2" fmla="*/ 12108 h 1379072"/>
              <a:gd name="connsiteX3" fmla="*/ 2802806 w 2802806"/>
              <a:gd name="connsiteY3" fmla="*/ 97473 h 1379072"/>
              <a:gd name="connsiteX4" fmla="*/ 2438994 w 2802806"/>
              <a:gd name="connsiteY4" fmla="*/ 1379072 h 1379072"/>
              <a:gd name="connsiteX5" fmla="*/ 15283 w 2802806"/>
              <a:gd name="connsiteY5" fmla="*/ 1366372 h 1379072"/>
              <a:gd name="connsiteX0" fmla="*/ 243 w 2816341"/>
              <a:gd name="connsiteY0" fmla="*/ 1356847 h 1379072"/>
              <a:gd name="connsiteX1" fmla="*/ 13535 w 2816341"/>
              <a:gd name="connsiteY1" fmla="*/ 0 h 1379072"/>
              <a:gd name="connsiteX2" fmla="*/ 2602322 w 2816341"/>
              <a:gd name="connsiteY2" fmla="*/ 12108 h 1379072"/>
              <a:gd name="connsiteX3" fmla="*/ 2816341 w 2816341"/>
              <a:gd name="connsiteY3" fmla="*/ 97473 h 1379072"/>
              <a:gd name="connsiteX4" fmla="*/ 2452529 w 2816341"/>
              <a:gd name="connsiteY4" fmla="*/ 1379072 h 1379072"/>
              <a:gd name="connsiteX5" fmla="*/ 243 w 2816341"/>
              <a:gd name="connsiteY5" fmla="*/ 1356847 h 1379072"/>
              <a:gd name="connsiteX0" fmla="*/ 243 w 2816341"/>
              <a:gd name="connsiteY0" fmla="*/ 1356847 h 1360022"/>
              <a:gd name="connsiteX1" fmla="*/ 13535 w 2816341"/>
              <a:gd name="connsiteY1" fmla="*/ 0 h 1360022"/>
              <a:gd name="connsiteX2" fmla="*/ 2602322 w 2816341"/>
              <a:gd name="connsiteY2" fmla="*/ 12108 h 1360022"/>
              <a:gd name="connsiteX3" fmla="*/ 2816341 w 2816341"/>
              <a:gd name="connsiteY3" fmla="*/ 97473 h 1360022"/>
              <a:gd name="connsiteX4" fmla="*/ 2476341 w 2816341"/>
              <a:gd name="connsiteY4" fmla="*/ 1360022 h 1360022"/>
              <a:gd name="connsiteX5" fmla="*/ 243 w 2816341"/>
              <a:gd name="connsiteY5" fmla="*/ 1356847 h 1360022"/>
              <a:gd name="connsiteX0" fmla="*/ 243 w 2816341"/>
              <a:gd name="connsiteY0" fmla="*/ 1356847 h 1369547"/>
              <a:gd name="connsiteX1" fmla="*/ 13535 w 2816341"/>
              <a:gd name="connsiteY1" fmla="*/ 0 h 1369547"/>
              <a:gd name="connsiteX2" fmla="*/ 2602322 w 2816341"/>
              <a:gd name="connsiteY2" fmla="*/ 12108 h 1369547"/>
              <a:gd name="connsiteX3" fmla="*/ 2816341 w 2816341"/>
              <a:gd name="connsiteY3" fmla="*/ 97473 h 1369547"/>
              <a:gd name="connsiteX4" fmla="*/ 2457291 w 2816341"/>
              <a:gd name="connsiteY4" fmla="*/ 1369547 h 1369547"/>
              <a:gd name="connsiteX5" fmla="*/ 243 w 2816341"/>
              <a:gd name="connsiteY5" fmla="*/ 1356847 h 1369547"/>
              <a:gd name="connsiteX0" fmla="*/ 243 w 2816341"/>
              <a:gd name="connsiteY0" fmla="*/ 1356847 h 1356847"/>
              <a:gd name="connsiteX1" fmla="*/ 13535 w 2816341"/>
              <a:gd name="connsiteY1" fmla="*/ 0 h 1356847"/>
              <a:gd name="connsiteX2" fmla="*/ 2602322 w 2816341"/>
              <a:gd name="connsiteY2" fmla="*/ 12108 h 1356847"/>
              <a:gd name="connsiteX3" fmla="*/ 2816341 w 2816341"/>
              <a:gd name="connsiteY3" fmla="*/ 97473 h 1356847"/>
              <a:gd name="connsiteX4" fmla="*/ 2481103 w 2816341"/>
              <a:gd name="connsiteY4" fmla="*/ 1245722 h 1356847"/>
              <a:gd name="connsiteX5" fmla="*/ 243 w 2816341"/>
              <a:gd name="connsiteY5" fmla="*/ 1356847 h 1356847"/>
              <a:gd name="connsiteX0" fmla="*/ 321 w 2811656"/>
              <a:gd name="connsiteY0" fmla="*/ 1252072 h 1252072"/>
              <a:gd name="connsiteX1" fmla="*/ 8850 w 2811656"/>
              <a:gd name="connsiteY1" fmla="*/ 0 h 1252072"/>
              <a:gd name="connsiteX2" fmla="*/ 2597637 w 2811656"/>
              <a:gd name="connsiteY2" fmla="*/ 12108 h 1252072"/>
              <a:gd name="connsiteX3" fmla="*/ 2811656 w 2811656"/>
              <a:gd name="connsiteY3" fmla="*/ 97473 h 1252072"/>
              <a:gd name="connsiteX4" fmla="*/ 2476418 w 2811656"/>
              <a:gd name="connsiteY4" fmla="*/ 1245722 h 1252072"/>
              <a:gd name="connsiteX5" fmla="*/ 321 w 2811656"/>
              <a:gd name="connsiteY5" fmla="*/ 1252072 h 1252072"/>
              <a:gd name="connsiteX0" fmla="*/ 321 w 3675256"/>
              <a:gd name="connsiteY0" fmla="*/ 1252072 h 1252072"/>
              <a:gd name="connsiteX1" fmla="*/ 8850 w 3675256"/>
              <a:gd name="connsiteY1" fmla="*/ 0 h 1252072"/>
              <a:gd name="connsiteX2" fmla="*/ 2597637 w 3675256"/>
              <a:gd name="connsiteY2" fmla="*/ 12108 h 1252072"/>
              <a:gd name="connsiteX3" fmla="*/ 3675256 w 3675256"/>
              <a:gd name="connsiteY3" fmla="*/ 260033 h 1252072"/>
              <a:gd name="connsiteX4" fmla="*/ 2476418 w 3675256"/>
              <a:gd name="connsiteY4" fmla="*/ 1245722 h 1252072"/>
              <a:gd name="connsiteX5" fmla="*/ 321 w 3675256"/>
              <a:gd name="connsiteY5" fmla="*/ 1252072 h 1252072"/>
              <a:gd name="connsiteX0" fmla="*/ 321 w 3675256"/>
              <a:gd name="connsiteY0" fmla="*/ 1252072 h 1252072"/>
              <a:gd name="connsiteX1" fmla="*/ 8850 w 3675256"/>
              <a:gd name="connsiteY1" fmla="*/ 0 h 1252072"/>
              <a:gd name="connsiteX2" fmla="*/ 2597637 w 3675256"/>
              <a:gd name="connsiteY2" fmla="*/ 12108 h 1252072"/>
              <a:gd name="connsiteX3" fmla="*/ 3675256 w 3675256"/>
              <a:gd name="connsiteY3" fmla="*/ 260033 h 1252072"/>
              <a:gd name="connsiteX4" fmla="*/ 3014898 w 3675256"/>
              <a:gd name="connsiteY4" fmla="*/ 1250802 h 1252072"/>
              <a:gd name="connsiteX5" fmla="*/ 321 w 3675256"/>
              <a:gd name="connsiteY5" fmla="*/ 1252072 h 1252072"/>
              <a:gd name="connsiteX0" fmla="*/ 321 w 3675256"/>
              <a:gd name="connsiteY0" fmla="*/ 1252072 h 1252072"/>
              <a:gd name="connsiteX1" fmla="*/ 8850 w 3675256"/>
              <a:gd name="connsiteY1" fmla="*/ 0 h 1252072"/>
              <a:gd name="connsiteX2" fmla="*/ 2597637 w 3675256"/>
              <a:gd name="connsiteY2" fmla="*/ 12108 h 1252072"/>
              <a:gd name="connsiteX3" fmla="*/ 3074839 w 3675256"/>
              <a:gd name="connsiteY3" fmla="*/ 107040 h 1252072"/>
              <a:gd name="connsiteX4" fmla="*/ 3675256 w 3675256"/>
              <a:gd name="connsiteY4" fmla="*/ 260033 h 1252072"/>
              <a:gd name="connsiteX5" fmla="*/ 3014898 w 3675256"/>
              <a:gd name="connsiteY5" fmla="*/ 1250802 h 1252072"/>
              <a:gd name="connsiteX6" fmla="*/ 321 w 3675256"/>
              <a:gd name="connsiteY6" fmla="*/ 1252072 h 1252072"/>
              <a:gd name="connsiteX0" fmla="*/ 321 w 3675256"/>
              <a:gd name="connsiteY0" fmla="*/ 1252072 h 1252072"/>
              <a:gd name="connsiteX1" fmla="*/ 8850 w 3675256"/>
              <a:gd name="connsiteY1" fmla="*/ 0 h 1252072"/>
              <a:gd name="connsiteX2" fmla="*/ 2597637 w 3675256"/>
              <a:gd name="connsiteY2" fmla="*/ 12108 h 1252072"/>
              <a:gd name="connsiteX3" fmla="*/ 3151039 w 3675256"/>
              <a:gd name="connsiteY3" fmla="*/ 269600 h 1252072"/>
              <a:gd name="connsiteX4" fmla="*/ 3675256 w 3675256"/>
              <a:gd name="connsiteY4" fmla="*/ 260033 h 1252072"/>
              <a:gd name="connsiteX5" fmla="*/ 3014898 w 3675256"/>
              <a:gd name="connsiteY5" fmla="*/ 1250802 h 1252072"/>
              <a:gd name="connsiteX6" fmla="*/ 321 w 3675256"/>
              <a:gd name="connsiteY6" fmla="*/ 1252072 h 1252072"/>
              <a:gd name="connsiteX0" fmla="*/ 459 w 3675394"/>
              <a:gd name="connsiteY0" fmla="*/ 1247477 h 1247477"/>
              <a:gd name="connsiteX1" fmla="*/ 4393 w 3675394"/>
              <a:gd name="connsiteY1" fmla="*/ 0 h 1247477"/>
              <a:gd name="connsiteX2" fmla="*/ 2597775 w 3675394"/>
              <a:gd name="connsiteY2" fmla="*/ 7513 h 1247477"/>
              <a:gd name="connsiteX3" fmla="*/ 3151177 w 3675394"/>
              <a:gd name="connsiteY3" fmla="*/ 265005 h 1247477"/>
              <a:gd name="connsiteX4" fmla="*/ 3675394 w 3675394"/>
              <a:gd name="connsiteY4" fmla="*/ 255438 h 1247477"/>
              <a:gd name="connsiteX5" fmla="*/ 3015036 w 3675394"/>
              <a:gd name="connsiteY5" fmla="*/ 1246207 h 1247477"/>
              <a:gd name="connsiteX6" fmla="*/ 459 w 3675394"/>
              <a:gd name="connsiteY6" fmla="*/ 1247477 h 1247477"/>
              <a:gd name="connsiteX0" fmla="*/ 0 w 3674935"/>
              <a:gd name="connsiteY0" fmla="*/ 1247477 h 1247477"/>
              <a:gd name="connsiteX1" fmla="*/ 3934 w 3674935"/>
              <a:gd name="connsiteY1" fmla="*/ 0 h 1247477"/>
              <a:gd name="connsiteX2" fmla="*/ 2597316 w 3674935"/>
              <a:gd name="connsiteY2" fmla="*/ 7513 h 1247477"/>
              <a:gd name="connsiteX3" fmla="*/ 3150718 w 3674935"/>
              <a:gd name="connsiteY3" fmla="*/ 265005 h 1247477"/>
              <a:gd name="connsiteX4" fmla="*/ 3674935 w 3674935"/>
              <a:gd name="connsiteY4" fmla="*/ 255438 h 1247477"/>
              <a:gd name="connsiteX5" fmla="*/ 3014577 w 3674935"/>
              <a:gd name="connsiteY5" fmla="*/ 1246207 h 1247477"/>
              <a:gd name="connsiteX6" fmla="*/ 0 w 3674935"/>
              <a:gd name="connsiteY6" fmla="*/ 1247477 h 1247477"/>
              <a:gd name="connsiteX0" fmla="*/ 0 w 3674935"/>
              <a:gd name="connsiteY0" fmla="*/ 1249154 h 1249154"/>
              <a:gd name="connsiteX1" fmla="*/ 3934 w 3674935"/>
              <a:gd name="connsiteY1" fmla="*/ 1677 h 1249154"/>
              <a:gd name="connsiteX2" fmla="*/ 2601911 w 3674935"/>
              <a:gd name="connsiteY2" fmla="*/ 0 h 1249154"/>
              <a:gd name="connsiteX3" fmla="*/ 3150718 w 3674935"/>
              <a:gd name="connsiteY3" fmla="*/ 266682 h 1249154"/>
              <a:gd name="connsiteX4" fmla="*/ 3674935 w 3674935"/>
              <a:gd name="connsiteY4" fmla="*/ 257115 h 1249154"/>
              <a:gd name="connsiteX5" fmla="*/ 3014577 w 3674935"/>
              <a:gd name="connsiteY5" fmla="*/ 1247884 h 1249154"/>
              <a:gd name="connsiteX6" fmla="*/ 0 w 3674935"/>
              <a:gd name="connsiteY6" fmla="*/ 1249154 h 1249154"/>
              <a:gd name="connsiteX0" fmla="*/ 0 w 3661150"/>
              <a:gd name="connsiteY0" fmla="*/ 1249154 h 1249154"/>
              <a:gd name="connsiteX1" fmla="*/ 3934 w 3661150"/>
              <a:gd name="connsiteY1" fmla="*/ 1677 h 1249154"/>
              <a:gd name="connsiteX2" fmla="*/ 2601911 w 3661150"/>
              <a:gd name="connsiteY2" fmla="*/ 0 h 1249154"/>
              <a:gd name="connsiteX3" fmla="*/ 3150718 w 3661150"/>
              <a:gd name="connsiteY3" fmla="*/ 266682 h 1249154"/>
              <a:gd name="connsiteX4" fmla="*/ 3661150 w 3661150"/>
              <a:gd name="connsiteY4" fmla="*/ 257115 h 1249154"/>
              <a:gd name="connsiteX5" fmla="*/ 3014577 w 3661150"/>
              <a:gd name="connsiteY5" fmla="*/ 1247884 h 1249154"/>
              <a:gd name="connsiteX6" fmla="*/ 0 w 3661150"/>
              <a:gd name="connsiteY6" fmla="*/ 1249154 h 1249154"/>
              <a:gd name="connsiteX0" fmla="*/ 0 w 3656555"/>
              <a:gd name="connsiteY0" fmla="*/ 1249154 h 1249154"/>
              <a:gd name="connsiteX1" fmla="*/ 3934 w 3656555"/>
              <a:gd name="connsiteY1" fmla="*/ 1677 h 1249154"/>
              <a:gd name="connsiteX2" fmla="*/ 2601911 w 3656555"/>
              <a:gd name="connsiteY2" fmla="*/ 0 h 1249154"/>
              <a:gd name="connsiteX3" fmla="*/ 3150718 w 3656555"/>
              <a:gd name="connsiteY3" fmla="*/ 266682 h 1249154"/>
              <a:gd name="connsiteX4" fmla="*/ 3656555 w 3656555"/>
              <a:gd name="connsiteY4" fmla="*/ 275495 h 1249154"/>
              <a:gd name="connsiteX5" fmla="*/ 3014577 w 3656555"/>
              <a:gd name="connsiteY5" fmla="*/ 1247884 h 1249154"/>
              <a:gd name="connsiteX6" fmla="*/ 0 w 3656555"/>
              <a:gd name="connsiteY6" fmla="*/ 1249154 h 1249154"/>
              <a:gd name="connsiteX0" fmla="*/ 0 w 3656555"/>
              <a:gd name="connsiteY0" fmla="*/ 1249154 h 1249154"/>
              <a:gd name="connsiteX1" fmla="*/ 3934 w 3656555"/>
              <a:gd name="connsiteY1" fmla="*/ 1677 h 1249154"/>
              <a:gd name="connsiteX2" fmla="*/ 2601911 w 3656555"/>
              <a:gd name="connsiteY2" fmla="*/ 0 h 1249154"/>
              <a:gd name="connsiteX3" fmla="*/ 3150718 w 3656555"/>
              <a:gd name="connsiteY3" fmla="*/ 266682 h 1249154"/>
              <a:gd name="connsiteX4" fmla="*/ 3656555 w 3656555"/>
              <a:gd name="connsiteY4" fmla="*/ 275495 h 1249154"/>
              <a:gd name="connsiteX5" fmla="*/ 3014577 w 3656555"/>
              <a:gd name="connsiteY5" fmla="*/ 1247884 h 1249154"/>
              <a:gd name="connsiteX6" fmla="*/ 0 w 3656555"/>
              <a:gd name="connsiteY6" fmla="*/ 1249154 h 1249154"/>
              <a:gd name="connsiteX0" fmla="*/ 0 w 3656555"/>
              <a:gd name="connsiteY0" fmla="*/ 1249154 h 1249154"/>
              <a:gd name="connsiteX1" fmla="*/ 3934 w 3656555"/>
              <a:gd name="connsiteY1" fmla="*/ 1677 h 1249154"/>
              <a:gd name="connsiteX2" fmla="*/ 2601911 w 3656555"/>
              <a:gd name="connsiteY2" fmla="*/ 0 h 1249154"/>
              <a:gd name="connsiteX3" fmla="*/ 3150718 w 3656555"/>
              <a:gd name="connsiteY3" fmla="*/ 266682 h 1249154"/>
              <a:gd name="connsiteX4" fmla="*/ 3656555 w 3656555"/>
              <a:gd name="connsiteY4" fmla="*/ 269460 h 1249154"/>
              <a:gd name="connsiteX5" fmla="*/ 3014577 w 3656555"/>
              <a:gd name="connsiteY5" fmla="*/ 1247884 h 1249154"/>
              <a:gd name="connsiteX6" fmla="*/ 0 w 3656555"/>
              <a:gd name="connsiteY6" fmla="*/ 1249154 h 1249154"/>
              <a:gd name="connsiteX0" fmla="*/ 0 w 3653537"/>
              <a:gd name="connsiteY0" fmla="*/ 1249154 h 1249154"/>
              <a:gd name="connsiteX1" fmla="*/ 3934 w 3653537"/>
              <a:gd name="connsiteY1" fmla="*/ 1677 h 1249154"/>
              <a:gd name="connsiteX2" fmla="*/ 2601911 w 3653537"/>
              <a:gd name="connsiteY2" fmla="*/ 0 h 1249154"/>
              <a:gd name="connsiteX3" fmla="*/ 3150718 w 3653537"/>
              <a:gd name="connsiteY3" fmla="*/ 266682 h 1249154"/>
              <a:gd name="connsiteX4" fmla="*/ 3653537 w 3653537"/>
              <a:gd name="connsiteY4" fmla="*/ 269460 h 1249154"/>
              <a:gd name="connsiteX5" fmla="*/ 3014577 w 3653537"/>
              <a:gd name="connsiteY5" fmla="*/ 1247884 h 1249154"/>
              <a:gd name="connsiteX6" fmla="*/ 0 w 3653537"/>
              <a:gd name="connsiteY6" fmla="*/ 1249154 h 1249154"/>
              <a:gd name="connsiteX0" fmla="*/ 0 w 3653537"/>
              <a:gd name="connsiteY0" fmla="*/ 1249154 h 1249154"/>
              <a:gd name="connsiteX1" fmla="*/ 3934 w 3653537"/>
              <a:gd name="connsiteY1" fmla="*/ 1677 h 1249154"/>
              <a:gd name="connsiteX2" fmla="*/ 2601911 w 3653537"/>
              <a:gd name="connsiteY2" fmla="*/ 0 h 1249154"/>
              <a:gd name="connsiteX3" fmla="*/ 3150718 w 3653537"/>
              <a:gd name="connsiteY3" fmla="*/ 266682 h 1249154"/>
              <a:gd name="connsiteX4" fmla="*/ 3653537 w 3653537"/>
              <a:gd name="connsiteY4" fmla="*/ 269460 h 1249154"/>
              <a:gd name="connsiteX5" fmla="*/ 3020612 w 3653537"/>
              <a:gd name="connsiteY5" fmla="*/ 1244866 h 1249154"/>
              <a:gd name="connsiteX6" fmla="*/ 0 w 3653537"/>
              <a:gd name="connsiteY6" fmla="*/ 1249154 h 12491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653537" h="1249154">
                <a:moveTo>
                  <a:pt x="0" y="1249154"/>
                </a:moveTo>
                <a:cubicBezTo>
                  <a:pt x="1311" y="833328"/>
                  <a:pt x="2623" y="417503"/>
                  <a:pt x="3934" y="1677"/>
                </a:cubicBezTo>
                <a:lnTo>
                  <a:pt x="2601911" y="0"/>
                </a:lnTo>
                <a:lnTo>
                  <a:pt x="3150718" y="266682"/>
                </a:lnTo>
                <a:lnTo>
                  <a:pt x="3653537" y="269460"/>
                </a:lnTo>
                <a:lnTo>
                  <a:pt x="3020612" y="1244866"/>
                </a:lnTo>
                <a:lnTo>
                  <a:pt x="0" y="1249154"/>
                </a:lnTo>
                <a:close/>
              </a:path>
            </a:pathLst>
          </a:custGeom>
          <a:gradFill>
            <a:gsLst>
              <a:gs pos="0">
                <a:schemeClr val="bg2">
                  <a:lumMod val="75000"/>
                  <a:alpha val="85000"/>
                </a:schemeClr>
              </a:gs>
              <a:gs pos="100000">
                <a:schemeClr val="bg2">
                  <a:alpha val="85000"/>
                </a:schemeClr>
              </a:gs>
            </a:gsLst>
            <a:lin ang="5400000" scaled="0"/>
          </a:gradFill>
          <a:ln w="19050">
            <a:noFill/>
          </a:ln>
        </p:spPr>
        <p:txBody>
          <a:bodyPr vert="horz" lIns="454941" tIns="37851" rIns="75702" bIns="72790" rtlCol="0" anchor="ctr" anchorCtr="0">
            <a:noAutofit/>
          </a:bodyPr>
          <a:lstStyle>
            <a:lvl1pPr marL="342900" indent="-342900">
              <a:buFontTx/>
              <a:buNone/>
              <a:defRPr lang="en-US" sz="1094" dirty="0">
                <a:solidFill>
                  <a:srgbClr val="424949"/>
                </a:solidFill>
              </a:defRPr>
            </a:lvl1pPr>
          </a:lstStyle>
          <a:p>
            <a:pPr marL="0" lvl="0" indent="0" algn="ctr">
              <a:buNone/>
            </a:pPr>
            <a:r>
              <a:rPr lang="en-US" dirty="0"/>
              <a:t> </a:t>
            </a:r>
          </a:p>
        </p:txBody>
      </p:sp>
      <p:sp>
        <p:nvSpPr>
          <p:cNvPr id="14" name="Text Placeholder 33">
            <a:extLst>
              <a:ext uri="{FF2B5EF4-FFF2-40B4-BE49-F238E27FC236}">
                <a16:creationId xmlns:a16="http://schemas.microsoft.com/office/drawing/2014/main" id="{B1ED78A0-A56B-4703-A84F-DDB45C4928AA}"/>
              </a:ext>
            </a:extLst>
          </p:cNvPr>
          <p:cNvSpPr>
            <a:spLocks noGrp="1"/>
          </p:cNvSpPr>
          <p:nvPr>
            <p:ph type="body" sz="quarter" idx="22" hasCustomPrompt="1"/>
          </p:nvPr>
        </p:nvSpPr>
        <p:spPr>
          <a:xfrm>
            <a:off x="-12466" y="4882452"/>
            <a:ext cx="5344068" cy="1070462"/>
          </a:xfrm>
          <a:custGeom>
            <a:avLst/>
            <a:gdLst>
              <a:gd name="connsiteX0" fmla="*/ 0 w 2926080"/>
              <a:gd name="connsiteY0" fmla="*/ 1495912 h 1495912"/>
              <a:gd name="connsiteX1" fmla="*/ 449537 w 2926080"/>
              <a:gd name="connsiteY1" fmla="*/ 0 h 1495912"/>
              <a:gd name="connsiteX2" fmla="*/ 2926080 w 2926080"/>
              <a:gd name="connsiteY2" fmla="*/ 0 h 1495912"/>
              <a:gd name="connsiteX3" fmla="*/ 2476543 w 2926080"/>
              <a:gd name="connsiteY3" fmla="*/ 1495912 h 1495912"/>
              <a:gd name="connsiteX4" fmla="*/ 0 w 2926080"/>
              <a:gd name="connsiteY4" fmla="*/ 1495912 h 1495912"/>
              <a:gd name="connsiteX0" fmla="*/ 0 w 2926080"/>
              <a:gd name="connsiteY0" fmla="*/ 1495912 h 1495912"/>
              <a:gd name="connsiteX1" fmla="*/ 449537 w 2926080"/>
              <a:gd name="connsiteY1" fmla="*/ 0 h 1495912"/>
              <a:gd name="connsiteX2" fmla="*/ 2926080 w 2926080"/>
              <a:gd name="connsiteY2" fmla="*/ 0 h 1495912"/>
              <a:gd name="connsiteX3" fmla="*/ 2918503 w 2926080"/>
              <a:gd name="connsiteY3" fmla="*/ 1038712 h 1495912"/>
              <a:gd name="connsiteX4" fmla="*/ 0 w 2926080"/>
              <a:gd name="connsiteY4" fmla="*/ 1495912 h 1495912"/>
              <a:gd name="connsiteX0" fmla="*/ 0 w 2606040"/>
              <a:gd name="connsiteY0" fmla="*/ 1114912 h 1114912"/>
              <a:gd name="connsiteX1" fmla="*/ 129497 w 2606040"/>
              <a:gd name="connsiteY1" fmla="*/ 0 h 1114912"/>
              <a:gd name="connsiteX2" fmla="*/ 2606040 w 2606040"/>
              <a:gd name="connsiteY2" fmla="*/ 0 h 1114912"/>
              <a:gd name="connsiteX3" fmla="*/ 2598463 w 2606040"/>
              <a:gd name="connsiteY3" fmla="*/ 1038712 h 1114912"/>
              <a:gd name="connsiteX4" fmla="*/ 0 w 2606040"/>
              <a:gd name="connsiteY4" fmla="*/ 1114912 h 1114912"/>
              <a:gd name="connsiteX0" fmla="*/ 0 w 2606040"/>
              <a:gd name="connsiteY0" fmla="*/ 1114912 h 1114912"/>
              <a:gd name="connsiteX1" fmla="*/ 921977 w 2606040"/>
              <a:gd name="connsiteY1" fmla="*/ 0 h 1114912"/>
              <a:gd name="connsiteX2" fmla="*/ 2606040 w 2606040"/>
              <a:gd name="connsiteY2" fmla="*/ 0 h 1114912"/>
              <a:gd name="connsiteX3" fmla="*/ 2598463 w 2606040"/>
              <a:gd name="connsiteY3" fmla="*/ 1038712 h 1114912"/>
              <a:gd name="connsiteX4" fmla="*/ 0 w 2606040"/>
              <a:gd name="connsiteY4" fmla="*/ 1114912 h 1114912"/>
              <a:gd name="connsiteX0" fmla="*/ 0 w 2606040"/>
              <a:gd name="connsiteY0" fmla="*/ 1114912 h 1114912"/>
              <a:gd name="connsiteX1" fmla="*/ 441220 w 2606040"/>
              <a:gd name="connsiteY1" fmla="*/ 596328 h 1114912"/>
              <a:gd name="connsiteX2" fmla="*/ 921977 w 2606040"/>
              <a:gd name="connsiteY2" fmla="*/ 0 h 1114912"/>
              <a:gd name="connsiteX3" fmla="*/ 2606040 w 2606040"/>
              <a:gd name="connsiteY3" fmla="*/ 0 h 1114912"/>
              <a:gd name="connsiteX4" fmla="*/ 2598463 w 2606040"/>
              <a:gd name="connsiteY4" fmla="*/ 1038712 h 1114912"/>
              <a:gd name="connsiteX5" fmla="*/ 0 w 2606040"/>
              <a:gd name="connsiteY5" fmla="*/ 1114912 h 1114912"/>
              <a:gd name="connsiteX0" fmla="*/ 0 w 2606040"/>
              <a:gd name="connsiteY0" fmla="*/ 1114912 h 1114912"/>
              <a:gd name="connsiteX1" fmla="*/ 357400 w 2606040"/>
              <a:gd name="connsiteY1" fmla="*/ 916368 h 1114912"/>
              <a:gd name="connsiteX2" fmla="*/ 921977 w 2606040"/>
              <a:gd name="connsiteY2" fmla="*/ 0 h 1114912"/>
              <a:gd name="connsiteX3" fmla="*/ 2606040 w 2606040"/>
              <a:gd name="connsiteY3" fmla="*/ 0 h 1114912"/>
              <a:gd name="connsiteX4" fmla="*/ 2598463 w 2606040"/>
              <a:gd name="connsiteY4" fmla="*/ 1038712 h 1114912"/>
              <a:gd name="connsiteX5" fmla="*/ 0 w 2606040"/>
              <a:gd name="connsiteY5" fmla="*/ 1114912 h 1114912"/>
              <a:gd name="connsiteX0" fmla="*/ 0 w 2606040"/>
              <a:gd name="connsiteY0" fmla="*/ 1114912 h 1114912"/>
              <a:gd name="connsiteX1" fmla="*/ 357400 w 2606040"/>
              <a:gd name="connsiteY1" fmla="*/ 916368 h 1114912"/>
              <a:gd name="connsiteX2" fmla="*/ 174520 w 2606040"/>
              <a:gd name="connsiteY2" fmla="*/ 1015428 h 1114912"/>
              <a:gd name="connsiteX3" fmla="*/ 921977 w 2606040"/>
              <a:gd name="connsiteY3" fmla="*/ 0 h 1114912"/>
              <a:gd name="connsiteX4" fmla="*/ 2606040 w 2606040"/>
              <a:gd name="connsiteY4" fmla="*/ 0 h 1114912"/>
              <a:gd name="connsiteX5" fmla="*/ 2598463 w 2606040"/>
              <a:gd name="connsiteY5" fmla="*/ 1038712 h 1114912"/>
              <a:gd name="connsiteX6" fmla="*/ 0 w 2606040"/>
              <a:gd name="connsiteY6" fmla="*/ 1114912 h 1114912"/>
              <a:gd name="connsiteX0" fmla="*/ 0 w 2606040"/>
              <a:gd name="connsiteY0" fmla="*/ 1114912 h 1114912"/>
              <a:gd name="connsiteX1" fmla="*/ 357400 w 2606040"/>
              <a:gd name="connsiteY1" fmla="*/ 916368 h 1114912"/>
              <a:gd name="connsiteX2" fmla="*/ 428520 w 2606040"/>
              <a:gd name="connsiteY2" fmla="*/ 744495 h 1114912"/>
              <a:gd name="connsiteX3" fmla="*/ 921977 w 2606040"/>
              <a:gd name="connsiteY3" fmla="*/ 0 h 1114912"/>
              <a:gd name="connsiteX4" fmla="*/ 2606040 w 2606040"/>
              <a:gd name="connsiteY4" fmla="*/ 0 h 1114912"/>
              <a:gd name="connsiteX5" fmla="*/ 2598463 w 2606040"/>
              <a:gd name="connsiteY5" fmla="*/ 1038712 h 1114912"/>
              <a:gd name="connsiteX6" fmla="*/ 0 w 2606040"/>
              <a:gd name="connsiteY6" fmla="*/ 1114912 h 1114912"/>
              <a:gd name="connsiteX0" fmla="*/ 0 w 2606040"/>
              <a:gd name="connsiteY0" fmla="*/ 1114912 h 1114912"/>
              <a:gd name="connsiteX1" fmla="*/ 160973 w 2606040"/>
              <a:gd name="connsiteY1" fmla="*/ 1018815 h 1114912"/>
              <a:gd name="connsiteX2" fmla="*/ 357400 w 2606040"/>
              <a:gd name="connsiteY2" fmla="*/ 916368 h 1114912"/>
              <a:gd name="connsiteX3" fmla="*/ 428520 w 2606040"/>
              <a:gd name="connsiteY3" fmla="*/ 744495 h 1114912"/>
              <a:gd name="connsiteX4" fmla="*/ 921977 w 2606040"/>
              <a:gd name="connsiteY4" fmla="*/ 0 h 1114912"/>
              <a:gd name="connsiteX5" fmla="*/ 2606040 w 2606040"/>
              <a:gd name="connsiteY5" fmla="*/ 0 h 1114912"/>
              <a:gd name="connsiteX6" fmla="*/ 2598463 w 2606040"/>
              <a:gd name="connsiteY6" fmla="*/ 1038712 h 1114912"/>
              <a:gd name="connsiteX7" fmla="*/ 0 w 2606040"/>
              <a:gd name="connsiteY7" fmla="*/ 1114912 h 1114912"/>
              <a:gd name="connsiteX0" fmla="*/ 0 w 5342890"/>
              <a:gd name="connsiteY0" fmla="*/ 1070462 h 1070462"/>
              <a:gd name="connsiteX1" fmla="*/ 2897823 w 5342890"/>
              <a:gd name="connsiteY1" fmla="*/ 1018815 h 1070462"/>
              <a:gd name="connsiteX2" fmla="*/ 3094250 w 5342890"/>
              <a:gd name="connsiteY2" fmla="*/ 916368 h 1070462"/>
              <a:gd name="connsiteX3" fmla="*/ 3165370 w 5342890"/>
              <a:gd name="connsiteY3" fmla="*/ 744495 h 1070462"/>
              <a:gd name="connsiteX4" fmla="*/ 3658827 w 5342890"/>
              <a:gd name="connsiteY4" fmla="*/ 0 h 1070462"/>
              <a:gd name="connsiteX5" fmla="*/ 5342890 w 5342890"/>
              <a:gd name="connsiteY5" fmla="*/ 0 h 1070462"/>
              <a:gd name="connsiteX6" fmla="*/ 5335313 w 5342890"/>
              <a:gd name="connsiteY6" fmla="*/ 1038712 h 1070462"/>
              <a:gd name="connsiteX7" fmla="*/ 0 w 5342890"/>
              <a:gd name="connsiteY7" fmla="*/ 1070462 h 1070462"/>
              <a:gd name="connsiteX0" fmla="*/ 4127 w 5347017"/>
              <a:gd name="connsiteY0" fmla="*/ 1070462 h 1070462"/>
              <a:gd name="connsiteX1" fmla="*/ 0 w 5347017"/>
              <a:gd name="connsiteY1" fmla="*/ 987065 h 1070462"/>
              <a:gd name="connsiteX2" fmla="*/ 3098377 w 5347017"/>
              <a:gd name="connsiteY2" fmla="*/ 916368 h 1070462"/>
              <a:gd name="connsiteX3" fmla="*/ 3169497 w 5347017"/>
              <a:gd name="connsiteY3" fmla="*/ 744495 h 1070462"/>
              <a:gd name="connsiteX4" fmla="*/ 3662954 w 5347017"/>
              <a:gd name="connsiteY4" fmla="*/ 0 h 1070462"/>
              <a:gd name="connsiteX5" fmla="*/ 5347017 w 5347017"/>
              <a:gd name="connsiteY5" fmla="*/ 0 h 1070462"/>
              <a:gd name="connsiteX6" fmla="*/ 5339440 w 5347017"/>
              <a:gd name="connsiteY6" fmla="*/ 1038712 h 1070462"/>
              <a:gd name="connsiteX7" fmla="*/ 4127 w 5347017"/>
              <a:gd name="connsiteY7" fmla="*/ 1070462 h 1070462"/>
              <a:gd name="connsiteX0" fmla="*/ 4127 w 5347017"/>
              <a:gd name="connsiteY0" fmla="*/ 1070462 h 1070462"/>
              <a:gd name="connsiteX1" fmla="*/ 0 w 5347017"/>
              <a:gd name="connsiteY1" fmla="*/ 987065 h 1070462"/>
              <a:gd name="connsiteX2" fmla="*/ 3041227 w 5347017"/>
              <a:gd name="connsiteY2" fmla="*/ 973518 h 1070462"/>
              <a:gd name="connsiteX3" fmla="*/ 3169497 w 5347017"/>
              <a:gd name="connsiteY3" fmla="*/ 744495 h 1070462"/>
              <a:gd name="connsiteX4" fmla="*/ 3662954 w 5347017"/>
              <a:gd name="connsiteY4" fmla="*/ 0 h 1070462"/>
              <a:gd name="connsiteX5" fmla="*/ 5347017 w 5347017"/>
              <a:gd name="connsiteY5" fmla="*/ 0 h 1070462"/>
              <a:gd name="connsiteX6" fmla="*/ 5339440 w 5347017"/>
              <a:gd name="connsiteY6" fmla="*/ 1038712 h 1070462"/>
              <a:gd name="connsiteX7" fmla="*/ 4127 w 5347017"/>
              <a:gd name="connsiteY7" fmla="*/ 1070462 h 1070462"/>
              <a:gd name="connsiteX0" fmla="*/ 4127 w 5347017"/>
              <a:gd name="connsiteY0" fmla="*/ 1070462 h 1070462"/>
              <a:gd name="connsiteX1" fmla="*/ 0 w 5347017"/>
              <a:gd name="connsiteY1" fmla="*/ 987065 h 1070462"/>
              <a:gd name="connsiteX2" fmla="*/ 3041227 w 5347017"/>
              <a:gd name="connsiteY2" fmla="*/ 973518 h 1070462"/>
              <a:gd name="connsiteX3" fmla="*/ 3662954 w 5347017"/>
              <a:gd name="connsiteY3" fmla="*/ 0 h 1070462"/>
              <a:gd name="connsiteX4" fmla="*/ 5347017 w 5347017"/>
              <a:gd name="connsiteY4" fmla="*/ 0 h 1070462"/>
              <a:gd name="connsiteX5" fmla="*/ 5339440 w 5347017"/>
              <a:gd name="connsiteY5" fmla="*/ 1038712 h 1070462"/>
              <a:gd name="connsiteX6" fmla="*/ 4127 w 5347017"/>
              <a:gd name="connsiteY6" fmla="*/ 1070462 h 1070462"/>
              <a:gd name="connsiteX0" fmla="*/ 4127 w 5358753"/>
              <a:gd name="connsiteY0" fmla="*/ 1070462 h 1070462"/>
              <a:gd name="connsiteX1" fmla="*/ 0 w 5358753"/>
              <a:gd name="connsiteY1" fmla="*/ 987065 h 1070462"/>
              <a:gd name="connsiteX2" fmla="*/ 3041227 w 5358753"/>
              <a:gd name="connsiteY2" fmla="*/ 973518 h 1070462"/>
              <a:gd name="connsiteX3" fmla="*/ 3662954 w 5358753"/>
              <a:gd name="connsiteY3" fmla="*/ 0 h 1070462"/>
              <a:gd name="connsiteX4" fmla="*/ 5347017 w 5358753"/>
              <a:gd name="connsiteY4" fmla="*/ 0 h 1070462"/>
              <a:gd name="connsiteX5" fmla="*/ 5358490 w 5358753"/>
              <a:gd name="connsiteY5" fmla="*/ 1064112 h 1070462"/>
              <a:gd name="connsiteX6" fmla="*/ 4127 w 5358753"/>
              <a:gd name="connsiteY6" fmla="*/ 1070462 h 1070462"/>
              <a:gd name="connsiteX0" fmla="*/ 0 w 5354626"/>
              <a:gd name="connsiteY0" fmla="*/ 1070462 h 1070462"/>
              <a:gd name="connsiteX1" fmla="*/ 4926 w 5354626"/>
              <a:gd name="connsiteY1" fmla="*/ 987065 h 1070462"/>
              <a:gd name="connsiteX2" fmla="*/ 3037100 w 5354626"/>
              <a:gd name="connsiteY2" fmla="*/ 973518 h 1070462"/>
              <a:gd name="connsiteX3" fmla="*/ 3658827 w 5354626"/>
              <a:gd name="connsiteY3" fmla="*/ 0 h 1070462"/>
              <a:gd name="connsiteX4" fmla="*/ 5342890 w 5354626"/>
              <a:gd name="connsiteY4" fmla="*/ 0 h 1070462"/>
              <a:gd name="connsiteX5" fmla="*/ 5354363 w 5354626"/>
              <a:gd name="connsiteY5" fmla="*/ 1064112 h 1070462"/>
              <a:gd name="connsiteX6" fmla="*/ 0 w 5354626"/>
              <a:gd name="connsiteY6" fmla="*/ 1070462 h 1070462"/>
              <a:gd name="connsiteX0" fmla="*/ 1109 w 5349700"/>
              <a:gd name="connsiteY0" fmla="*/ 1070462 h 1070462"/>
              <a:gd name="connsiteX1" fmla="*/ 0 w 5349700"/>
              <a:gd name="connsiteY1" fmla="*/ 987065 h 1070462"/>
              <a:gd name="connsiteX2" fmla="*/ 3032174 w 5349700"/>
              <a:gd name="connsiteY2" fmla="*/ 973518 h 1070462"/>
              <a:gd name="connsiteX3" fmla="*/ 3653901 w 5349700"/>
              <a:gd name="connsiteY3" fmla="*/ 0 h 1070462"/>
              <a:gd name="connsiteX4" fmla="*/ 5337964 w 5349700"/>
              <a:gd name="connsiteY4" fmla="*/ 0 h 1070462"/>
              <a:gd name="connsiteX5" fmla="*/ 5349437 w 5349700"/>
              <a:gd name="connsiteY5" fmla="*/ 1064112 h 1070462"/>
              <a:gd name="connsiteX6" fmla="*/ 1109 w 5349700"/>
              <a:gd name="connsiteY6" fmla="*/ 1070462 h 1070462"/>
              <a:gd name="connsiteX0" fmla="*/ 533933 w 5882524"/>
              <a:gd name="connsiteY0" fmla="*/ 1070462 h 1070474"/>
              <a:gd name="connsiteX1" fmla="*/ 532824 w 5882524"/>
              <a:gd name="connsiteY1" fmla="*/ 987065 h 1070474"/>
              <a:gd name="connsiteX2" fmla="*/ 3564998 w 5882524"/>
              <a:gd name="connsiteY2" fmla="*/ 973518 h 1070474"/>
              <a:gd name="connsiteX3" fmla="*/ 4186725 w 5882524"/>
              <a:gd name="connsiteY3" fmla="*/ 0 h 1070474"/>
              <a:gd name="connsiteX4" fmla="*/ 5870788 w 5882524"/>
              <a:gd name="connsiteY4" fmla="*/ 0 h 1070474"/>
              <a:gd name="connsiteX5" fmla="*/ 5882261 w 5882524"/>
              <a:gd name="connsiteY5" fmla="*/ 1064112 h 1070474"/>
              <a:gd name="connsiteX6" fmla="*/ 533933 w 5882524"/>
              <a:gd name="connsiteY6" fmla="*/ 1070462 h 1070474"/>
              <a:gd name="connsiteX0" fmla="*/ 1109 w 5349700"/>
              <a:gd name="connsiteY0" fmla="*/ 1070462 h 1070462"/>
              <a:gd name="connsiteX1" fmla="*/ 0 w 5349700"/>
              <a:gd name="connsiteY1" fmla="*/ 987065 h 1070462"/>
              <a:gd name="connsiteX2" fmla="*/ 3032174 w 5349700"/>
              <a:gd name="connsiteY2" fmla="*/ 973518 h 1070462"/>
              <a:gd name="connsiteX3" fmla="*/ 3653901 w 5349700"/>
              <a:gd name="connsiteY3" fmla="*/ 0 h 1070462"/>
              <a:gd name="connsiteX4" fmla="*/ 5337964 w 5349700"/>
              <a:gd name="connsiteY4" fmla="*/ 0 h 1070462"/>
              <a:gd name="connsiteX5" fmla="*/ 5349437 w 5349700"/>
              <a:gd name="connsiteY5" fmla="*/ 1064112 h 1070462"/>
              <a:gd name="connsiteX6" fmla="*/ 1109 w 5349700"/>
              <a:gd name="connsiteY6" fmla="*/ 1070462 h 1070462"/>
              <a:gd name="connsiteX0" fmla="*/ 392406 w 5740997"/>
              <a:gd name="connsiteY0" fmla="*/ 1070462 h 1070462"/>
              <a:gd name="connsiteX1" fmla="*/ 403522 w 5740997"/>
              <a:gd name="connsiteY1" fmla="*/ 987065 h 1070462"/>
              <a:gd name="connsiteX2" fmla="*/ 3423471 w 5740997"/>
              <a:gd name="connsiteY2" fmla="*/ 973518 h 1070462"/>
              <a:gd name="connsiteX3" fmla="*/ 4045198 w 5740997"/>
              <a:gd name="connsiteY3" fmla="*/ 0 h 1070462"/>
              <a:gd name="connsiteX4" fmla="*/ 5729261 w 5740997"/>
              <a:gd name="connsiteY4" fmla="*/ 0 h 1070462"/>
              <a:gd name="connsiteX5" fmla="*/ 5740734 w 5740997"/>
              <a:gd name="connsiteY5" fmla="*/ 1064112 h 1070462"/>
              <a:gd name="connsiteX6" fmla="*/ 392406 w 5740997"/>
              <a:gd name="connsiteY6" fmla="*/ 1070462 h 1070462"/>
              <a:gd name="connsiteX0" fmla="*/ 392406 w 5740997"/>
              <a:gd name="connsiteY0" fmla="*/ 1070462 h 1070462"/>
              <a:gd name="connsiteX1" fmla="*/ 403522 w 5740997"/>
              <a:gd name="connsiteY1" fmla="*/ 987065 h 1070462"/>
              <a:gd name="connsiteX2" fmla="*/ 3423471 w 5740997"/>
              <a:gd name="connsiteY2" fmla="*/ 973518 h 1070462"/>
              <a:gd name="connsiteX3" fmla="*/ 4045198 w 5740997"/>
              <a:gd name="connsiteY3" fmla="*/ 0 h 1070462"/>
              <a:gd name="connsiteX4" fmla="*/ 5729261 w 5740997"/>
              <a:gd name="connsiteY4" fmla="*/ 0 h 1070462"/>
              <a:gd name="connsiteX5" fmla="*/ 5740734 w 5740997"/>
              <a:gd name="connsiteY5" fmla="*/ 1064112 h 1070462"/>
              <a:gd name="connsiteX6" fmla="*/ 392406 w 5740997"/>
              <a:gd name="connsiteY6" fmla="*/ 1070462 h 1070462"/>
              <a:gd name="connsiteX0" fmla="*/ 393660 w 5737361"/>
              <a:gd name="connsiteY0" fmla="*/ 1070462 h 1070462"/>
              <a:gd name="connsiteX1" fmla="*/ 399886 w 5737361"/>
              <a:gd name="connsiteY1" fmla="*/ 987065 h 1070462"/>
              <a:gd name="connsiteX2" fmla="*/ 3419835 w 5737361"/>
              <a:gd name="connsiteY2" fmla="*/ 973518 h 1070462"/>
              <a:gd name="connsiteX3" fmla="*/ 4041562 w 5737361"/>
              <a:gd name="connsiteY3" fmla="*/ 0 h 1070462"/>
              <a:gd name="connsiteX4" fmla="*/ 5725625 w 5737361"/>
              <a:gd name="connsiteY4" fmla="*/ 0 h 1070462"/>
              <a:gd name="connsiteX5" fmla="*/ 5737098 w 5737361"/>
              <a:gd name="connsiteY5" fmla="*/ 1064112 h 1070462"/>
              <a:gd name="connsiteX6" fmla="*/ 393660 w 5737361"/>
              <a:gd name="connsiteY6" fmla="*/ 1070462 h 1070462"/>
              <a:gd name="connsiteX0" fmla="*/ 0 w 5343701"/>
              <a:gd name="connsiteY0" fmla="*/ 1070462 h 1070462"/>
              <a:gd name="connsiteX1" fmla="*/ 6226 w 5343701"/>
              <a:gd name="connsiteY1" fmla="*/ 987065 h 1070462"/>
              <a:gd name="connsiteX2" fmla="*/ 3026175 w 5343701"/>
              <a:gd name="connsiteY2" fmla="*/ 973518 h 1070462"/>
              <a:gd name="connsiteX3" fmla="*/ 3647902 w 5343701"/>
              <a:gd name="connsiteY3" fmla="*/ 0 h 1070462"/>
              <a:gd name="connsiteX4" fmla="*/ 5331965 w 5343701"/>
              <a:gd name="connsiteY4" fmla="*/ 0 h 1070462"/>
              <a:gd name="connsiteX5" fmla="*/ 5343438 w 5343701"/>
              <a:gd name="connsiteY5" fmla="*/ 1064112 h 1070462"/>
              <a:gd name="connsiteX6" fmla="*/ 0 w 5343701"/>
              <a:gd name="connsiteY6" fmla="*/ 1070462 h 1070462"/>
              <a:gd name="connsiteX0" fmla="*/ 395463 w 5739164"/>
              <a:gd name="connsiteY0" fmla="*/ 1070462 h 1070462"/>
              <a:gd name="connsiteX1" fmla="*/ 396799 w 5739164"/>
              <a:gd name="connsiteY1" fmla="*/ 984620 h 1070462"/>
              <a:gd name="connsiteX2" fmla="*/ 3421638 w 5739164"/>
              <a:gd name="connsiteY2" fmla="*/ 973518 h 1070462"/>
              <a:gd name="connsiteX3" fmla="*/ 4043365 w 5739164"/>
              <a:gd name="connsiteY3" fmla="*/ 0 h 1070462"/>
              <a:gd name="connsiteX4" fmla="*/ 5727428 w 5739164"/>
              <a:gd name="connsiteY4" fmla="*/ 0 h 1070462"/>
              <a:gd name="connsiteX5" fmla="*/ 5738901 w 5739164"/>
              <a:gd name="connsiteY5" fmla="*/ 1064112 h 1070462"/>
              <a:gd name="connsiteX6" fmla="*/ 395463 w 5739164"/>
              <a:gd name="connsiteY6" fmla="*/ 1070462 h 1070462"/>
              <a:gd name="connsiteX0" fmla="*/ 395463 w 5739164"/>
              <a:gd name="connsiteY0" fmla="*/ 1070462 h 1070462"/>
              <a:gd name="connsiteX1" fmla="*/ 396799 w 5739164"/>
              <a:gd name="connsiteY1" fmla="*/ 987065 h 1070462"/>
              <a:gd name="connsiteX2" fmla="*/ 3421638 w 5739164"/>
              <a:gd name="connsiteY2" fmla="*/ 973518 h 1070462"/>
              <a:gd name="connsiteX3" fmla="*/ 4043365 w 5739164"/>
              <a:gd name="connsiteY3" fmla="*/ 0 h 1070462"/>
              <a:gd name="connsiteX4" fmla="*/ 5727428 w 5739164"/>
              <a:gd name="connsiteY4" fmla="*/ 0 h 1070462"/>
              <a:gd name="connsiteX5" fmla="*/ 5738901 w 5739164"/>
              <a:gd name="connsiteY5" fmla="*/ 1064112 h 1070462"/>
              <a:gd name="connsiteX6" fmla="*/ 395463 w 5739164"/>
              <a:gd name="connsiteY6" fmla="*/ 1070462 h 1070462"/>
              <a:gd name="connsiteX0" fmla="*/ 532222 w 5875923"/>
              <a:gd name="connsiteY0" fmla="*/ 1070462 h 1070462"/>
              <a:gd name="connsiteX1" fmla="*/ 533558 w 5875923"/>
              <a:gd name="connsiteY1" fmla="*/ 987065 h 1070462"/>
              <a:gd name="connsiteX2" fmla="*/ 3558397 w 5875923"/>
              <a:gd name="connsiteY2" fmla="*/ 973518 h 1070462"/>
              <a:gd name="connsiteX3" fmla="*/ 4180124 w 5875923"/>
              <a:gd name="connsiteY3" fmla="*/ 0 h 1070462"/>
              <a:gd name="connsiteX4" fmla="*/ 5864187 w 5875923"/>
              <a:gd name="connsiteY4" fmla="*/ 0 h 1070462"/>
              <a:gd name="connsiteX5" fmla="*/ 5875660 w 5875923"/>
              <a:gd name="connsiteY5" fmla="*/ 1064112 h 1070462"/>
              <a:gd name="connsiteX6" fmla="*/ 532222 w 5875923"/>
              <a:gd name="connsiteY6" fmla="*/ 1070462 h 1070462"/>
              <a:gd name="connsiteX0" fmla="*/ 0 w 5343701"/>
              <a:gd name="connsiteY0" fmla="*/ 1070462 h 1070462"/>
              <a:gd name="connsiteX1" fmla="*/ 1336 w 5343701"/>
              <a:gd name="connsiteY1" fmla="*/ 987065 h 1070462"/>
              <a:gd name="connsiteX2" fmla="*/ 3026175 w 5343701"/>
              <a:gd name="connsiteY2" fmla="*/ 973518 h 1070462"/>
              <a:gd name="connsiteX3" fmla="*/ 3647902 w 5343701"/>
              <a:gd name="connsiteY3" fmla="*/ 0 h 1070462"/>
              <a:gd name="connsiteX4" fmla="*/ 5331965 w 5343701"/>
              <a:gd name="connsiteY4" fmla="*/ 0 h 1070462"/>
              <a:gd name="connsiteX5" fmla="*/ 5343438 w 5343701"/>
              <a:gd name="connsiteY5" fmla="*/ 1064112 h 1070462"/>
              <a:gd name="connsiteX6" fmla="*/ 0 w 5343701"/>
              <a:gd name="connsiteY6" fmla="*/ 1070462 h 1070462"/>
              <a:gd name="connsiteX0" fmla="*/ 0 w 5344068"/>
              <a:gd name="connsiteY0" fmla="*/ 1070462 h 1070462"/>
              <a:gd name="connsiteX1" fmla="*/ 1336 w 5344068"/>
              <a:gd name="connsiteY1" fmla="*/ 987065 h 1070462"/>
              <a:gd name="connsiteX2" fmla="*/ 3026175 w 5344068"/>
              <a:gd name="connsiteY2" fmla="*/ 973518 h 1070462"/>
              <a:gd name="connsiteX3" fmla="*/ 3647902 w 5344068"/>
              <a:gd name="connsiteY3" fmla="*/ 0 h 1070462"/>
              <a:gd name="connsiteX4" fmla="*/ 5342445 w 5344068"/>
              <a:gd name="connsiteY4" fmla="*/ 0 h 1070462"/>
              <a:gd name="connsiteX5" fmla="*/ 5343438 w 5344068"/>
              <a:gd name="connsiteY5" fmla="*/ 1064112 h 1070462"/>
              <a:gd name="connsiteX6" fmla="*/ 0 w 5344068"/>
              <a:gd name="connsiteY6" fmla="*/ 1070462 h 1070462"/>
              <a:gd name="connsiteX0" fmla="*/ 395463 w 5739531"/>
              <a:gd name="connsiteY0" fmla="*/ 1070462 h 1070462"/>
              <a:gd name="connsiteX1" fmla="*/ 396799 w 5739531"/>
              <a:gd name="connsiteY1" fmla="*/ 983923 h 1070462"/>
              <a:gd name="connsiteX2" fmla="*/ 3421638 w 5739531"/>
              <a:gd name="connsiteY2" fmla="*/ 973518 h 1070462"/>
              <a:gd name="connsiteX3" fmla="*/ 4043365 w 5739531"/>
              <a:gd name="connsiteY3" fmla="*/ 0 h 1070462"/>
              <a:gd name="connsiteX4" fmla="*/ 5737908 w 5739531"/>
              <a:gd name="connsiteY4" fmla="*/ 0 h 1070462"/>
              <a:gd name="connsiteX5" fmla="*/ 5738901 w 5739531"/>
              <a:gd name="connsiteY5" fmla="*/ 1064112 h 1070462"/>
              <a:gd name="connsiteX6" fmla="*/ 395463 w 5739531"/>
              <a:gd name="connsiteY6" fmla="*/ 1070462 h 1070462"/>
              <a:gd name="connsiteX0" fmla="*/ 395463 w 5739531"/>
              <a:gd name="connsiteY0" fmla="*/ 1070462 h 1070462"/>
              <a:gd name="connsiteX1" fmla="*/ 396799 w 5739531"/>
              <a:gd name="connsiteY1" fmla="*/ 974496 h 1070462"/>
              <a:gd name="connsiteX2" fmla="*/ 3421638 w 5739531"/>
              <a:gd name="connsiteY2" fmla="*/ 973518 h 1070462"/>
              <a:gd name="connsiteX3" fmla="*/ 4043365 w 5739531"/>
              <a:gd name="connsiteY3" fmla="*/ 0 h 1070462"/>
              <a:gd name="connsiteX4" fmla="*/ 5737908 w 5739531"/>
              <a:gd name="connsiteY4" fmla="*/ 0 h 1070462"/>
              <a:gd name="connsiteX5" fmla="*/ 5738901 w 5739531"/>
              <a:gd name="connsiteY5" fmla="*/ 1064112 h 1070462"/>
              <a:gd name="connsiteX6" fmla="*/ 395463 w 5739531"/>
              <a:gd name="connsiteY6" fmla="*/ 1070462 h 1070462"/>
              <a:gd name="connsiteX0" fmla="*/ 0 w 5344068"/>
              <a:gd name="connsiteY0" fmla="*/ 1070462 h 1070462"/>
              <a:gd name="connsiteX1" fmla="*/ 1336 w 5344068"/>
              <a:gd name="connsiteY1" fmla="*/ 974496 h 1070462"/>
              <a:gd name="connsiteX2" fmla="*/ 3026175 w 5344068"/>
              <a:gd name="connsiteY2" fmla="*/ 973518 h 1070462"/>
              <a:gd name="connsiteX3" fmla="*/ 3647902 w 5344068"/>
              <a:gd name="connsiteY3" fmla="*/ 0 h 1070462"/>
              <a:gd name="connsiteX4" fmla="*/ 5342445 w 5344068"/>
              <a:gd name="connsiteY4" fmla="*/ 0 h 1070462"/>
              <a:gd name="connsiteX5" fmla="*/ 5343438 w 5344068"/>
              <a:gd name="connsiteY5" fmla="*/ 1064112 h 1070462"/>
              <a:gd name="connsiteX6" fmla="*/ 0 w 5344068"/>
              <a:gd name="connsiteY6" fmla="*/ 1070462 h 10704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344068" h="1070462">
                <a:moveTo>
                  <a:pt x="0" y="1070462"/>
                </a:moveTo>
                <a:cubicBezTo>
                  <a:pt x="445" y="1038473"/>
                  <a:pt x="891" y="1006485"/>
                  <a:pt x="1336" y="974496"/>
                </a:cubicBezTo>
                <a:lnTo>
                  <a:pt x="3026175" y="973518"/>
                </a:lnTo>
                <a:lnTo>
                  <a:pt x="3647902" y="0"/>
                </a:lnTo>
                <a:lnTo>
                  <a:pt x="5342445" y="0"/>
                </a:lnTo>
                <a:cubicBezTo>
                  <a:pt x="5339919" y="346237"/>
                  <a:pt x="5345964" y="717875"/>
                  <a:pt x="5343438" y="1064112"/>
                </a:cubicBezTo>
                <a:lnTo>
                  <a:pt x="0" y="1070462"/>
                </a:lnTo>
                <a:close/>
              </a:path>
            </a:pathLst>
          </a:custGeom>
          <a:solidFill>
            <a:schemeClr val="bg1"/>
          </a:solidFill>
          <a:ln w="19050">
            <a:noFill/>
          </a:ln>
        </p:spPr>
        <p:txBody>
          <a:bodyPr vert="horz" lIns="454941" tIns="37851" rIns="75702" bIns="72790" rtlCol="0" anchor="b">
            <a:noAutofit/>
          </a:bodyPr>
          <a:lstStyle>
            <a:lvl1pPr marL="0" indent="0">
              <a:buNone/>
              <a:defRPr lang="en-US" sz="1094" dirty="0">
                <a:solidFill>
                  <a:schemeClr val="bg1"/>
                </a:solidFill>
                <a:latin typeface="PTCRaleway" panose="020B0503030101060003" pitchFamily="34" charset="0"/>
              </a:defRPr>
            </a:lvl1pPr>
          </a:lstStyle>
          <a:p>
            <a:pPr lvl="0"/>
            <a:r>
              <a:rPr lang="en-US" dirty="0"/>
              <a:t> </a:t>
            </a:r>
          </a:p>
        </p:txBody>
      </p:sp>
      <p:sp>
        <p:nvSpPr>
          <p:cNvPr id="4" name="Title 3">
            <a:extLst>
              <a:ext uri="{FF2B5EF4-FFF2-40B4-BE49-F238E27FC236}">
                <a16:creationId xmlns:a16="http://schemas.microsoft.com/office/drawing/2014/main" id="{B7EBEE7B-E80B-4767-8B19-9478781C66BC}"/>
              </a:ext>
            </a:extLst>
          </p:cNvPr>
          <p:cNvSpPr>
            <a:spLocks noGrp="1"/>
          </p:cNvSpPr>
          <p:nvPr>
            <p:ph type="title" hasCustomPrompt="1"/>
          </p:nvPr>
        </p:nvSpPr>
        <p:spPr>
          <a:xfrm>
            <a:off x="6235700" y="690485"/>
            <a:ext cx="5486400" cy="369332"/>
          </a:xfrm>
        </p:spPr>
        <p:txBody>
          <a:bodyPr/>
          <a:lstStyle>
            <a:lvl1pPr>
              <a:defRPr sz="3000"/>
            </a:lvl1pPr>
          </a:lstStyle>
          <a:p>
            <a:r>
              <a:rPr lang="en-US" dirty="0"/>
              <a:t>add title – keep it brief</a:t>
            </a:r>
          </a:p>
        </p:txBody>
      </p:sp>
      <p:sp>
        <p:nvSpPr>
          <p:cNvPr id="19" name="Rectangle 18">
            <a:extLst>
              <a:ext uri="{FF2B5EF4-FFF2-40B4-BE49-F238E27FC236}">
                <a16:creationId xmlns:a16="http://schemas.microsoft.com/office/drawing/2014/main" id="{A65E310E-4680-4C73-838C-098522BD39DD}"/>
              </a:ext>
            </a:extLst>
          </p:cNvPr>
          <p:cNvSpPr/>
          <p:nvPr userDrawn="1"/>
        </p:nvSpPr>
        <p:spPr>
          <a:xfrm>
            <a:off x="6235700" y="389410"/>
            <a:ext cx="955563" cy="45719"/>
          </a:xfrm>
          <a:prstGeom prst="rect">
            <a:avLst/>
          </a:prstGeom>
          <a:solidFill>
            <a:srgbClr val="5AB73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p>
        </p:txBody>
      </p:sp>
      <p:grpSp>
        <p:nvGrpSpPr>
          <p:cNvPr id="102" name="Group 101">
            <a:extLst>
              <a:ext uri="{FF2B5EF4-FFF2-40B4-BE49-F238E27FC236}">
                <a16:creationId xmlns:a16="http://schemas.microsoft.com/office/drawing/2014/main" id="{96A1FBE7-9A49-4893-BE73-C040CC83491F}"/>
              </a:ext>
            </a:extLst>
          </p:cNvPr>
          <p:cNvGrpSpPr/>
          <p:nvPr userDrawn="1"/>
        </p:nvGrpSpPr>
        <p:grpSpPr>
          <a:xfrm flipH="1" flipV="1">
            <a:off x="5879755" y="2706256"/>
            <a:ext cx="152274" cy="3960685"/>
            <a:chOff x="5814441" y="100216"/>
            <a:chExt cx="152274" cy="3960685"/>
          </a:xfrm>
        </p:grpSpPr>
        <p:sp>
          <p:nvSpPr>
            <p:cNvPr id="61" name="Freeform: Shape 60">
              <a:extLst>
                <a:ext uri="{FF2B5EF4-FFF2-40B4-BE49-F238E27FC236}">
                  <a16:creationId xmlns:a16="http://schemas.microsoft.com/office/drawing/2014/main" id="{92D94A2C-76F2-4901-9BC7-CD95D5D65BCA}"/>
                </a:ext>
              </a:extLst>
            </p:cNvPr>
            <p:cNvSpPr/>
            <p:nvPr userDrawn="1"/>
          </p:nvSpPr>
          <p:spPr>
            <a:xfrm rot="5400000" flipH="1">
              <a:off x="4300442" y="1617453"/>
              <a:ext cx="3168650" cy="140652"/>
            </a:xfrm>
            <a:custGeom>
              <a:avLst/>
              <a:gdLst>
                <a:gd name="connsiteX0" fmla="*/ 0 w 3168650"/>
                <a:gd name="connsiteY0" fmla="*/ 140653 h 140652"/>
                <a:gd name="connsiteX1" fmla="*/ 143446 w 3168650"/>
                <a:gd name="connsiteY1" fmla="*/ 0 h 140652"/>
                <a:gd name="connsiteX2" fmla="*/ 3168650 w 3168650"/>
                <a:gd name="connsiteY2" fmla="*/ 0 h 140652"/>
              </a:gdLst>
              <a:ahLst/>
              <a:cxnLst>
                <a:cxn ang="0">
                  <a:pos x="connsiteX0" y="connsiteY0"/>
                </a:cxn>
                <a:cxn ang="0">
                  <a:pos x="connsiteX1" y="connsiteY1"/>
                </a:cxn>
                <a:cxn ang="0">
                  <a:pos x="connsiteX2" y="connsiteY2"/>
                </a:cxn>
              </a:cxnLst>
              <a:rect l="l" t="t" r="r" b="b"/>
              <a:pathLst>
                <a:path w="3168650" h="140652">
                  <a:moveTo>
                    <a:pt x="0" y="140653"/>
                  </a:moveTo>
                  <a:lnTo>
                    <a:pt x="143446" y="0"/>
                  </a:lnTo>
                  <a:lnTo>
                    <a:pt x="3168650" y="0"/>
                  </a:lnTo>
                </a:path>
              </a:pathLst>
            </a:custGeom>
            <a:noFill/>
            <a:ln w="3175" cap="flat">
              <a:solidFill>
                <a:schemeClr val="tx2"/>
              </a:solid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62" name="Freeform: Shape 61">
              <a:extLst>
                <a:ext uri="{FF2B5EF4-FFF2-40B4-BE49-F238E27FC236}">
                  <a16:creationId xmlns:a16="http://schemas.microsoft.com/office/drawing/2014/main" id="{4838DB7B-C890-45AE-BA34-E7001C6689B7}"/>
                </a:ext>
              </a:extLst>
            </p:cNvPr>
            <p:cNvSpPr/>
            <p:nvPr userDrawn="1"/>
          </p:nvSpPr>
          <p:spPr>
            <a:xfrm rot="5400000" flipH="1">
              <a:off x="5894038" y="42209"/>
              <a:ext cx="6350" cy="122364"/>
            </a:xfrm>
            <a:custGeom>
              <a:avLst/>
              <a:gdLst>
                <a:gd name="connsiteX0" fmla="*/ 0 w 6350"/>
                <a:gd name="connsiteY0" fmla="*/ 122364 h 122364"/>
                <a:gd name="connsiteX1" fmla="*/ 0 w 6350"/>
                <a:gd name="connsiteY1" fmla="*/ 0 h 122364"/>
              </a:gdLst>
              <a:ahLst/>
              <a:cxnLst>
                <a:cxn ang="0">
                  <a:pos x="connsiteX0" y="connsiteY0"/>
                </a:cxn>
                <a:cxn ang="0">
                  <a:pos x="connsiteX1" y="connsiteY1"/>
                </a:cxn>
              </a:cxnLst>
              <a:rect l="l" t="t" r="r" b="b"/>
              <a:pathLst>
                <a:path w="6350" h="122364">
                  <a:moveTo>
                    <a:pt x="0" y="122364"/>
                  </a:moveTo>
                  <a:lnTo>
                    <a:pt x="0" y="0"/>
                  </a:lnTo>
                </a:path>
              </a:pathLst>
            </a:custGeom>
            <a:ln w="19050" cap="flat">
              <a:solidFill>
                <a:srgbClr val="6FBE4A"/>
              </a:solid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63" name="Freeform: Shape 62">
              <a:extLst>
                <a:ext uri="{FF2B5EF4-FFF2-40B4-BE49-F238E27FC236}">
                  <a16:creationId xmlns:a16="http://schemas.microsoft.com/office/drawing/2014/main" id="{A1872235-911B-47B8-8050-8E592E13782F}"/>
                </a:ext>
              </a:extLst>
            </p:cNvPr>
            <p:cNvSpPr/>
            <p:nvPr userDrawn="1"/>
          </p:nvSpPr>
          <p:spPr>
            <a:xfrm rot="5400000" flipH="1">
              <a:off x="5839080" y="187847"/>
              <a:ext cx="43688" cy="43687"/>
            </a:xfrm>
            <a:custGeom>
              <a:avLst/>
              <a:gdLst>
                <a:gd name="connsiteX0" fmla="*/ 0 w 43688"/>
                <a:gd name="connsiteY0" fmla="*/ 0 h 43687"/>
                <a:gd name="connsiteX1" fmla="*/ 43688 w 43688"/>
                <a:gd name="connsiteY1" fmla="*/ 0 h 43687"/>
                <a:gd name="connsiteX2" fmla="*/ 43688 w 43688"/>
                <a:gd name="connsiteY2" fmla="*/ 43688 h 43687"/>
                <a:gd name="connsiteX3" fmla="*/ 0 w 43688"/>
                <a:gd name="connsiteY3" fmla="*/ 43688 h 43687"/>
              </a:gdLst>
              <a:ahLst/>
              <a:cxnLst>
                <a:cxn ang="0">
                  <a:pos x="connsiteX0" y="connsiteY0"/>
                </a:cxn>
                <a:cxn ang="0">
                  <a:pos x="connsiteX1" y="connsiteY1"/>
                </a:cxn>
                <a:cxn ang="0">
                  <a:pos x="connsiteX2" y="connsiteY2"/>
                </a:cxn>
                <a:cxn ang="0">
                  <a:pos x="connsiteX3" y="connsiteY3"/>
                </a:cxn>
              </a:cxnLst>
              <a:rect l="l" t="t" r="r" b="b"/>
              <a:pathLst>
                <a:path w="43688" h="43687">
                  <a:moveTo>
                    <a:pt x="0" y="0"/>
                  </a:moveTo>
                  <a:lnTo>
                    <a:pt x="43688" y="0"/>
                  </a:lnTo>
                  <a:lnTo>
                    <a:pt x="43688" y="43688"/>
                  </a:lnTo>
                  <a:lnTo>
                    <a:pt x="0" y="43688"/>
                  </a:lnTo>
                  <a:close/>
                </a:path>
              </a:pathLst>
            </a:custGeom>
            <a:noFill/>
            <a:ln w="3175" cap="flat">
              <a:solidFill>
                <a:srgbClr val="B3B3B3"/>
              </a:solid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64" name="Freeform: Shape 63">
              <a:extLst>
                <a:ext uri="{FF2B5EF4-FFF2-40B4-BE49-F238E27FC236}">
                  <a16:creationId xmlns:a16="http://schemas.microsoft.com/office/drawing/2014/main" id="{DF132B46-A4BE-4B5A-8EC2-40AF06B0B9F1}"/>
                </a:ext>
              </a:extLst>
            </p:cNvPr>
            <p:cNvSpPr/>
            <p:nvPr userDrawn="1"/>
          </p:nvSpPr>
          <p:spPr>
            <a:xfrm rot="5400000" flipH="1">
              <a:off x="5824887" y="232582"/>
              <a:ext cx="254063" cy="6350"/>
            </a:xfrm>
            <a:custGeom>
              <a:avLst/>
              <a:gdLst>
                <a:gd name="connsiteX0" fmla="*/ 0 w 254063"/>
                <a:gd name="connsiteY0" fmla="*/ 0 h 6350"/>
                <a:gd name="connsiteX1" fmla="*/ 254064 w 254063"/>
                <a:gd name="connsiteY1" fmla="*/ 0 h 6350"/>
              </a:gdLst>
              <a:ahLst/>
              <a:cxnLst>
                <a:cxn ang="0">
                  <a:pos x="connsiteX0" y="connsiteY0"/>
                </a:cxn>
                <a:cxn ang="0">
                  <a:pos x="connsiteX1" y="connsiteY1"/>
                </a:cxn>
              </a:cxnLst>
              <a:rect l="l" t="t" r="r" b="b"/>
              <a:pathLst>
                <a:path w="254063" h="6350">
                  <a:moveTo>
                    <a:pt x="0" y="0"/>
                  </a:moveTo>
                  <a:lnTo>
                    <a:pt x="254064" y="0"/>
                  </a:lnTo>
                </a:path>
              </a:pathLst>
            </a:custGeom>
            <a:ln w="19050" cap="flat">
              <a:solidFill>
                <a:srgbClr val="6FBE4A"/>
              </a:solid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grpSp>
          <p:nvGrpSpPr>
            <p:cNvPr id="65" name="Graphic 42">
              <a:extLst>
                <a:ext uri="{FF2B5EF4-FFF2-40B4-BE49-F238E27FC236}">
                  <a16:creationId xmlns:a16="http://schemas.microsoft.com/office/drawing/2014/main" id="{46262E16-46F5-4AA1-B76D-0A7704A23781}"/>
                </a:ext>
              </a:extLst>
            </p:cNvPr>
            <p:cNvGrpSpPr/>
            <p:nvPr userDrawn="1"/>
          </p:nvGrpSpPr>
          <p:grpSpPr>
            <a:xfrm rot="5400000" flipH="1">
              <a:off x="5485925" y="3580111"/>
              <a:ext cx="895032" cy="66548"/>
              <a:chOff x="7926578" y="441451"/>
              <a:chExt cx="895032" cy="66548"/>
            </a:xfrm>
            <a:solidFill>
              <a:srgbClr val="75BF43">
                <a:alpha val="57000"/>
              </a:srgbClr>
            </a:solidFill>
          </p:grpSpPr>
          <p:sp>
            <p:nvSpPr>
              <p:cNvPr id="82" name="Freeform: Shape 81">
                <a:extLst>
                  <a:ext uri="{FF2B5EF4-FFF2-40B4-BE49-F238E27FC236}">
                    <a16:creationId xmlns:a16="http://schemas.microsoft.com/office/drawing/2014/main" id="{8D267C4D-17F7-4C39-BBD4-3D66066F6FE0}"/>
                  </a:ext>
                </a:extLst>
              </p:cNvPr>
              <p:cNvSpPr/>
              <p:nvPr/>
            </p:nvSpPr>
            <p:spPr>
              <a:xfrm>
                <a:off x="8479726"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83" name="Freeform: Shape 82">
                <a:extLst>
                  <a:ext uri="{FF2B5EF4-FFF2-40B4-BE49-F238E27FC236}">
                    <a16:creationId xmlns:a16="http://schemas.microsoft.com/office/drawing/2014/main" id="{761D1A02-D2E1-4370-AF43-F76B14915843}"/>
                  </a:ext>
                </a:extLst>
              </p:cNvPr>
              <p:cNvSpPr/>
              <p:nvPr/>
            </p:nvSpPr>
            <p:spPr>
              <a:xfrm>
                <a:off x="8437181"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5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5"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84" name="Freeform: Shape 83">
                <a:extLst>
                  <a:ext uri="{FF2B5EF4-FFF2-40B4-BE49-F238E27FC236}">
                    <a16:creationId xmlns:a16="http://schemas.microsoft.com/office/drawing/2014/main" id="{B7FB1973-B26D-49BE-807B-94562EF98491}"/>
                  </a:ext>
                </a:extLst>
              </p:cNvPr>
              <p:cNvSpPr/>
              <p:nvPr/>
            </p:nvSpPr>
            <p:spPr>
              <a:xfrm>
                <a:off x="8394636" y="441451"/>
                <a:ext cx="89281" cy="66548"/>
              </a:xfrm>
              <a:custGeom>
                <a:avLst/>
                <a:gdLst>
                  <a:gd name="connsiteX0" fmla="*/ 68707 w 89281"/>
                  <a:gd name="connsiteY0" fmla="*/ 0 h 66548"/>
                  <a:gd name="connsiteX1" fmla="*/ 0 w 89281"/>
                  <a:gd name="connsiteY1" fmla="*/ 66548 h 66548"/>
                  <a:gd name="connsiteX2" fmla="*/ 20574 w 89281"/>
                  <a:gd name="connsiteY2" fmla="*/ 66548 h 66548"/>
                  <a:gd name="connsiteX3" fmla="*/ 89281 w 89281"/>
                  <a:gd name="connsiteY3" fmla="*/ 0 h 66548"/>
                </a:gdLst>
                <a:ahLst/>
                <a:cxnLst>
                  <a:cxn ang="0">
                    <a:pos x="connsiteX0" y="connsiteY0"/>
                  </a:cxn>
                  <a:cxn ang="0">
                    <a:pos x="connsiteX1" y="connsiteY1"/>
                  </a:cxn>
                  <a:cxn ang="0">
                    <a:pos x="connsiteX2" y="connsiteY2"/>
                  </a:cxn>
                  <a:cxn ang="0">
                    <a:pos x="connsiteX3" y="connsiteY3"/>
                  </a:cxn>
                </a:cxnLst>
                <a:rect l="l" t="t" r="r" b="b"/>
                <a:pathLst>
                  <a:path w="89281" h="66548">
                    <a:moveTo>
                      <a:pt x="68707" y="0"/>
                    </a:moveTo>
                    <a:lnTo>
                      <a:pt x="0" y="66548"/>
                    </a:lnTo>
                    <a:lnTo>
                      <a:pt x="20574" y="66548"/>
                    </a:lnTo>
                    <a:lnTo>
                      <a:pt x="89281"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85" name="Freeform: Shape 84">
                <a:extLst>
                  <a:ext uri="{FF2B5EF4-FFF2-40B4-BE49-F238E27FC236}">
                    <a16:creationId xmlns:a16="http://schemas.microsoft.com/office/drawing/2014/main" id="{28790BCE-1A2F-4455-9398-979CFA962EEB}"/>
                  </a:ext>
                </a:extLst>
              </p:cNvPr>
              <p:cNvSpPr/>
              <p:nvPr/>
            </p:nvSpPr>
            <p:spPr>
              <a:xfrm>
                <a:off x="8352091" y="441451"/>
                <a:ext cx="89280" cy="66548"/>
              </a:xfrm>
              <a:custGeom>
                <a:avLst/>
                <a:gdLst>
                  <a:gd name="connsiteX0" fmla="*/ 68707 w 89280"/>
                  <a:gd name="connsiteY0" fmla="*/ 0 h 66548"/>
                  <a:gd name="connsiteX1" fmla="*/ 0 w 89280"/>
                  <a:gd name="connsiteY1" fmla="*/ 66548 h 66548"/>
                  <a:gd name="connsiteX2" fmla="*/ 20574 w 89280"/>
                  <a:gd name="connsiteY2" fmla="*/ 66548 h 66548"/>
                  <a:gd name="connsiteX3" fmla="*/ 89281 w 89280"/>
                  <a:gd name="connsiteY3" fmla="*/ 0 h 66548"/>
                </a:gdLst>
                <a:ahLst/>
                <a:cxnLst>
                  <a:cxn ang="0">
                    <a:pos x="connsiteX0" y="connsiteY0"/>
                  </a:cxn>
                  <a:cxn ang="0">
                    <a:pos x="connsiteX1" y="connsiteY1"/>
                  </a:cxn>
                  <a:cxn ang="0">
                    <a:pos x="connsiteX2" y="connsiteY2"/>
                  </a:cxn>
                  <a:cxn ang="0">
                    <a:pos x="connsiteX3" y="connsiteY3"/>
                  </a:cxn>
                </a:cxnLst>
                <a:rect l="l" t="t" r="r" b="b"/>
                <a:pathLst>
                  <a:path w="89280" h="66548">
                    <a:moveTo>
                      <a:pt x="68707" y="0"/>
                    </a:moveTo>
                    <a:lnTo>
                      <a:pt x="0" y="66548"/>
                    </a:lnTo>
                    <a:lnTo>
                      <a:pt x="20574" y="66548"/>
                    </a:lnTo>
                    <a:lnTo>
                      <a:pt x="89281"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86" name="Freeform: Shape 85">
                <a:extLst>
                  <a:ext uri="{FF2B5EF4-FFF2-40B4-BE49-F238E27FC236}">
                    <a16:creationId xmlns:a16="http://schemas.microsoft.com/office/drawing/2014/main" id="{07CF01A5-76D0-443F-B853-B3E6ABD28894}"/>
                  </a:ext>
                </a:extLst>
              </p:cNvPr>
              <p:cNvSpPr/>
              <p:nvPr/>
            </p:nvSpPr>
            <p:spPr>
              <a:xfrm>
                <a:off x="8139303"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87" name="Freeform: Shape 86">
                <a:extLst>
                  <a:ext uri="{FF2B5EF4-FFF2-40B4-BE49-F238E27FC236}">
                    <a16:creationId xmlns:a16="http://schemas.microsoft.com/office/drawing/2014/main" id="{E2B9AF3D-585E-4458-82FF-6D6F42A2D8D3}"/>
                  </a:ext>
                </a:extLst>
              </p:cNvPr>
              <p:cNvSpPr/>
              <p:nvPr/>
            </p:nvSpPr>
            <p:spPr>
              <a:xfrm>
                <a:off x="8181847"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5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5"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88" name="Freeform: Shape 87">
                <a:extLst>
                  <a:ext uri="{FF2B5EF4-FFF2-40B4-BE49-F238E27FC236}">
                    <a16:creationId xmlns:a16="http://schemas.microsoft.com/office/drawing/2014/main" id="{F135D2F3-9B53-4DF3-84DD-20FEDAC316C4}"/>
                  </a:ext>
                </a:extLst>
              </p:cNvPr>
              <p:cNvSpPr/>
              <p:nvPr/>
            </p:nvSpPr>
            <p:spPr>
              <a:xfrm>
                <a:off x="8267001" y="441451"/>
                <a:ext cx="89280" cy="66548"/>
              </a:xfrm>
              <a:custGeom>
                <a:avLst/>
                <a:gdLst>
                  <a:gd name="connsiteX0" fmla="*/ 68643 w 89280"/>
                  <a:gd name="connsiteY0" fmla="*/ 0 h 66548"/>
                  <a:gd name="connsiteX1" fmla="*/ 0 w 89280"/>
                  <a:gd name="connsiteY1" fmla="*/ 66548 h 66548"/>
                  <a:gd name="connsiteX2" fmla="*/ 20574 w 89280"/>
                  <a:gd name="connsiteY2" fmla="*/ 66548 h 66548"/>
                  <a:gd name="connsiteX3" fmla="*/ 89281 w 89280"/>
                  <a:gd name="connsiteY3" fmla="*/ 0 h 66548"/>
                </a:gdLst>
                <a:ahLst/>
                <a:cxnLst>
                  <a:cxn ang="0">
                    <a:pos x="connsiteX0" y="connsiteY0"/>
                  </a:cxn>
                  <a:cxn ang="0">
                    <a:pos x="connsiteX1" y="connsiteY1"/>
                  </a:cxn>
                  <a:cxn ang="0">
                    <a:pos x="connsiteX2" y="connsiteY2"/>
                  </a:cxn>
                  <a:cxn ang="0">
                    <a:pos x="connsiteX3" y="connsiteY3"/>
                  </a:cxn>
                </a:cxnLst>
                <a:rect l="l" t="t" r="r" b="b"/>
                <a:pathLst>
                  <a:path w="89280" h="66548">
                    <a:moveTo>
                      <a:pt x="68643" y="0"/>
                    </a:moveTo>
                    <a:lnTo>
                      <a:pt x="0" y="66548"/>
                    </a:lnTo>
                    <a:lnTo>
                      <a:pt x="20574" y="66548"/>
                    </a:lnTo>
                    <a:lnTo>
                      <a:pt x="89281"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89" name="Freeform: Shape 88">
                <a:extLst>
                  <a:ext uri="{FF2B5EF4-FFF2-40B4-BE49-F238E27FC236}">
                    <a16:creationId xmlns:a16="http://schemas.microsoft.com/office/drawing/2014/main" id="{CC275E23-A864-4ADA-93D6-5EDEF8DE705D}"/>
                  </a:ext>
                </a:extLst>
              </p:cNvPr>
              <p:cNvSpPr/>
              <p:nvPr/>
            </p:nvSpPr>
            <p:spPr>
              <a:xfrm>
                <a:off x="8224393"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90" name="Freeform: Shape 89">
                <a:extLst>
                  <a:ext uri="{FF2B5EF4-FFF2-40B4-BE49-F238E27FC236}">
                    <a16:creationId xmlns:a16="http://schemas.microsoft.com/office/drawing/2014/main" id="{E6375D51-FE4B-4033-BD62-0DD5064071C1}"/>
                  </a:ext>
                </a:extLst>
              </p:cNvPr>
              <p:cNvSpPr/>
              <p:nvPr/>
            </p:nvSpPr>
            <p:spPr>
              <a:xfrm>
                <a:off x="8309546" y="441451"/>
                <a:ext cx="89281" cy="66548"/>
              </a:xfrm>
              <a:custGeom>
                <a:avLst/>
                <a:gdLst>
                  <a:gd name="connsiteX0" fmla="*/ 68644 w 89281"/>
                  <a:gd name="connsiteY0" fmla="*/ 0 h 66548"/>
                  <a:gd name="connsiteX1" fmla="*/ 0 w 89281"/>
                  <a:gd name="connsiteY1" fmla="*/ 66548 h 66548"/>
                  <a:gd name="connsiteX2" fmla="*/ 20574 w 89281"/>
                  <a:gd name="connsiteY2" fmla="*/ 66548 h 66548"/>
                  <a:gd name="connsiteX3" fmla="*/ 89281 w 89281"/>
                  <a:gd name="connsiteY3" fmla="*/ 0 h 66548"/>
                </a:gdLst>
                <a:ahLst/>
                <a:cxnLst>
                  <a:cxn ang="0">
                    <a:pos x="connsiteX0" y="connsiteY0"/>
                  </a:cxn>
                  <a:cxn ang="0">
                    <a:pos x="connsiteX1" y="connsiteY1"/>
                  </a:cxn>
                  <a:cxn ang="0">
                    <a:pos x="connsiteX2" y="connsiteY2"/>
                  </a:cxn>
                  <a:cxn ang="0">
                    <a:pos x="connsiteX3" y="connsiteY3"/>
                  </a:cxn>
                </a:cxnLst>
                <a:rect l="l" t="t" r="r" b="b"/>
                <a:pathLst>
                  <a:path w="89281" h="66548">
                    <a:moveTo>
                      <a:pt x="68644" y="0"/>
                    </a:moveTo>
                    <a:lnTo>
                      <a:pt x="0" y="66548"/>
                    </a:lnTo>
                    <a:lnTo>
                      <a:pt x="20574" y="66548"/>
                    </a:lnTo>
                    <a:lnTo>
                      <a:pt x="89281"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91" name="Freeform: Shape 90">
                <a:extLst>
                  <a:ext uri="{FF2B5EF4-FFF2-40B4-BE49-F238E27FC236}">
                    <a16:creationId xmlns:a16="http://schemas.microsoft.com/office/drawing/2014/main" id="{B6C6C0CD-A604-438E-8D88-066E333C2977}"/>
                  </a:ext>
                </a:extLst>
              </p:cNvPr>
              <p:cNvSpPr/>
              <p:nvPr/>
            </p:nvSpPr>
            <p:spPr>
              <a:xfrm>
                <a:off x="8522271"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5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5"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92" name="Freeform: Shape 91">
                <a:extLst>
                  <a:ext uri="{FF2B5EF4-FFF2-40B4-BE49-F238E27FC236}">
                    <a16:creationId xmlns:a16="http://schemas.microsoft.com/office/drawing/2014/main" id="{8D479109-6DB0-49C3-AB38-D55B446F8F86}"/>
                  </a:ext>
                </a:extLst>
              </p:cNvPr>
              <p:cNvSpPr/>
              <p:nvPr/>
            </p:nvSpPr>
            <p:spPr>
              <a:xfrm>
                <a:off x="8693975"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93" name="Freeform: Shape 92">
                <a:extLst>
                  <a:ext uri="{FF2B5EF4-FFF2-40B4-BE49-F238E27FC236}">
                    <a16:creationId xmlns:a16="http://schemas.microsoft.com/office/drawing/2014/main" id="{6E62C9AB-022D-489B-A496-77D465DD7ED0}"/>
                  </a:ext>
                </a:extLst>
              </p:cNvPr>
              <p:cNvSpPr/>
              <p:nvPr/>
            </p:nvSpPr>
            <p:spPr>
              <a:xfrm>
                <a:off x="8821610" y="508000"/>
                <a:ext cx="6350" cy="6350"/>
              </a:xfrm>
              <a:custGeom>
                <a:avLst/>
                <a:gdLst>
                  <a:gd name="connsiteX0" fmla="*/ 0 w 6350"/>
                  <a:gd name="connsiteY0" fmla="*/ 0 h 6350"/>
                  <a:gd name="connsiteX1" fmla="*/ 0 w 6350"/>
                  <a:gd name="connsiteY1" fmla="*/ 0 h 6350"/>
                  <a:gd name="connsiteX2" fmla="*/ 0 w 6350"/>
                  <a:gd name="connsiteY2" fmla="*/ 0 h 6350"/>
                </a:gdLst>
                <a:ahLst/>
                <a:cxnLst>
                  <a:cxn ang="0">
                    <a:pos x="connsiteX0" y="connsiteY0"/>
                  </a:cxn>
                  <a:cxn ang="0">
                    <a:pos x="connsiteX1" y="connsiteY1"/>
                  </a:cxn>
                  <a:cxn ang="0">
                    <a:pos x="connsiteX2" y="connsiteY2"/>
                  </a:cxn>
                </a:cxnLst>
                <a:rect l="l" t="t" r="r" b="b"/>
                <a:pathLst>
                  <a:path w="6350" h="6350">
                    <a:moveTo>
                      <a:pt x="0" y="0"/>
                    </a:moveTo>
                    <a:lnTo>
                      <a:pt x="0" y="0"/>
                    </a:lnTo>
                    <a:lnTo>
                      <a:pt x="0"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94" name="Freeform: Shape 93">
                <a:extLst>
                  <a:ext uri="{FF2B5EF4-FFF2-40B4-BE49-F238E27FC236}">
                    <a16:creationId xmlns:a16="http://schemas.microsoft.com/office/drawing/2014/main" id="{51DEDD2C-6313-4BBA-BF2C-B48404513035}"/>
                  </a:ext>
                </a:extLst>
              </p:cNvPr>
              <p:cNvSpPr/>
              <p:nvPr/>
            </p:nvSpPr>
            <p:spPr>
              <a:xfrm>
                <a:off x="8564816" y="441451"/>
                <a:ext cx="90868" cy="66548"/>
              </a:xfrm>
              <a:custGeom>
                <a:avLst/>
                <a:gdLst>
                  <a:gd name="connsiteX0" fmla="*/ 68707 w 90868"/>
                  <a:gd name="connsiteY0" fmla="*/ 0 h 66548"/>
                  <a:gd name="connsiteX1" fmla="*/ 0 w 90868"/>
                  <a:gd name="connsiteY1" fmla="*/ 66548 h 66548"/>
                  <a:gd name="connsiteX2" fmla="*/ 22161 w 90868"/>
                  <a:gd name="connsiteY2" fmla="*/ 66548 h 66548"/>
                  <a:gd name="connsiteX3" fmla="*/ 90868 w 90868"/>
                  <a:gd name="connsiteY3" fmla="*/ 0 h 66548"/>
                </a:gdLst>
                <a:ahLst/>
                <a:cxnLst>
                  <a:cxn ang="0">
                    <a:pos x="connsiteX0" y="connsiteY0"/>
                  </a:cxn>
                  <a:cxn ang="0">
                    <a:pos x="connsiteX1" y="connsiteY1"/>
                  </a:cxn>
                  <a:cxn ang="0">
                    <a:pos x="connsiteX2" y="connsiteY2"/>
                  </a:cxn>
                  <a:cxn ang="0">
                    <a:pos x="connsiteX3" y="connsiteY3"/>
                  </a:cxn>
                </a:cxnLst>
                <a:rect l="l" t="t" r="r" b="b"/>
                <a:pathLst>
                  <a:path w="90868" h="66548">
                    <a:moveTo>
                      <a:pt x="68707" y="0"/>
                    </a:moveTo>
                    <a:lnTo>
                      <a:pt x="0" y="66548"/>
                    </a:lnTo>
                    <a:lnTo>
                      <a:pt x="22161" y="66548"/>
                    </a:lnTo>
                    <a:lnTo>
                      <a:pt x="90868"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95" name="Freeform: Shape 94">
                <a:extLst>
                  <a:ext uri="{FF2B5EF4-FFF2-40B4-BE49-F238E27FC236}">
                    <a16:creationId xmlns:a16="http://schemas.microsoft.com/office/drawing/2014/main" id="{63547A99-99CF-40B0-AC54-A09C351E7EBD}"/>
                  </a:ext>
                </a:extLst>
              </p:cNvPr>
              <p:cNvSpPr/>
              <p:nvPr/>
            </p:nvSpPr>
            <p:spPr>
              <a:xfrm>
                <a:off x="8651430"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96" name="Freeform: Shape 95">
                <a:extLst>
                  <a:ext uri="{FF2B5EF4-FFF2-40B4-BE49-F238E27FC236}">
                    <a16:creationId xmlns:a16="http://schemas.microsoft.com/office/drawing/2014/main" id="{62E9619F-2DC2-45F2-9CE3-8D7A1DB7F9D6}"/>
                  </a:ext>
                </a:extLst>
              </p:cNvPr>
              <p:cNvSpPr/>
              <p:nvPr/>
            </p:nvSpPr>
            <p:spPr>
              <a:xfrm>
                <a:off x="8608885"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5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5"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97" name="Freeform: Shape 96">
                <a:extLst>
                  <a:ext uri="{FF2B5EF4-FFF2-40B4-BE49-F238E27FC236}">
                    <a16:creationId xmlns:a16="http://schemas.microsoft.com/office/drawing/2014/main" id="{445EA573-CE75-4E5A-BEDB-226A1D190A61}"/>
                  </a:ext>
                </a:extLst>
              </p:cNvPr>
              <p:cNvSpPr/>
              <p:nvPr/>
            </p:nvSpPr>
            <p:spPr>
              <a:xfrm>
                <a:off x="8096757"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5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5"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98" name="Freeform: Shape 97">
                <a:extLst>
                  <a:ext uri="{FF2B5EF4-FFF2-40B4-BE49-F238E27FC236}">
                    <a16:creationId xmlns:a16="http://schemas.microsoft.com/office/drawing/2014/main" id="{F8B37F39-FCE2-44C2-8BB7-DD3FF3CE5B27}"/>
                  </a:ext>
                </a:extLst>
              </p:cNvPr>
              <p:cNvSpPr/>
              <p:nvPr/>
            </p:nvSpPr>
            <p:spPr>
              <a:xfrm>
                <a:off x="8011668"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99" name="Freeform: Shape 98">
                <a:extLst>
                  <a:ext uri="{FF2B5EF4-FFF2-40B4-BE49-F238E27FC236}">
                    <a16:creationId xmlns:a16="http://schemas.microsoft.com/office/drawing/2014/main" id="{6BC8E02B-2403-4B3B-A133-633F63B8440D}"/>
                  </a:ext>
                </a:extLst>
              </p:cNvPr>
              <p:cNvSpPr/>
              <p:nvPr/>
            </p:nvSpPr>
            <p:spPr>
              <a:xfrm>
                <a:off x="8054213"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100" name="Freeform: Shape 99">
                <a:extLst>
                  <a:ext uri="{FF2B5EF4-FFF2-40B4-BE49-F238E27FC236}">
                    <a16:creationId xmlns:a16="http://schemas.microsoft.com/office/drawing/2014/main" id="{5E94E02B-5111-4986-B1CF-C6ECAD973AEC}"/>
                  </a:ext>
                </a:extLst>
              </p:cNvPr>
              <p:cNvSpPr/>
              <p:nvPr/>
            </p:nvSpPr>
            <p:spPr>
              <a:xfrm>
                <a:off x="7969122"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5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5"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101" name="Freeform: Shape 100">
                <a:extLst>
                  <a:ext uri="{FF2B5EF4-FFF2-40B4-BE49-F238E27FC236}">
                    <a16:creationId xmlns:a16="http://schemas.microsoft.com/office/drawing/2014/main" id="{85358E97-752A-4307-AD31-797C559E7A78}"/>
                  </a:ext>
                </a:extLst>
              </p:cNvPr>
              <p:cNvSpPr/>
              <p:nvPr/>
            </p:nvSpPr>
            <p:spPr>
              <a:xfrm>
                <a:off x="7926578"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grpSp>
        <p:grpSp>
          <p:nvGrpSpPr>
            <p:cNvPr id="66" name="Group 65">
              <a:extLst>
                <a:ext uri="{FF2B5EF4-FFF2-40B4-BE49-F238E27FC236}">
                  <a16:creationId xmlns:a16="http://schemas.microsoft.com/office/drawing/2014/main" id="{A548A88A-6E68-4D76-9B4D-430B1580BD5C}"/>
                </a:ext>
              </a:extLst>
            </p:cNvPr>
            <p:cNvGrpSpPr/>
            <p:nvPr userDrawn="1"/>
          </p:nvGrpSpPr>
          <p:grpSpPr>
            <a:xfrm rot="10800000">
              <a:off x="5862067" y="2566874"/>
              <a:ext cx="73151" cy="522033"/>
              <a:chOff x="5390750" y="3681616"/>
              <a:chExt cx="73151" cy="522033"/>
            </a:xfrm>
          </p:grpSpPr>
          <p:sp>
            <p:nvSpPr>
              <p:cNvPr id="75" name="Freeform: Shape 74">
                <a:extLst>
                  <a:ext uri="{FF2B5EF4-FFF2-40B4-BE49-F238E27FC236}">
                    <a16:creationId xmlns:a16="http://schemas.microsoft.com/office/drawing/2014/main" id="{47C3934B-FC7E-4798-9FC8-5815079C7AFD}"/>
                  </a:ext>
                </a:extLst>
              </p:cNvPr>
              <p:cNvSpPr/>
              <p:nvPr/>
            </p:nvSpPr>
            <p:spPr>
              <a:xfrm rot="16200000" flipH="1">
                <a:off x="5405100" y="3681616"/>
                <a:ext cx="43688" cy="43687"/>
              </a:xfrm>
              <a:custGeom>
                <a:avLst/>
                <a:gdLst>
                  <a:gd name="connsiteX0" fmla="*/ 0 w 43688"/>
                  <a:gd name="connsiteY0" fmla="*/ 0 h 43687"/>
                  <a:gd name="connsiteX1" fmla="*/ 43688 w 43688"/>
                  <a:gd name="connsiteY1" fmla="*/ 0 h 43687"/>
                  <a:gd name="connsiteX2" fmla="*/ 43688 w 43688"/>
                  <a:gd name="connsiteY2" fmla="*/ 43688 h 43687"/>
                  <a:gd name="connsiteX3" fmla="*/ 0 w 43688"/>
                  <a:gd name="connsiteY3" fmla="*/ 43688 h 43687"/>
                </a:gdLst>
                <a:ahLst/>
                <a:cxnLst>
                  <a:cxn ang="0">
                    <a:pos x="connsiteX0" y="connsiteY0"/>
                  </a:cxn>
                  <a:cxn ang="0">
                    <a:pos x="connsiteX1" y="connsiteY1"/>
                  </a:cxn>
                  <a:cxn ang="0">
                    <a:pos x="connsiteX2" y="connsiteY2"/>
                  </a:cxn>
                  <a:cxn ang="0">
                    <a:pos x="connsiteX3" y="connsiteY3"/>
                  </a:cxn>
                </a:cxnLst>
                <a:rect l="l" t="t" r="r" b="b"/>
                <a:pathLst>
                  <a:path w="43688" h="43687">
                    <a:moveTo>
                      <a:pt x="0" y="0"/>
                    </a:moveTo>
                    <a:lnTo>
                      <a:pt x="43688" y="0"/>
                    </a:lnTo>
                    <a:lnTo>
                      <a:pt x="43688" y="43688"/>
                    </a:lnTo>
                    <a:lnTo>
                      <a:pt x="0" y="43688"/>
                    </a:lnTo>
                    <a:close/>
                  </a:path>
                </a:pathLst>
              </a:custGeom>
              <a:noFill/>
              <a:ln w="3175" cap="flat">
                <a:solidFill>
                  <a:schemeClr val="bg1">
                    <a:lumMod val="50000"/>
                  </a:schemeClr>
                </a:solid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76" name="Freeform: Shape 75">
                <a:extLst>
                  <a:ext uri="{FF2B5EF4-FFF2-40B4-BE49-F238E27FC236}">
                    <a16:creationId xmlns:a16="http://schemas.microsoft.com/office/drawing/2014/main" id="{3EEEEC10-DB2A-437F-9301-EE9524E1169A}"/>
                  </a:ext>
                </a:extLst>
              </p:cNvPr>
              <p:cNvSpPr/>
              <p:nvPr/>
            </p:nvSpPr>
            <p:spPr>
              <a:xfrm rot="16200000" flipH="1">
                <a:off x="5426469" y="4081062"/>
                <a:ext cx="4381" cy="41656"/>
              </a:xfrm>
              <a:custGeom>
                <a:avLst/>
                <a:gdLst>
                  <a:gd name="connsiteX0" fmla="*/ 0 w 4381"/>
                  <a:gd name="connsiteY0" fmla="*/ 0 h 41656"/>
                  <a:gd name="connsiteX1" fmla="*/ 4381 w 4381"/>
                  <a:gd name="connsiteY1" fmla="*/ 0 h 41656"/>
                  <a:gd name="connsiteX2" fmla="*/ 4381 w 4381"/>
                  <a:gd name="connsiteY2" fmla="*/ 41656 h 41656"/>
                  <a:gd name="connsiteX3" fmla="*/ 0 w 4381"/>
                  <a:gd name="connsiteY3" fmla="*/ 41656 h 41656"/>
                </a:gdLst>
                <a:ahLst/>
                <a:cxnLst>
                  <a:cxn ang="0">
                    <a:pos x="connsiteX0" y="connsiteY0"/>
                  </a:cxn>
                  <a:cxn ang="0">
                    <a:pos x="connsiteX1" y="connsiteY1"/>
                  </a:cxn>
                  <a:cxn ang="0">
                    <a:pos x="connsiteX2" y="connsiteY2"/>
                  </a:cxn>
                  <a:cxn ang="0">
                    <a:pos x="connsiteX3" y="connsiteY3"/>
                  </a:cxn>
                </a:cxnLst>
                <a:rect l="l" t="t" r="r" b="b"/>
                <a:pathLst>
                  <a:path w="4381" h="41656">
                    <a:moveTo>
                      <a:pt x="0" y="0"/>
                    </a:moveTo>
                    <a:lnTo>
                      <a:pt x="4381" y="0"/>
                    </a:lnTo>
                    <a:lnTo>
                      <a:pt x="4381" y="41656"/>
                    </a:lnTo>
                    <a:lnTo>
                      <a:pt x="0" y="41656"/>
                    </a:lnTo>
                    <a:close/>
                  </a:path>
                </a:pathLst>
              </a:custGeom>
              <a:solidFill>
                <a:schemeClr val="bg1">
                  <a:lumMod val="50000"/>
                </a:schemeClr>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77" name="Freeform: Shape 76">
                <a:extLst>
                  <a:ext uri="{FF2B5EF4-FFF2-40B4-BE49-F238E27FC236}">
                    <a16:creationId xmlns:a16="http://schemas.microsoft.com/office/drawing/2014/main" id="{BD273B99-3244-412A-A286-CD68527AF4BF}"/>
                  </a:ext>
                </a:extLst>
              </p:cNvPr>
              <p:cNvSpPr/>
              <p:nvPr/>
            </p:nvSpPr>
            <p:spPr>
              <a:xfrm rot="16200000" flipH="1">
                <a:off x="5426469" y="4021394"/>
                <a:ext cx="4381" cy="41656"/>
              </a:xfrm>
              <a:custGeom>
                <a:avLst/>
                <a:gdLst>
                  <a:gd name="connsiteX0" fmla="*/ 0 w 4381"/>
                  <a:gd name="connsiteY0" fmla="*/ 0 h 41656"/>
                  <a:gd name="connsiteX1" fmla="*/ 4381 w 4381"/>
                  <a:gd name="connsiteY1" fmla="*/ 0 h 41656"/>
                  <a:gd name="connsiteX2" fmla="*/ 4381 w 4381"/>
                  <a:gd name="connsiteY2" fmla="*/ 41656 h 41656"/>
                  <a:gd name="connsiteX3" fmla="*/ 0 w 4381"/>
                  <a:gd name="connsiteY3" fmla="*/ 41656 h 41656"/>
                </a:gdLst>
                <a:ahLst/>
                <a:cxnLst>
                  <a:cxn ang="0">
                    <a:pos x="connsiteX0" y="connsiteY0"/>
                  </a:cxn>
                  <a:cxn ang="0">
                    <a:pos x="connsiteX1" y="connsiteY1"/>
                  </a:cxn>
                  <a:cxn ang="0">
                    <a:pos x="connsiteX2" y="connsiteY2"/>
                  </a:cxn>
                  <a:cxn ang="0">
                    <a:pos x="connsiteX3" y="connsiteY3"/>
                  </a:cxn>
                </a:cxnLst>
                <a:rect l="l" t="t" r="r" b="b"/>
                <a:pathLst>
                  <a:path w="4381" h="41656">
                    <a:moveTo>
                      <a:pt x="0" y="0"/>
                    </a:moveTo>
                    <a:lnTo>
                      <a:pt x="4381" y="0"/>
                    </a:lnTo>
                    <a:lnTo>
                      <a:pt x="4381" y="41656"/>
                    </a:lnTo>
                    <a:lnTo>
                      <a:pt x="0" y="41656"/>
                    </a:lnTo>
                    <a:close/>
                  </a:path>
                </a:pathLst>
              </a:custGeom>
              <a:solidFill>
                <a:schemeClr val="bg1">
                  <a:lumMod val="50000"/>
                </a:schemeClr>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78" name="Freeform: Shape 77">
                <a:extLst>
                  <a:ext uri="{FF2B5EF4-FFF2-40B4-BE49-F238E27FC236}">
                    <a16:creationId xmlns:a16="http://schemas.microsoft.com/office/drawing/2014/main" id="{962260D8-582A-41BA-B192-0F95A122BE14}"/>
                  </a:ext>
                </a:extLst>
              </p:cNvPr>
              <p:cNvSpPr/>
              <p:nvPr/>
            </p:nvSpPr>
            <p:spPr>
              <a:xfrm rot="16200000" flipH="1">
                <a:off x="5426469" y="3902056"/>
                <a:ext cx="4381" cy="41656"/>
              </a:xfrm>
              <a:custGeom>
                <a:avLst/>
                <a:gdLst>
                  <a:gd name="connsiteX0" fmla="*/ 0 w 4381"/>
                  <a:gd name="connsiteY0" fmla="*/ 0 h 41656"/>
                  <a:gd name="connsiteX1" fmla="*/ 4381 w 4381"/>
                  <a:gd name="connsiteY1" fmla="*/ 0 h 41656"/>
                  <a:gd name="connsiteX2" fmla="*/ 4381 w 4381"/>
                  <a:gd name="connsiteY2" fmla="*/ 41656 h 41656"/>
                  <a:gd name="connsiteX3" fmla="*/ 0 w 4381"/>
                  <a:gd name="connsiteY3" fmla="*/ 41656 h 41656"/>
                </a:gdLst>
                <a:ahLst/>
                <a:cxnLst>
                  <a:cxn ang="0">
                    <a:pos x="connsiteX0" y="connsiteY0"/>
                  </a:cxn>
                  <a:cxn ang="0">
                    <a:pos x="connsiteX1" y="connsiteY1"/>
                  </a:cxn>
                  <a:cxn ang="0">
                    <a:pos x="connsiteX2" y="connsiteY2"/>
                  </a:cxn>
                  <a:cxn ang="0">
                    <a:pos x="connsiteX3" y="connsiteY3"/>
                  </a:cxn>
                </a:cxnLst>
                <a:rect l="l" t="t" r="r" b="b"/>
                <a:pathLst>
                  <a:path w="4381" h="41656">
                    <a:moveTo>
                      <a:pt x="0" y="0"/>
                    </a:moveTo>
                    <a:lnTo>
                      <a:pt x="4381" y="0"/>
                    </a:lnTo>
                    <a:lnTo>
                      <a:pt x="4381" y="41656"/>
                    </a:lnTo>
                    <a:lnTo>
                      <a:pt x="0" y="41656"/>
                    </a:lnTo>
                    <a:close/>
                  </a:path>
                </a:pathLst>
              </a:custGeom>
              <a:solidFill>
                <a:schemeClr val="bg1">
                  <a:lumMod val="50000"/>
                </a:schemeClr>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79" name="Freeform: Shape 78">
                <a:extLst>
                  <a:ext uri="{FF2B5EF4-FFF2-40B4-BE49-F238E27FC236}">
                    <a16:creationId xmlns:a16="http://schemas.microsoft.com/office/drawing/2014/main" id="{51548AC6-032C-491B-AE9E-EC2BFBF35AF7}"/>
                  </a:ext>
                </a:extLst>
              </p:cNvPr>
              <p:cNvSpPr/>
              <p:nvPr/>
            </p:nvSpPr>
            <p:spPr>
              <a:xfrm rot="10800000" flipH="1">
                <a:off x="5407069" y="4165549"/>
                <a:ext cx="42418" cy="38100"/>
              </a:xfrm>
              <a:custGeom>
                <a:avLst/>
                <a:gdLst>
                  <a:gd name="connsiteX0" fmla="*/ 0 w 42418"/>
                  <a:gd name="connsiteY0" fmla="*/ 0 h 38100"/>
                  <a:gd name="connsiteX1" fmla="*/ 42418 w 42418"/>
                  <a:gd name="connsiteY1" fmla="*/ 0 h 38100"/>
                  <a:gd name="connsiteX2" fmla="*/ 42418 w 42418"/>
                  <a:gd name="connsiteY2" fmla="*/ 38100 h 38100"/>
                  <a:gd name="connsiteX3" fmla="*/ 0 w 42418"/>
                  <a:gd name="connsiteY3" fmla="*/ 38100 h 38100"/>
                </a:gdLst>
                <a:ahLst/>
                <a:cxnLst>
                  <a:cxn ang="0">
                    <a:pos x="connsiteX0" y="connsiteY0"/>
                  </a:cxn>
                  <a:cxn ang="0">
                    <a:pos x="connsiteX1" y="connsiteY1"/>
                  </a:cxn>
                  <a:cxn ang="0">
                    <a:pos x="connsiteX2" y="connsiteY2"/>
                  </a:cxn>
                  <a:cxn ang="0">
                    <a:pos x="connsiteX3" y="connsiteY3"/>
                  </a:cxn>
                </a:cxnLst>
                <a:rect l="l" t="t" r="r" b="b"/>
                <a:pathLst>
                  <a:path w="42418" h="38100">
                    <a:moveTo>
                      <a:pt x="0" y="0"/>
                    </a:moveTo>
                    <a:lnTo>
                      <a:pt x="42418" y="0"/>
                    </a:lnTo>
                    <a:lnTo>
                      <a:pt x="42418" y="38100"/>
                    </a:lnTo>
                    <a:lnTo>
                      <a:pt x="0" y="38100"/>
                    </a:lnTo>
                    <a:close/>
                  </a:path>
                </a:pathLst>
              </a:custGeom>
              <a:solidFill>
                <a:schemeClr val="bg1">
                  <a:lumMod val="50000"/>
                </a:schemeClr>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80" name="Freeform: Shape 79">
                <a:extLst>
                  <a:ext uri="{FF2B5EF4-FFF2-40B4-BE49-F238E27FC236}">
                    <a16:creationId xmlns:a16="http://schemas.microsoft.com/office/drawing/2014/main" id="{CD562180-9EE5-4589-897E-1D6821097E15}"/>
                  </a:ext>
                </a:extLst>
              </p:cNvPr>
              <p:cNvSpPr/>
              <p:nvPr/>
            </p:nvSpPr>
            <p:spPr>
              <a:xfrm rot="16200000" flipH="1">
                <a:off x="5407387" y="3776295"/>
                <a:ext cx="39878" cy="73151"/>
              </a:xfrm>
              <a:custGeom>
                <a:avLst/>
                <a:gdLst>
                  <a:gd name="connsiteX0" fmla="*/ 39878 w 39878"/>
                  <a:gd name="connsiteY0" fmla="*/ 38671 h 73151"/>
                  <a:gd name="connsiteX1" fmla="*/ 2413 w 39878"/>
                  <a:gd name="connsiteY1" fmla="*/ 73152 h 73151"/>
                  <a:gd name="connsiteX2" fmla="*/ 0 w 39878"/>
                  <a:gd name="connsiteY2" fmla="*/ 69913 h 73151"/>
                  <a:gd name="connsiteX3" fmla="*/ 36131 w 39878"/>
                  <a:gd name="connsiteY3" fmla="*/ 36576 h 73151"/>
                  <a:gd name="connsiteX4" fmla="*/ 0 w 39878"/>
                  <a:gd name="connsiteY4" fmla="*/ 3238 h 73151"/>
                  <a:gd name="connsiteX5" fmla="*/ 2413 w 39878"/>
                  <a:gd name="connsiteY5" fmla="*/ 0 h 73151"/>
                  <a:gd name="connsiteX6" fmla="*/ 39878 w 39878"/>
                  <a:gd name="connsiteY6" fmla="*/ 34481 h 73151"/>
                  <a:gd name="connsiteX7" fmla="*/ 39878 w 39878"/>
                  <a:gd name="connsiteY7" fmla="*/ 38671 h 731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878" h="73151">
                    <a:moveTo>
                      <a:pt x="39878" y="38671"/>
                    </a:moveTo>
                    <a:lnTo>
                      <a:pt x="2413" y="73152"/>
                    </a:lnTo>
                    <a:lnTo>
                      <a:pt x="0" y="69913"/>
                    </a:lnTo>
                    <a:lnTo>
                      <a:pt x="36131" y="36576"/>
                    </a:lnTo>
                    <a:lnTo>
                      <a:pt x="0" y="3238"/>
                    </a:lnTo>
                    <a:lnTo>
                      <a:pt x="2413" y="0"/>
                    </a:lnTo>
                    <a:lnTo>
                      <a:pt x="39878" y="34481"/>
                    </a:lnTo>
                    <a:lnTo>
                      <a:pt x="39878" y="38671"/>
                    </a:lnTo>
                    <a:close/>
                  </a:path>
                </a:pathLst>
              </a:custGeom>
              <a:solidFill>
                <a:schemeClr val="bg1">
                  <a:lumMod val="50000"/>
                </a:schemeClr>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81" name="Freeform: Shape 80">
                <a:extLst>
                  <a:ext uri="{FF2B5EF4-FFF2-40B4-BE49-F238E27FC236}">
                    <a16:creationId xmlns:a16="http://schemas.microsoft.com/office/drawing/2014/main" id="{E1BCD94F-7B45-4C14-A6E5-ED070F82587D}"/>
                  </a:ext>
                </a:extLst>
              </p:cNvPr>
              <p:cNvSpPr/>
              <p:nvPr/>
            </p:nvSpPr>
            <p:spPr>
              <a:xfrm rot="16200000" flipH="1">
                <a:off x="5426469" y="3961725"/>
                <a:ext cx="4381" cy="41656"/>
              </a:xfrm>
              <a:custGeom>
                <a:avLst/>
                <a:gdLst>
                  <a:gd name="connsiteX0" fmla="*/ 0 w 4381"/>
                  <a:gd name="connsiteY0" fmla="*/ 0 h 41656"/>
                  <a:gd name="connsiteX1" fmla="*/ 4381 w 4381"/>
                  <a:gd name="connsiteY1" fmla="*/ 0 h 41656"/>
                  <a:gd name="connsiteX2" fmla="*/ 4381 w 4381"/>
                  <a:gd name="connsiteY2" fmla="*/ 41656 h 41656"/>
                  <a:gd name="connsiteX3" fmla="*/ 0 w 4381"/>
                  <a:gd name="connsiteY3" fmla="*/ 41656 h 41656"/>
                </a:gdLst>
                <a:ahLst/>
                <a:cxnLst>
                  <a:cxn ang="0">
                    <a:pos x="connsiteX0" y="connsiteY0"/>
                  </a:cxn>
                  <a:cxn ang="0">
                    <a:pos x="connsiteX1" y="connsiteY1"/>
                  </a:cxn>
                  <a:cxn ang="0">
                    <a:pos x="connsiteX2" y="connsiteY2"/>
                  </a:cxn>
                  <a:cxn ang="0">
                    <a:pos x="connsiteX3" y="connsiteY3"/>
                  </a:cxn>
                </a:cxnLst>
                <a:rect l="l" t="t" r="r" b="b"/>
                <a:pathLst>
                  <a:path w="4381" h="41656">
                    <a:moveTo>
                      <a:pt x="0" y="0"/>
                    </a:moveTo>
                    <a:lnTo>
                      <a:pt x="4381" y="0"/>
                    </a:lnTo>
                    <a:lnTo>
                      <a:pt x="4381" y="41656"/>
                    </a:lnTo>
                    <a:lnTo>
                      <a:pt x="0" y="41656"/>
                    </a:lnTo>
                    <a:close/>
                  </a:path>
                </a:pathLst>
              </a:custGeom>
              <a:solidFill>
                <a:schemeClr val="bg1">
                  <a:lumMod val="50000"/>
                </a:schemeClr>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grpSp>
      </p:grpSp>
      <p:sp>
        <p:nvSpPr>
          <p:cNvPr id="104" name="Text Placeholder 103">
            <a:extLst>
              <a:ext uri="{FF2B5EF4-FFF2-40B4-BE49-F238E27FC236}">
                <a16:creationId xmlns:a16="http://schemas.microsoft.com/office/drawing/2014/main" id="{3F92D13C-3F81-42E4-AB3C-F61BBBD79BBD}"/>
              </a:ext>
            </a:extLst>
          </p:cNvPr>
          <p:cNvSpPr>
            <a:spLocks noGrp="1"/>
          </p:cNvSpPr>
          <p:nvPr userDrawn="1">
            <p:ph type="body" sz="quarter" idx="26" hasCustomPrompt="1"/>
          </p:nvPr>
        </p:nvSpPr>
        <p:spPr>
          <a:xfrm>
            <a:off x="306495" y="4725035"/>
            <a:ext cx="2967229" cy="1035050"/>
          </a:xfrm>
        </p:spPr>
        <p:txBody>
          <a:bodyPr anchor="ctr" anchorCtr="0"/>
          <a:lstStyle>
            <a:lvl1pPr marL="0" indent="0" algn="l">
              <a:spcBef>
                <a:spcPts val="0"/>
              </a:spcBef>
              <a:buFontTx/>
              <a:buNone/>
              <a:defRPr>
                <a:solidFill>
                  <a:schemeClr val="bg1"/>
                </a:solidFill>
              </a:defRPr>
            </a:lvl1pPr>
            <a:lvl2pPr marL="414337" indent="0">
              <a:buFontTx/>
              <a:buNone/>
              <a:defRPr>
                <a:solidFill>
                  <a:schemeClr val="bg1"/>
                </a:solidFill>
              </a:defRPr>
            </a:lvl2pPr>
            <a:lvl3pPr marL="762000" indent="0">
              <a:buFontTx/>
              <a:buNone/>
              <a:defRPr>
                <a:solidFill>
                  <a:schemeClr val="bg1"/>
                </a:solidFill>
              </a:defRPr>
            </a:lvl3pPr>
            <a:lvl4pPr marL="1101725" indent="0">
              <a:buFontTx/>
              <a:buNone/>
              <a:defRPr>
                <a:solidFill>
                  <a:schemeClr val="bg1"/>
                </a:solidFill>
              </a:defRPr>
            </a:lvl4pPr>
            <a:lvl5pPr marL="1417637" indent="0">
              <a:buFontTx/>
              <a:buNone/>
              <a:defRPr>
                <a:solidFill>
                  <a:schemeClr val="bg1"/>
                </a:solidFill>
              </a:defRPr>
            </a:lvl5pPr>
          </a:lstStyle>
          <a:p>
            <a:pPr lvl="0"/>
            <a:r>
              <a:rPr lang="en-US" dirty="0"/>
              <a:t>Case Study 2</a:t>
            </a:r>
          </a:p>
        </p:txBody>
      </p:sp>
      <p:sp>
        <p:nvSpPr>
          <p:cNvPr id="21" name="Text Placeholder 20">
            <a:extLst>
              <a:ext uri="{FF2B5EF4-FFF2-40B4-BE49-F238E27FC236}">
                <a16:creationId xmlns:a16="http://schemas.microsoft.com/office/drawing/2014/main" id="{A8E0F22E-03D5-4502-8E42-6A2026C39BC5}"/>
              </a:ext>
            </a:extLst>
          </p:cNvPr>
          <p:cNvSpPr>
            <a:spLocks noGrp="1"/>
          </p:cNvSpPr>
          <p:nvPr userDrawn="1">
            <p:ph type="body" sz="quarter" idx="27" hasCustomPrompt="1"/>
          </p:nvPr>
        </p:nvSpPr>
        <p:spPr>
          <a:xfrm>
            <a:off x="3671009" y="5036185"/>
            <a:ext cx="1472491" cy="723900"/>
          </a:xfrm>
        </p:spPr>
        <p:txBody>
          <a:bodyPr anchor="ctr" anchorCtr="0"/>
          <a:lstStyle>
            <a:lvl1pPr marL="0" indent="0" algn="ctr">
              <a:buFontTx/>
              <a:buNone/>
              <a:defRPr sz="1400">
                <a:solidFill>
                  <a:schemeClr val="tx1"/>
                </a:solidFill>
              </a:defRPr>
            </a:lvl1pPr>
          </a:lstStyle>
          <a:p>
            <a:pPr lvl="0"/>
            <a:r>
              <a:rPr lang="en-US" dirty="0"/>
              <a:t>Paste logo</a:t>
            </a:r>
          </a:p>
        </p:txBody>
      </p:sp>
      <p:sp>
        <p:nvSpPr>
          <p:cNvPr id="5" name="Text Placeholder 4">
            <a:extLst>
              <a:ext uri="{FF2B5EF4-FFF2-40B4-BE49-F238E27FC236}">
                <a16:creationId xmlns:a16="http://schemas.microsoft.com/office/drawing/2014/main" id="{4AF8F5CE-15BE-4435-9208-3EFF81A3836F}"/>
              </a:ext>
            </a:extLst>
          </p:cNvPr>
          <p:cNvSpPr>
            <a:spLocks noGrp="1"/>
          </p:cNvSpPr>
          <p:nvPr>
            <p:ph type="body" sz="quarter" idx="28"/>
          </p:nvPr>
        </p:nvSpPr>
        <p:spPr>
          <a:xfrm>
            <a:off x="6261100" y="1485898"/>
            <a:ext cx="5486400" cy="4982692"/>
          </a:xfrm>
        </p:spPr>
        <p:txBody>
          <a:bodyPr vert="horz" lIns="0" tIns="0" rIns="0" bIns="0" rtlCol="0">
            <a:noAutofit/>
          </a:bodyPr>
          <a:lstStyle>
            <a:lvl1pPr>
              <a:defRPr lang="en-US" dirty="0"/>
            </a:lvl1pPr>
            <a:lvl2pPr>
              <a:defRPr/>
            </a:lvl2pPr>
            <a:lvl3pPr>
              <a:defRPr/>
            </a:lvl3pPr>
          </a:lstStyle>
          <a:p>
            <a:pPr lvl="0"/>
            <a:r>
              <a:rPr lang="en-US"/>
              <a:t>Click to edit Master text styles</a:t>
            </a:r>
          </a:p>
        </p:txBody>
      </p:sp>
      <p:sp>
        <p:nvSpPr>
          <p:cNvPr id="106" name="Freeform: Shape 105">
            <a:extLst>
              <a:ext uri="{FF2B5EF4-FFF2-40B4-BE49-F238E27FC236}">
                <a16:creationId xmlns:a16="http://schemas.microsoft.com/office/drawing/2014/main" id="{12BF1681-5E87-48F4-BB8F-930B0A275A4C}"/>
              </a:ext>
            </a:extLst>
          </p:cNvPr>
          <p:cNvSpPr/>
          <p:nvPr userDrawn="1"/>
        </p:nvSpPr>
        <p:spPr>
          <a:xfrm>
            <a:off x="10586568" y="2762"/>
            <a:ext cx="702181" cy="675861"/>
          </a:xfrm>
          <a:custGeom>
            <a:avLst/>
            <a:gdLst>
              <a:gd name="connsiteX0" fmla="*/ 219875 w 702181"/>
              <a:gd name="connsiteY0" fmla="*/ 0 h 675861"/>
              <a:gd name="connsiteX1" fmla="*/ 570965 w 702181"/>
              <a:gd name="connsiteY1" fmla="*/ 0 h 675861"/>
              <a:gd name="connsiteX2" fmla="*/ 702181 w 702181"/>
              <a:gd name="connsiteY2" fmla="*/ 183874 h 675861"/>
              <a:gd name="connsiteX3" fmla="*/ 351091 w 702181"/>
              <a:gd name="connsiteY3" fmla="*/ 675861 h 675861"/>
              <a:gd name="connsiteX4" fmla="*/ 0 w 702181"/>
              <a:gd name="connsiteY4" fmla="*/ 675861 h 675861"/>
              <a:gd name="connsiteX5" fmla="*/ 351091 w 702181"/>
              <a:gd name="connsiteY5" fmla="*/ 183874 h 675861"/>
              <a:gd name="connsiteX6" fmla="*/ 219875 w 702181"/>
              <a:gd name="connsiteY6" fmla="*/ 0 h 6758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02181" h="675861">
                <a:moveTo>
                  <a:pt x="219875" y="0"/>
                </a:moveTo>
                <a:lnTo>
                  <a:pt x="570965" y="0"/>
                </a:lnTo>
                <a:lnTo>
                  <a:pt x="702181" y="183874"/>
                </a:lnTo>
                <a:lnTo>
                  <a:pt x="351091" y="675861"/>
                </a:lnTo>
                <a:lnTo>
                  <a:pt x="0" y="675861"/>
                </a:lnTo>
                <a:lnTo>
                  <a:pt x="351091" y="183874"/>
                </a:lnTo>
                <a:lnTo>
                  <a:pt x="219875" y="0"/>
                </a:lnTo>
                <a:close/>
              </a:path>
            </a:pathLst>
          </a:custGeom>
          <a:solidFill>
            <a:srgbClr val="C8C9C7">
              <a:alpha val="14000"/>
            </a:srgbClr>
          </a:solid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90000"/>
              </a:lnSpc>
              <a:spcBef>
                <a:spcPts val="80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PTCRaleway"/>
              <a:ea typeface="+mn-ea"/>
              <a:cs typeface="+mn-cs"/>
            </a:endParaRPr>
          </a:p>
        </p:txBody>
      </p:sp>
      <p:sp>
        <p:nvSpPr>
          <p:cNvPr id="107" name="Freeform: Shape 106">
            <a:extLst>
              <a:ext uri="{FF2B5EF4-FFF2-40B4-BE49-F238E27FC236}">
                <a16:creationId xmlns:a16="http://schemas.microsoft.com/office/drawing/2014/main" id="{674CC12C-C60C-4438-8830-61A7F083129B}"/>
              </a:ext>
            </a:extLst>
          </p:cNvPr>
          <p:cNvSpPr/>
          <p:nvPr userDrawn="1"/>
        </p:nvSpPr>
        <p:spPr>
          <a:xfrm>
            <a:off x="11072375" y="2762"/>
            <a:ext cx="702181" cy="675861"/>
          </a:xfrm>
          <a:custGeom>
            <a:avLst/>
            <a:gdLst>
              <a:gd name="connsiteX0" fmla="*/ 219875 w 702181"/>
              <a:gd name="connsiteY0" fmla="*/ 0 h 675861"/>
              <a:gd name="connsiteX1" fmla="*/ 570965 w 702181"/>
              <a:gd name="connsiteY1" fmla="*/ 0 h 675861"/>
              <a:gd name="connsiteX2" fmla="*/ 702181 w 702181"/>
              <a:gd name="connsiteY2" fmla="*/ 183874 h 675861"/>
              <a:gd name="connsiteX3" fmla="*/ 351091 w 702181"/>
              <a:gd name="connsiteY3" fmla="*/ 675861 h 675861"/>
              <a:gd name="connsiteX4" fmla="*/ 0 w 702181"/>
              <a:gd name="connsiteY4" fmla="*/ 675861 h 675861"/>
              <a:gd name="connsiteX5" fmla="*/ 351091 w 702181"/>
              <a:gd name="connsiteY5" fmla="*/ 183874 h 675861"/>
              <a:gd name="connsiteX6" fmla="*/ 219875 w 702181"/>
              <a:gd name="connsiteY6" fmla="*/ 0 h 6758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02181" h="675861">
                <a:moveTo>
                  <a:pt x="219875" y="0"/>
                </a:moveTo>
                <a:lnTo>
                  <a:pt x="570965" y="0"/>
                </a:lnTo>
                <a:lnTo>
                  <a:pt x="702181" y="183874"/>
                </a:lnTo>
                <a:lnTo>
                  <a:pt x="351091" y="675861"/>
                </a:lnTo>
                <a:lnTo>
                  <a:pt x="0" y="675861"/>
                </a:lnTo>
                <a:lnTo>
                  <a:pt x="351091" y="183874"/>
                </a:lnTo>
                <a:lnTo>
                  <a:pt x="219875" y="0"/>
                </a:lnTo>
                <a:close/>
              </a:path>
            </a:pathLst>
          </a:custGeom>
          <a:solidFill>
            <a:srgbClr val="C8C9C7">
              <a:alpha val="20000"/>
            </a:srgbClr>
          </a:solid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90000"/>
              </a:lnSpc>
              <a:spcBef>
                <a:spcPts val="80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PTCRaleway"/>
              <a:ea typeface="+mn-ea"/>
              <a:cs typeface="+mn-cs"/>
            </a:endParaRPr>
          </a:p>
        </p:txBody>
      </p:sp>
      <p:grpSp>
        <p:nvGrpSpPr>
          <p:cNvPr id="108" name="Group 107">
            <a:extLst>
              <a:ext uri="{FF2B5EF4-FFF2-40B4-BE49-F238E27FC236}">
                <a16:creationId xmlns:a16="http://schemas.microsoft.com/office/drawing/2014/main" id="{03EEE2BC-2B99-4632-A83A-DD89FA9D29E3}"/>
              </a:ext>
            </a:extLst>
          </p:cNvPr>
          <p:cNvGrpSpPr/>
          <p:nvPr userDrawn="1"/>
        </p:nvGrpSpPr>
        <p:grpSpPr>
          <a:xfrm>
            <a:off x="11042268" y="241617"/>
            <a:ext cx="932562" cy="679259"/>
            <a:chOff x="11042268" y="267017"/>
            <a:chExt cx="932562" cy="679259"/>
          </a:xfrm>
        </p:grpSpPr>
        <p:grpSp>
          <p:nvGrpSpPr>
            <p:cNvPr id="109" name="Graphic 42">
              <a:extLst>
                <a:ext uri="{FF2B5EF4-FFF2-40B4-BE49-F238E27FC236}">
                  <a16:creationId xmlns:a16="http://schemas.microsoft.com/office/drawing/2014/main" id="{E76A6C60-6E89-4365-A3C1-42F195574F4C}"/>
                </a:ext>
              </a:extLst>
            </p:cNvPr>
            <p:cNvGrpSpPr/>
            <p:nvPr/>
          </p:nvGrpSpPr>
          <p:grpSpPr>
            <a:xfrm flipV="1">
              <a:off x="11042268" y="267017"/>
              <a:ext cx="907034" cy="112903"/>
              <a:chOff x="10978768" y="6357873"/>
              <a:chExt cx="907034" cy="112903"/>
            </a:xfrm>
            <a:solidFill>
              <a:srgbClr val="B8B7B9"/>
            </a:solidFill>
          </p:grpSpPr>
          <p:sp>
            <p:nvSpPr>
              <p:cNvPr id="119" name="Freeform: Shape 118">
                <a:extLst>
                  <a:ext uri="{FF2B5EF4-FFF2-40B4-BE49-F238E27FC236}">
                    <a16:creationId xmlns:a16="http://schemas.microsoft.com/office/drawing/2014/main" id="{67C0CA8D-313C-4845-86EF-1047A8E2AC83}"/>
                  </a:ext>
                </a:extLst>
              </p:cNvPr>
              <p:cNvSpPr/>
              <p:nvPr/>
            </p:nvSpPr>
            <p:spPr>
              <a:xfrm>
                <a:off x="10978768" y="6393878"/>
                <a:ext cx="16447" cy="76898"/>
              </a:xfrm>
              <a:custGeom>
                <a:avLst/>
                <a:gdLst>
                  <a:gd name="connsiteX0" fmla="*/ 0 w 16447"/>
                  <a:gd name="connsiteY0" fmla="*/ 76899 h 76898"/>
                  <a:gd name="connsiteX1" fmla="*/ 0 w 16447"/>
                  <a:gd name="connsiteY1" fmla="*/ 0 h 76898"/>
                  <a:gd name="connsiteX2" fmla="*/ 16447 w 16447"/>
                  <a:gd name="connsiteY2" fmla="*/ 0 h 76898"/>
                  <a:gd name="connsiteX3" fmla="*/ 16447 w 16447"/>
                  <a:gd name="connsiteY3" fmla="*/ 76899 h 76898"/>
                  <a:gd name="connsiteX4" fmla="*/ 0 w 16447"/>
                  <a:gd name="connsiteY4" fmla="*/ 76899 h 768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447" h="76898">
                    <a:moveTo>
                      <a:pt x="0" y="76899"/>
                    </a:moveTo>
                    <a:lnTo>
                      <a:pt x="0" y="0"/>
                    </a:lnTo>
                    <a:lnTo>
                      <a:pt x="16447" y="0"/>
                    </a:lnTo>
                    <a:lnTo>
                      <a:pt x="16447" y="76899"/>
                    </a:lnTo>
                    <a:lnTo>
                      <a:pt x="0" y="76899"/>
                    </a:lnTo>
                    <a:close/>
                  </a:path>
                </a:pathLst>
              </a:custGeom>
              <a:solidFill>
                <a:srgbClr val="B8B7B9"/>
              </a:solidFill>
              <a:ln w="6350"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D4647"/>
                  </a:solidFill>
                  <a:effectLst/>
                  <a:uLnTx/>
                  <a:uFillTx/>
                </a:endParaRPr>
              </a:p>
            </p:txBody>
          </p:sp>
          <p:sp>
            <p:nvSpPr>
              <p:cNvPr id="120" name="Freeform: Shape 119">
                <a:extLst>
                  <a:ext uri="{FF2B5EF4-FFF2-40B4-BE49-F238E27FC236}">
                    <a16:creationId xmlns:a16="http://schemas.microsoft.com/office/drawing/2014/main" id="{AF64CE54-ED77-4075-ACED-CA3F5CE9FE6F}"/>
                  </a:ext>
                </a:extLst>
              </p:cNvPr>
              <p:cNvSpPr/>
              <p:nvPr/>
            </p:nvSpPr>
            <p:spPr>
              <a:xfrm>
                <a:off x="11041824" y="6393878"/>
                <a:ext cx="16446" cy="76898"/>
              </a:xfrm>
              <a:custGeom>
                <a:avLst/>
                <a:gdLst>
                  <a:gd name="connsiteX0" fmla="*/ 0 w 16446"/>
                  <a:gd name="connsiteY0" fmla="*/ 76899 h 76898"/>
                  <a:gd name="connsiteX1" fmla="*/ 0 w 16446"/>
                  <a:gd name="connsiteY1" fmla="*/ 0 h 76898"/>
                  <a:gd name="connsiteX2" fmla="*/ 16446 w 16446"/>
                  <a:gd name="connsiteY2" fmla="*/ 0 h 76898"/>
                  <a:gd name="connsiteX3" fmla="*/ 16446 w 16446"/>
                  <a:gd name="connsiteY3" fmla="*/ 76899 h 76898"/>
                  <a:gd name="connsiteX4" fmla="*/ 0 w 16446"/>
                  <a:gd name="connsiteY4" fmla="*/ 76899 h 768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446" h="76898">
                    <a:moveTo>
                      <a:pt x="0" y="76899"/>
                    </a:moveTo>
                    <a:lnTo>
                      <a:pt x="0" y="0"/>
                    </a:lnTo>
                    <a:lnTo>
                      <a:pt x="16446" y="0"/>
                    </a:lnTo>
                    <a:lnTo>
                      <a:pt x="16446" y="76899"/>
                    </a:lnTo>
                    <a:lnTo>
                      <a:pt x="0" y="76899"/>
                    </a:lnTo>
                    <a:close/>
                  </a:path>
                </a:pathLst>
              </a:custGeom>
              <a:solidFill>
                <a:srgbClr val="B8B7B9"/>
              </a:solidFill>
              <a:ln w="6350"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D4647"/>
                  </a:solidFill>
                  <a:effectLst/>
                  <a:uLnTx/>
                  <a:uFillTx/>
                </a:endParaRPr>
              </a:p>
            </p:txBody>
          </p:sp>
          <p:sp>
            <p:nvSpPr>
              <p:cNvPr id="121" name="Freeform: Shape 120">
                <a:extLst>
                  <a:ext uri="{FF2B5EF4-FFF2-40B4-BE49-F238E27FC236}">
                    <a16:creationId xmlns:a16="http://schemas.microsoft.com/office/drawing/2014/main" id="{6DA7B07E-0952-4FD7-9BDE-A2A769039CAE}"/>
                  </a:ext>
                </a:extLst>
              </p:cNvPr>
              <p:cNvSpPr/>
              <p:nvPr/>
            </p:nvSpPr>
            <p:spPr>
              <a:xfrm>
                <a:off x="11104880" y="6393878"/>
                <a:ext cx="16446" cy="76898"/>
              </a:xfrm>
              <a:custGeom>
                <a:avLst/>
                <a:gdLst>
                  <a:gd name="connsiteX0" fmla="*/ 0 w 16446"/>
                  <a:gd name="connsiteY0" fmla="*/ 76899 h 76898"/>
                  <a:gd name="connsiteX1" fmla="*/ 0 w 16446"/>
                  <a:gd name="connsiteY1" fmla="*/ 0 h 76898"/>
                  <a:gd name="connsiteX2" fmla="*/ 16446 w 16446"/>
                  <a:gd name="connsiteY2" fmla="*/ 0 h 76898"/>
                  <a:gd name="connsiteX3" fmla="*/ 16446 w 16446"/>
                  <a:gd name="connsiteY3" fmla="*/ 76899 h 76898"/>
                  <a:gd name="connsiteX4" fmla="*/ 0 w 16446"/>
                  <a:gd name="connsiteY4" fmla="*/ 76899 h 768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446" h="76898">
                    <a:moveTo>
                      <a:pt x="0" y="76899"/>
                    </a:moveTo>
                    <a:lnTo>
                      <a:pt x="0" y="0"/>
                    </a:lnTo>
                    <a:lnTo>
                      <a:pt x="16446" y="0"/>
                    </a:lnTo>
                    <a:lnTo>
                      <a:pt x="16446" y="76899"/>
                    </a:lnTo>
                    <a:lnTo>
                      <a:pt x="0" y="76899"/>
                    </a:lnTo>
                    <a:close/>
                  </a:path>
                </a:pathLst>
              </a:custGeom>
              <a:solidFill>
                <a:srgbClr val="B8B7B9"/>
              </a:solidFill>
              <a:ln w="6350"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D4647"/>
                  </a:solidFill>
                  <a:effectLst/>
                  <a:uLnTx/>
                  <a:uFillTx/>
                </a:endParaRPr>
              </a:p>
            </p:txBody>
          </p:sp>
          <p:sp>
            <p:nvSpPr>
              <p:cNvPr id="122" name="Freeform: Shape 121">
                <a:extLst>
                  <a:ext uri="{FF2B5EF4-FFF2-40B4-BE49-F238E27FC236}">
                    <a16:creationId xmlns:a16="http://schemas.microsoft.com/office/drawing/2014/main" id="{77097653-2DA5-4ACE-B2CC-9A42B4A8D3FD}"/>
                  </a:ext>
                </a:extLst>
              </p:cNvPr>
              <p:cNvSpPr/>
              <p:nvPr/>
            </p:nvSpPr>
            <p:spPr>
              <a:xfrm>
                <a:off x="11167998" y="6357873"/>
                <a:ext cx="16382" cy="112903"/>
              </a:xfrm>
              <a:custGeom>
                <a:avLst/>
                <a:gdLst>
                  <a:gd name="connsiteX0" fmla="*/ 0 w 16382"/>
                  <a:gd name="connsiteY0" fmla="*/ 112903 h 112903"/>
                  <a:gd name="connsiteX1" fmla="*/ 0 w 16382"/>
                  <a:gd name="connsiteY1" fmla="*/ 0 h 112903"/>
                  <a:gd name="connsiteX2" fmla="*/ 16383 w 16382"/>
                  <a:gd name="connsiteY2" fmla="*/ 0 h 112903"/>
                  <a:gd name="connsiteX3" fmla="*/ 16383 w 16382"/>
                  <a:gd name="connsiteY3" fmla="*/ 112903 h 112903"/>
                  <a:gd name="connsiteX4" fmla="*/ 0 w 16382"/>
                  <a:gd name="connsiteY4" fmla="*/ 112903 h 1129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382" h="112903">
                    <a:moveTo>
                      <a:pt x="0" y="112903"/>
                    </a:moveTo>
                    <a:lnTo>
                      <a:pt x="0" y="0"/>
                    </a:lnTo>
                    <a:lnTo>
                      <a:pt x="16383" y="0"/>
                    </a:lnTo>
                    <a:lnTo>
                      <a:pt x="16383" y="112903"/>
                    </a:lnTo>
                    <a:lnTo>
                      <a:pt x="0" y="112903"/>
                    </a:lnTo>
                    <a:close/>
                  </a:path>
                </a:pathLst>
              </a:custGeom>
              <a:solidFill>
                <a:srgbClr val="B8B7B9"/>
              </a:solidFill>
              <a:ln w="6350"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D4647"/>
                  </a:solidFill>
                  <a:effectLst/>
                  <a:uLnTx/>
                  <a:uFillTx/>
                </a:endParaRPr>
              </a:p>
            </p:txBody>
          </p:sp>
          <p:sp>
            <p:nvSpPr>
              <p:cNvPr id="123" name="Freeform: Shape 122">
                <a:extLst>
                  <a:ext uri="{FF2B5EF4-FFF2-40B4-BE49-F238E27FC236}">
                    <a16:creationId xmlns:a16="http://schemas.microsoft.com/office/drawing/2014/main" id="{0C49EC7A-9A79-4570-8318-E8BA608BB9F0}"/>
                  </a:ext>
                </a:extLst>
              </p:cNvPr>
              <p:cNvSpPr/>
              <p:nvPr/>
            </p:nvSpPr>
            <p:spPr>
              <a:xfrm>
                <a:off x="11233594" y="6393878"/>
                <a:ext cx="16447" cy="76898"/>
              </a:xfrm>
              <a:custGeom>
                <a:avLst/>
                <a:gdLst>
                  <a:gd name="connsiteX0" fmla="*/ 0 w 16447"/>
                  <a:gd name="connsiteY0" fmla="*/ 76899 h 76898"/>
                  <a:gd name="connsiteX1" fmla="*/ 0 w 16447"/>
                  <a:gd name="connsiteY1" fmla="*/ 0 h 76898"/>
                  <a:gd name="connsiteX2" fmla="*/ 16447 w 16447"/>
                  <a:gd name="connsiteY2" fmla="*/ 0 h 76898"/>
                  <a:gd name="connsiteX3" fmla="*/ 16447 w 16447"/>
                  <a:gd name="connsiteY3" fmla="*/ 76899 h 76898"/>
                  <a:gd name="connsiteX4" fmla="*/ 0 w 16447"/>
                  <a:gd name="connsiteY4" fmla="*/ 76899 h 768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447" h="76898">
                    <a:moveTo>
                      <a:pt x="0" y="76899"/>
                    </a:moveTo>
                    <a:lnTo>
                      <a:pt x="0" y="0"/>
                    </a:lnTo>
                    <a:lnTo>
                      <a:pt x="16447" y="0"/>
                    </a:lnTo>
                    <a:lnTo>
                      <a:pt x="16447" y="76899"/>
                    </a:lnTo>
                    <a:lnTo>
                      <a:pt x="0" y="76899"/>
                    </a:lnTo>
                    <a:close/>
                  </a:path>
                </a:pathLst>
              </a:custGeom>
              <a:solidFill>
                <a:srgbClr val="B8B7B9"/>
              </a:solidFill>
              <a:ln w="6350"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D4647"/>
                  </a:solidFill>
                  <a:effectLst/>
                  <a:uLnTx/>
                  <a:uFillTx/>
                </a:endParaRPr>
              </a:p>
            </p:txBody>
          </p:sp>
          <p:sp>
            <p:nvSpPr>
              <p:cNvPr id="124" name="Freeform: Shape 123">
                <a:extLst>
                  <a:ext uri="{FF2B5EF4-FFF2-40B4-BE49-F238E27FC236}">
                    <a16:creationId xmlns:a16="http://schemas.microsoft.com/office/drawing/2014/main" id="{5FB48482-AACF-4BC4-9288-09D9E7DF7984}"/>
                  </a:ext>
                </a:extLst>
              </p:cNvPr>
              <p:cNvSpPr/>
              <p:nvPr/>
            </p:nvSpPr>
            <p:spPr>
              <a:xfrm>
                <a:off x="11488419" y="6393878"/>
                <a:ext cx="16447" cy="76898"/>
              </a:xfrm>
              <a:custGeom>
                <a:avLst/>
                <a:gdLst>
                  <a:gd name="connsiteX0" fmla="*/ 0 w 16447"/>
                  <a:gd name="connsiteY0" fmla="*/ 76899 h 76898"/>
                  <a:gd name="connsiteX1" fmla="*/ 0 w 16447"/>
                  <a:gd name="connsiteY1" fmla="*/ 0 h 76898"/>
                  <a:gd name="connsiteX2" fmla="*/ 16447 w 16447"/>
                  <a:gd name="connsiteY2" fmla="*/ 0 h 76898"/>
                  <a:gd name="connsiteX3" fmla="*/ 16447 w 16447"/>
                  <a:gd name="connsiteY3" fmla="*/ 76899 h 76898"/>
                  <a:gd name="connsiteX4" fmla="*/ 0 w 16447"/>
                  <a:gd name="connsiteY4" fmla="*/ 76899 h 768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447" h="76898">
                    <a:moveTo>
                      <a:pt x="0" y="76899"/>
                    </a:moveTo>
                    <a:lnTo>
                      <a:pt x="0" y="0"/>
                    </a:lnTo>
                    <a:lnTo>
                      <a:pt x="16447" y="0"/>
                    </a:lnTo>
                    <a:lnTo>
                      <a:pt x="16447" y="76899"/>
                    </a:lnTo>
                    <a:lnTo>
                      <a:pt x="0" y="76899"/>
                    </a:lnTo>
                    <a:close/>
                  </a:path>
                </a:pathLst>
              </a:custGeom>
              <a:solidFill>
                <a:srgbClr val="B8B7B9"/>
              </a:solidFill>
              <a:ln w="6350"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D4647"/>
                  </a:solidFill>
                  <a:effectLst/>
                  <a:uLnTx/>
                  <a:uFillTx/>
                </a:endParaRPr>
              </a:p>
            </p:txBody>
          </p:sp>
          <p:sp>
            <p:nvSpPr>
              <p:cNvPr id="125" name="Freeform: Shape 124">
                <a:extLst>
                  <a:ext uri="{FF2B5EF4-FFF2-40B4-BE49-F238E27FC236}">
                    <a16:creationId xmlns:a16="http://schemas.microsoft.com/office/drawing/2014/main" id="{68C32904-67D0-4E06-BBAC-025737180B02}"/>
                  </a:ext>
                </a:extLst>
              </p:cNvPr>
              <p:cNvSpPr/>
              <p:nvPr/>
            </p:nvSpPr>
            <p:spPr>
              <a:xfrm>
                <a:off x="11743245" y="6393878"/>
                <a:ext cx="16447" cy="76898"/>
              </a:xfrm>
              <a:custGeom>
                <a:avLst/>
                <a:gdLst>
                  <a:gd name="connsiteX0" fmla="*/ 0 w 16447"/>
                  <a:gd name="connsiteY0" fmla="*/ 76899 h 76898"/>
                  <a:gd name="connsiteX1" fmla="*/ 0 w 16447"/>
                  <a:gd name="connsiteY1" fmla="*/ 0 h 76898"/>
                  <a:gd name="connsiteX2" fmla="*/ 16447 w 16447"/>
                  <a:gd name="connsiteY2" fmla="*/ 0 h 76898"/>
                  <a:gd name="connsiteX3" fmla="*/ 16447 w 16447"/>
                  <a:gd name="connsiteY3" fmla="*/ 76899 h 76898"/>
                  <a:gd name="connsiteX4" fmla="*/ 0 w 16447"/>
                  <a:gd name="connsiteY4" fmla="*/ 76899 h 768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447" h="76898">
                    <a:moveTo>
                      <a:pt x="0" y="76899"/>
                    </a:moveTo>
                    <a:lnTo>
                      <a:pt x="0" y="0"/>
                    </a:lnTo>
                    <a:lnTo>
                      <a:pt x="16447" y="0"/>
                    </a:lnTo>
                    <a:lnTo>
                      <a:pt x="16447" y="76899"/>
                    </a:lnTo>
                    <a:lnTo>
                      <a:pt x="0" y="76899"/>
                    </a:lnTo>
                    <a:close/>
                  </a:path>
                </a:pathLst>
              </a:custGeom>
              <a:solidFill>
                <a:srgbClr val="B8B7B9"/>
              </a:solidFill>
              <a:ln w="6350"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D4647"/>
                  </a:solidFill>
                  <a:effectLst/>
                  <a:uLnTx/>
                  <a:uFillTx/>
                </a:endParaRPr>
              </a:p>
            </p:txBody>
          </p:sp>
          <p:sp>
            <p:nvSpPr>
              <p:cNvPr id="126" name="Freeform: Shape 125">
                <a:extLst>
                  <a:ext uri="{FF2B5EF4-FFF2-40B4-BE49-F238E27FC236}">
                    <a16:creationId xmlns:a16="http://schemas.microsoft.com/office/drawing/2014/main" id="{421B5C89-AA28-473C-8F7B-D759C1A5B39B}"/>
                  </a:ext>
                </a:extLst>
              </p:cNvPr>
              <p:cNvSpPr/>
              <p:nvPr/>
            </p:nvSpPr>
            <p:spPr>
              <a:xfrm>
                <a:off x="11296650" y="6393878"/>
                <a:ext cx="16446" cy="76898"/>
              </a:xfrm>
              <a:custGeom>
                <a:avLst/>
                <a:gdLst>
                  <a:gd name="connsiteX0" fmla="*/ 0 w 16446"/>
                  <a:gd name="connsiteY0" fmla="*/ 76899 h 76898"/>
                  <a:gd name="connsiteX1" fmla="*/ 0 w 16446"/>
                  <a:gd name="connsiteY1" fmla="*/ 0 h 76898"/>
                  <a:gd name="connsiteX2" fmla="*/ 16446 w 16446"/>
                  <a:gd name="connsiteY2" fmla="*/ 0 h 76898"/>
                  <a:gd name="connsiteX3" fmla="*/ 16446 w 16446"/>
                  <a:gd name="connsiteY3" fmla="*/ 76899 h 76898"/>
                  <a:gd name="connsiteX4" fmla="*/ 0 w 16446"/>
                  <a:gd name="connsiteY4" fmla="*/ 76899 h 768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446" h="76898">
                    <a:moveTo>
                      <a:pt x="0" y="76899"/>
                    </a:moveTo>
                    <a:lnTo>
                      <a:pt x="0" y="0"/>
                    </a:lnTo>
                    <a:lnTo>
                      <a:pt x="16446" y="0"/>
                    </a:lnTo>
                    <a:lnTo>
                      <a:pt x="16446" y="76899"/>
                    </a:lnTo>
                    <a:lnTo>
                      <a:pt x="0" y="76899"/>
                    </a:lnTo>
                    <a:close/>
                  </a:path>
                </a:pathLst>
              </a:custGeom>
              <a:solidFill>
                <a:srgbClr val="B8B7B9"/>
              </a:solidFill>
              <a:ln w="6350"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D4647"/>
                  </a:solidFill>
                  <a:effectLst/>
                  <a:uLnTx/>
                  <a:uFillTx/>
                </a:endParaRPr>
              </a:p>
            </p:txBody>
          </p:sp>
          <p:sp>
            <p:nvSpPr>
              <p:cNvPr id="127" name="Freeform: Shape 126">
                <a:extLst>
                  <a:ext uri="{FF2B5EF4-FFF2-40B4-BE49-F238E27FC236}">
                    <a16:creationId xmlns:a16="http://schemas.microsoft.com/office/drawing/2014/main" id="{0DBC857E-F462-4263-85B2-6214B6F0B4FE}"/>
                  </a:ext>
                </a:extLst>
              </p:cNvPr>
              <p:cNvSpPr/>
              <p:nvPr/>
            </p:nvSpPr>
            <p:spPr>
              <a:xfrm>
                <a:off x="11551475" y="6393878"/>
                <a:ext cx="16446" cy="76898"/>
              </a:xfrm>
              <a:custGeom>
                <a:avLst/>
                <a:gdLst>
                  <a:gd name="connsiteX0" fmla="*/ 0 w 16446"/>
                  <a:gd name="connsiteY0" fmla="*/ 76899 h 76898"/>
                  <a:gd name="connsiteX1" fmla="*/ 0 w 16446"/>
                  <a:gd name="connsiteY1" fmla="*/ 0 h 76898"/>
                  <a:gd name="connsiteX2" fmla="*/ 16446 w 16446"/>
                  <a:gd name="connsiteY2" fmla="*/ 0 h 76898"/>
                  <a:gd name="connsiteX3" fmla="*/ 16446 w 16446"/>
                  <a:gd name="connsiteY3" fmla="*/ 76899 h 76898"/>
                  <a:gd name="connsiteX4" fmla="*/ 0 w 16446"/>
                  <a:gd name="connsiteY4" fmla="*/ 76899 h 768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446" h="76898">
                    <a:moveTo>
                      <a:pt x="0" y="76899"/>
                    </a:moveTo>
                    <a:lnTo>
                      <a:pt x="0" y="0"/>
                    </a:lnTo>
                    <a:lnTo>
                      <a:pt x="16446" y="0"/>
                    </a:lnTo>
                    <a:lnTo>
                      <a:pt x="16446" y="76899"/>
                    </a:lnTo>
                    <a:lnTo>
                      <a:pt x="0" y="76899"/>
                    </a:lnTo>
                    <a:close/>
                  </a:path>
                </a:pathLst>
              </a:custGeom>
              <a:solidFill>
                <a:srgbClr val="B8B7B9"/>
              </a:solidFill>
              <a:ln w="6350"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D4647"/>
                  </a:solidFill>
                  <a:effectLst/>
                  <a:uLnTx/>
                  <a:uFillTx/>
                </a:endParaRPr>
              </a:p>
            </p:txBody>
          </p:sp>
          <p:sp>
            <p:nvSpPr>
              <p:cNvPr id="128" name="Freeform: Shape 127">
                <a:extLst>
                  <a:ext uri="{FF2B5EF4-FFF2-40B4-BE49-F238E27FC236}">
                    <a16:creationId xmlns:a16="http://schemas.microsoft.com/office/drawing/2014/main" id="{CFC9C795-F1B6-44DE-B10D-68D87D61C85D}"/>
                  </a:ext>
                </a:extLst>
              </p:cNvPr>
              <p:cNvSpPr/>
              <p:nvPr/>
            </p:nvSpPr>
            <p:spPr>
              <a:xfrm>
                <a:off x="11806301" y="6393878"/>
                <a:ext cx="16446" cy="76898"/>
              </a:xfrm>
              <a:custGeom>
                <a:avLst/>
                <a:gdLst>
                  <a:gd name="connsiteX0" fmla="*/ 0 w 16446"/>
                  <a:gd name="connsiteY0" fmla="*/ 76899 h 76898"/>
                  <a:gd name="connsiteX1" fmla="*/ 0 w 16446"/>
                  <a:gd name="connsiteY1" fmla="*/ 0 h 76898"/>
                  <a:gd name="connsiteX2" fmla="*/ 16446 w 16446"/>
                  <a:gd name="connsiteY2" fmla="*/ 0 h 76898"/>
                  <a:gd name="connsiteX3" fmla="*/ 16446 w 16446"/>
                  <a:gd name="connsiteY3" fmla="*/ 76899 h 76898"/>
                  <a:gd name="connsiteX4" fmla="*/ 0 w 16446"/>
                  <a:gd name="connsiteY4" fmla="*/ 76899 h 768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446" h="76898">
                    <a:moveTo>
                      <a:pt x="0" y="76899"/>
                    </a:moveTo>
                    <a:lnTo>
                      <a:pt x="0" y="0"/>
                    </a:lnTo>
                    <a:lnTo>
                      <a:pt x="16446" y="0"/>
                    </a:lnTo>
                    <a:lnTo>
                      <a:pt x="16446" y="76899"/>
                    </a:lnTo>
                    <a:lnTo>
                      <a:pt x="0" y="76899"/>
                    </a:lnTo>
                    <a:close/>
                  </a:path>
                </a:pathLst>
              </a:custGeom>
              <a:solidFill>
                <a:srgbClr val="B8B7B9"/>
              </a:solidFill>
              <a:ln w="6350"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D4647"/>
                  </a:solidFill>
                  <a:effectLst/>
                  <a:uLnTx/>
                  <a:uFillTx/>
                </a:endParaRPr>
              </a:p>
            </p:txBody>
          </p:sp>
          <p:sp>
            <p:nvSpPr>
              <p:cNvPr id="129" name="Freeform: Shape 128">
                <a:extLst>
                  <a:ext uri="{FF2B5EF4-FFF2-40B4-BE49-F238E27FC236}">
                    <a16:creationId xmlns:a16="http://schemas.microsoft.com/office/drawing/2014/main" id="{4A08CF7B-D6F3-4333-8784-B71DC9575F62}"/>
                  </a:ext>
                </a:extLst>
              </p:cNvPr>
              <p:cNvSpPr/>
              <p:nvPr/>
            </p:nvSpPr>
            <p:spPr>
              <a:xfrm>
                <a:off x="11359705" y="6393878"/>
                <a:ext cx="16446" cy="76898"/>
              </a:xfrm>
              <a:custGeom>
                <a:avLst/>
                <a:gdLst>
                  <a:gd name="connsiteX0" fmla="*/ 0 w 16446"/>
                  <a:gd name="connsiteY0" fmla="*/ 76899 h 76898"/>
                  <a:gd name="connsiteX1" fmla="*/ 0 w 16446"/>
                  <a:gd name="connsiteY1" fmla="*/ 0 h 76898"/>
                  <a:gd name="connsiteX2" fmla="*/ 16446 w 16446"/>
                  <a:gd name="connsiteY2" fmla="*/ 0 h 76898"/>
                  <a:gd name="connsiteX3" fmla="*/ 16446 w 16446"/>
                  <a:gd name="connsiteY3" fmla="*/ 76899 h 76898"/>
                  <a:gd name="connsiteX4" fmla="*/ 0 w 16446"/>
                  <a:gd name="connsiteY4" fmla="*/ 76899 h 768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446" h="76898">
                    <a:moveTo>
                      <a:pt x="0" y="76899"/>
                    </a:moveTo>
                    <a:lnTo>
                      <a:pt x="0" y="0"/>
                    </a:lnTo>
                    <a:lnTo>
                      <a:pt x="16446" y="0"/>
                    </a:lnTo>
                    <a:lnTo>
                      <a:pt x="16446" y="76899"/>
                    </a:lnTo>
                    <a:lnTo>
                      <a:pt x="0" y="76899"/>
                    </a:lnTo>
                    <a:close/>
                  </a:path>
                </a:pathLst>
              </a:custGeom>
              <a:solidFill>
                <a:srgbClr val="B8B7B9"/>
              </a:solidFill>
              <a:ln w="6350"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D4647"/>
                  </a:solidFill>
                  <a:effectLst/>
                  <a:uLnTx/>
                  <a:uFillTx/>
                </a:endParaRPr>
              </a:p>
            </p:txBody>
          </p:sp>
          <p:sp>
            <p:nvSpPr>
              <p:cNvPr id="130" name="Freeform: Shape 129">
                <a:extLst>
                  <a:ext uri="{FF2B5EF4-FFF2-40B4-BE49-F238E27FC236}">
                    <a16:creationId xmlns:a16="http://schemas.microsoft.com/office/drawing/2014/main" id="{DA6A7EE1-E9B0-4B1A-9723-5853878F85AB}"/>
                  </a:ext>
                </a:extLst>
              </p:cNvPr>
              <p:cNvSpPr/>
              <p:nvPr/>
            </p:nvSpPr>
            <p:spPr>
              <a:xfrm>
                <a:off x="11614594" y="6393878"/>
                <a:ext cx="16383" cy="76898"/>
              </a:xfrm>
              <a:custGeom>
                <a:avLst/>
                <a:gdLst>
                  <a:gd name="connsiteX0" fmla="*/ 0 w 16383"/>
                  <a:gd name="connsiteY0" fmla="*/ 76899 h 76898"/>
                  <a:gd name="connsiteX1" fmla="*/ 0 w 16383"/>
                  <a:gd name="connsiteY1" fmla="*/ 0 h 76898"/>
                  <a:gd name="connsiteX2" fmla="*/ 16383 w 16383"/>
                  <a:gd name="connsiteY2" fmla="*/ 0 h 76898"/>
                  <a:gd name="connsiteX3" fmla="*/ 16383 w 16383"/>
                  <a:gd name="connsiteY3" fmla="*/ 76899 h 76898"/>
                  <a:gd name="connsiteX4" fmla="*/ 0 w 16383"/>
                  <a:gd name="connsiteY4" fmla="*/ 76899 h 768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383" h="76898">
                    <a:moveTo>
                      <a:pt x="0" y="76899"/>
                    </a:moveTo>
                    <a:lnTo>
                      <a:pt x="0" y="0"/>
                    </a:lnTo>
                    <a:lnTo>
                      <a:pt x="16383" y="0"/>
                    </a:lnTo>
                    <a:lnTo>
                      <a:pt x="16383" y="76899"/>
                    </a:lnTo>
                    <a:lnTo>
                      <a:pt x="0" y="76899"/>
                    </a:lnTo>
                    <a:close/>
                  </a:path>
                </a:pathLst>
              </a:custGeom>
              <a:solidFill>
                <a:srgbClr val="B8B7B9"/>
              </a:solidFill>
              <a:ln w="6350"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D4647"/>
                  </a:solidFill>
                  <a:effectLst/>
                  <a:uLnTx/>
                  <a:uFillTx/>
                </a:endParaRPr>
              </a:p>
            </p:txBody>
          </p:sp>
          <p:sp>
            <p:nvSpPr>
              <p:cNvPr id="131" name="Freeform: Shape 130">
                <a:extLst>
                  <a:ext uri="{FF2B5EF4-FFF2-40B4-BE49-F238E27FC236}">
                    <a16:creationId xmlns:a16="http://schemas.microsoft.com/office/drawing/2014/main" id="{6C00DB74-DF2C-455E-9131-78BBAC11DDD6}"/>
                  </a:ext>
                </a:extLst>
              </p:cNvPr>
              <p:cNvSpPr/>
              <p:nvPr/>
            </p:nvSpPr>
            <p:spPr>
              <a:xfrm>
                <a:off x="11869419" y="6393878"/>
                <a:ext cx="16383" cy="76898"/>
              </a:xfrm>
              <a:custGeom>
                <a:avLst/>
                <a:gdLst>
                  <a:gd name="connsiteX0" fmla="*/ 0 w 16383"/>
                  <a:gd name="connsiteY0" fmla="*/ 76899 h 76898"/>
                  <a:gd name="connsiteX1" fmla="*/ 0 w 16383"/>
                  <a:gd name="connsiteY1" fmla="*/ 0 h 76898"/>
                  <a:gd name="connsiteX2" fmla="*/ 16383 w 16383"/>
                  <a:gd name="connsiteY2" fmla="*/ 0 h 76898"/>
                  <a:gd name="connsiteX3" fmla="*/ 16383 w 16383"/>
                  <a:gd name="connsiteY3" fmla="*/ 76899 h 76898"/>
                  <a:gd name="connsiteX4" fmla="*/ 0 w 16383"/>
                  <a:gd name="connsiteY4" fmla="*/ 76899 h 768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383" h="76898">
                    <a:moveTo>
                      <a:pt x="0" y="76899"/>
                    </a:moveTo>
                    <a:lnTo>
                      <a:pt x="0" y="0"/>
                    </a:lnTo>
                    <a:lnTo>
                      <a:pt x="16383" y="0"/>
                    </a:lnTo>
                    <a:lnTo>
                      <a:pt x="16383" y="76899"/>
                    </a:lnTo>
                    <a:lnTo>
                      <a:pt x="0" y="76899"/>
                    </a:lnTo>
                    <a:close/>
                  </a:path>
                </a:pathLst>
              </a:custGeom>
              <a:solidFill>
                <a:srgbClr val="B8B7B9"/>
              </a:solidFill>
              <a:ln w="6350"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D4647"/>
                  </a:solidFill>
                  <a:effectLst/>
                  <a:uLnTx/>
                  <a:uFillTx/>
                </a:endParaRPr>
              </a:p>
            </p:txBody>
          </p:sp>
          <p:sp>
            <p:nvSpPr>
              <p:cNvPr id="132" name="Freeform: Shape 131">
                <a:extLst>
                  <a:ext uri="{FF2B5EF4-FFF2-40B4-BE49-F238E27FC236}">
                    <a16:creationId xmlns:a16="http://schemas.microsoft.com/office/drawing/2014/main" id="{9ED12EEE-34E1-4CAC-8D66-0F40E8AD5757}"/>
                  </a:ext>
                </a:extLst>
              </p:cNvPr>
              <p:cNvSpPr/>
              <p:nvPr/>
            </p:nvSpPr>
            <p:spPr>
              <a:xfrm>
                <a:off x="11422824" y="6357873"/>
                <a:ext cx="16382" cy="112903"/>
              </a:xfrm>
              <a:custGeom>
                <a:avLst/>
                <a:gdLst>
                  <a:gd name="connsiteX0" fmla="*/ 0 w 16382"/>
                  <a:gd name="connsiteY0" fmla="*/ 112903 h 112903"/>
                  <a:gd name="connsiteX1" fmla="*/ 0 w 16382"/>
                  <a:gd name="connsiteY1" fmla="*/ 0 h 112903"/>
                  <a:gd name="connsiteX2" fmla="*/ 16383 w 16382"/>
                  <a:gd name="connsiteY2" fmla="*/ 0 h 112903"/>
                  <a:gd name="connsiteX3" fmla="*/ 16383 w 16382"/>
                  <a:gd name="connsiteY3" fmla="*/ 112903 h 112903"/>
                  <a:gd name="connsiteX4" fmla="*/ 0 w 16382"/>
                  <a:gd name="connsiteY4" fmla="*/ 112903 h 1129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382" h="112903">
                    <a:moveTo>
                      <a:pt x="0" y="112903"/>
                    </a:moveTo>
                    <a:lnTo>
                      <a:pt x="0" y="0"/>
                    </a:lnTo>
                    <a:lnTo>
                      <a:pt x="16383" y="0"/>
                    </a:lnTo>
                    <a:lnTo>
                      <a:pt x="16383" y="112903"/>
                    </a:lnTo>
                    <a:lnTo>
                      <a:pt x="0" y="112903"/>
                    </a:lnTo>
                    <a:close/>
                  </a:path>
                </a:pathLst>
              </a:custGeom>
              <a:solidFill>
                <a:srgbClr val="B8B7B9"/>
              </a:solidFill>
              <a:ln w="6350"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D4647"/>
                  </a:solidFill>
                  <a:effectLst/>
                  <a:uLnTx/>
                  <a:uFillTx/>
                </a:endParaRPr>
              </a:p>
            </p:txBody>
          </p:sp>
          <p:sp>
            <p:nvSpPr>
              <p:cNvPr id="133" name="Freeform: Shape 132">
                <a:extLst>
                  <a:ext uri="{FF2B5EF4-FFF2-40B4-BE49-F238E27FC236}">
                    <a16:creationId xmlns:a16="http://schemas.microsoft.com/office/drawing/2014/main" id="{A205E000-3581-46C7-915B-CCCF2678643B}"/>
                  </a:ext>
                </a:extLst>
              </p:cNvPr>
              <p:cNvSpPr/>
              <p:nvPr/>
            </p:nvSpPr>
            <p:spPr>
              <a:xfrm>
                <a:off x="11677650" y="6357873"/>
                <a:ext cx="16446" cy="112903"/>
              </a:xfrm>
              <a:custGeom>
                <a:avLst/>
                <a:gdLst>
                  <a:gd name="connsiteX0" fmla="*/ 0 w 16446"/>
                  <a:gd name="connsiteY0" fmla="*/ 112903 h 112903"/>
                  <a:gd name="connsiteX1" fmla="*/ 0 w 16446"/>
                  <a:gd name="connsiteY1" fmla="*/ 0 h 112903"/>
                  <a:gd name="connsiteX2" fmla="*/ 16446 w 16446"/>
                  <a:gd name="connsiteY2" fmla="*/ 0 h 112903"/>
                  <a:gd name="connsiteX3" fmla="*/ 16446 w 16446"/>
                  <a:gd name="connsiteY3" fmla="*/ 112903 h 112903"/>
                  <a:gd name="connsiteX4" fmla="*/ 0 w 16446"/>
                  <a:gd name="connsiteY4" fmla="*/ 112903 h 1129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446" h="112903">
                    <a:moveTo>
                      <a:pt x="0" y="112903"/>
                    </a:moveTo>
                    <a:lnTo>
                      <a:pt x="0" y="0"/>
                    </a:lnTo>
                    <a:lnTo>
                      <a:pt x="16446" y="0"/>
                    </a:lnTo>
                    <a:lnTo>
                      <a:pt x="16446" y="112903"/>
                    </a:lnTo>
                    <a:lnTo>
                      <a:pt x="0" y="112903"/>
                    </a:lnTo>
                    <a:close/>
                  </a:path>
                </a:pathLst>
              </a:custGeom>
              <a:solidFill>
                <a:srgbClr val="B8B7B9"/>
              </a:solidFill>
              <a:ln w="6350"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D4647"/>
                  </a:solidFill>
                  <a:effectLst/>
                  <a:uLnTx/>
                  <a:uFillTx/>
                </a:endParaRPr>
              </a:p>
            </p:txBody>
          </p:sp>
        </p:grpSp>
        <p:sp>
          <p:nvSpPr>
            <p:cNvPr id="110" name="Freeform: Shape 109">
              <a:extLst>
                <a:ext uri="{FF2B5EF4-FFF2-40B4-BE49-F238E27FC236}">
                  <a16:creationId xmlns:a16="http://schemas.microsoft.com/office/drawing/2014/main" id="{7F1A424A-2730-4831-9060-FE6AB9BB7850}"/>
                </a:ext>
              </a:extLst>
            </p:cNvPr>
            <p:cNvSpPr/>
            <p:nvPr/>
          </p:nvSpPr>
          <p:spPr>
            <a:xfrm rot="5400000" flipV="1">
              <a:off x="11916016" y="424307"/>
              <a:ext cx="43688" cy="43687"/>
            </a:xfrm>
            <a:custGeom>
              <a:avLst/>
              <a:gdLst>
                <a:gd name="connsiteX0" fmla="*/ 0 w 43688"/>
                <a:gd name="connsiteY0" fmla="*/ 0 h 43687"/>
                <a:gd name="connsiteX1" fmla="*/ 43688 w 43688"/>
                <a:gd name="connsiteY1" fmla="*/ 0 h 43687"/>
                <a:gd name="connsiteX2" fmla="*/ 43688 w 43688"/>
                <a:gd name="connsiteY2" fmla="*/ 43688 h 43687"/>
                <a:gd name="connsiteX3" fmla="*/ 0 w 43688"/>
                <a:gd name="connsiteY3" fmla="*/ 43688 h 43687"/>
              </a:gdLst>
              <a:ahLst/>
              <a:cxnLst>
                <a:cxn ang="0">
                  <a:pos x="connsiteX0" y="connsiteY0"/>
                </a:cxn>
                <a:cxn ang="0">
                  <a:pos x="connsiteX1" y="connsiteY1"/>
                </a:cxn>
                <a:cxn ang="0">
                  <a:pos x="connsiteX2" y="connsiteY2"/>
                </a:cxn>
                <a:cxn ang="0">
                  <a:pos x="connsiteX3" y="connsiteY3"/>
                </a:cxn>
              </a:cxnLst>
              <a:rect l="l" t="t" r="r" b="b"/>
              <a:pathLst>
                <a:path w="43688" h="43687">
                  <a:moveTo>
                    <a:pt x="0" y="0"/>
                  </a:moveTo>
                  <a:lnTo>
                    <a:pt x="43688" y="0"/>
                  </a:lnTo>
                  <a:lnTo>
                    <a:pt x="43688" y="43688"/>
                  </a:lnTo>
                  <a:lnTo>
                    <a:pt x="0" y="43688"/>
                  </a:lnTo>
                  <a:close/>
                </a:path>
              </a:pathLst>
            </a:custGeom>
            <a:noFill/>
            <a:ln w="3175" cap="flat">
              <a:solidFill>
                <a:srgbClr val="FFFFFF">
                  <a:lumMod val="50000"/>
                </a:srgbClr>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D4647"/>
                </a:solidFill>
                <a:effectLst/>
                <a:uLnTx/>
                <a:uFillTx/>
              </a:endParaRPr>
            </a:p>
          </p:txBody>
        </p:sp>
        <p:grpSp>
          <p:nvGrpSpPr>
            <p:cNvPr id="111" name="Graphic 42">
              <a:extLst>
                <a:ext uri="{FF2B5EF4-FFF2-40B4-BE49-F238E27FC236}">
                  <a16:creationId xmlns:a16="http://schemas.microsoft.com/office/drawing/2014/main" id="{2344140C-36F0-464F-AE12-58F3BCA89893}"/>
                </a:ext>
              </a:extLst>
            </p:cNvPr>
            <p:cNvGrpSpPr/>
            <p:nvPr/>
          </p:nvGrpSpPr>
          <p:grpSpPr>
            <a:xfrm flipV="1">
              <a:off x="11901678" y="535622"/>
              <a:ext cx="73152" cy="410654"/>
              <a:chOff x="11838178" y="5791517"/>
              <a:chExt cx="73152" cy="410654"/>
            </a:xfrm>
            <a:solidFill>
              <a:srgbClr val="FFFFFF">
                <a:lumMod val="50000"/>
              </a:srgbClr>
            </a:solidFill>
          </p:grpSpPr>
          <p:grpSp>
            <p:nvGrpSpPr>
              <p:cNvPr id="112" name="Graphic 42">
                <a:extLst>
                  <a:ext uri="{FF2B5EF4-FFF2-40B4-BE49-F238E27FC236}">
                    <a16:creationId xmlns:a16="http://schemas.microsoft.com/office/drawing/2014/main" id="{9CF2C3B3-748B-4990-B09F-4A636EC5FC77}"/>
                  </a:ext>
                </a:extLst>
              </p:cNvPr>
              <p:cNvGrpSpPr/>
              <p:nvPr/>
            </p:nvGrpSpPr>
            <p:grpSpPr>
              <a:xfrm>
                <a:off x="11854497" y="5791517"/>
                <a:ext cx="42418" cy="282892"/>
                <a:chOff x="11854497" y="5791517"/>
                <a:chExt cx="42418" cy="282892"/>
              </a:xfrm>
              <a:grpFill/>
            </p:grpSpPr>
            <p:sp>
              <p:nvSpPr>
                <p:cNvPr id="114" name="Freeform: Shape 113">
                  <a:extLst>
                    <a:ext uri="{FF2B5EF4-FFF2-40B4-BE49-F238E27FC236}">
                      <a16:creationId xmlns:a16="http://schemas.microsoft.com/office/drawing/2014/main" id="{8B06F421-C117-4A14-A338-7536C1E1084E}"/>
                    </a:ext>
                  </a:extLst>
                </p:cNvPr>
                <p:cNvSpPr/>
                <p:nvPr/>
              </p:nvSpPr>
              <p:spPr>
                <a:xfrm>
                  <a:off x="11855259" y="5891022"/>
                  <a:ext cx="41655" cy="4381"/>
                </a:xfrm>
                <a:custGeom>
                  <a:avLst/>
                  <a:gdLst>
                    <a:gd name="connsiteX0" fmla="*/ 0 w 41655"/>
                    <a:gd name="connsiteY0" fmla="*/ 0 h 4381"/>
                    <a:gd name="connsiteX1" fmla="*/ 41656 w 41655"/>
                    <a:gd name="connsiteY1" fmla="*/ 0 h 4381"/>
                    <a:gd name="connsiteX2" fmla="*/ 41656 w 41655"/>
                    <a:gd name="connsiteY2" fmla="*/ 4381 h 4381"/>
                    <a:gd name="connsiteX3" fmla="*/ 0 w 41655"/>
                    <a:gd name="connsiteY3" fmla="*/ 4381 h 4381"/>
                  </a:gdLst>
                  <a:ahLst/>
                  <a:cxnLst>
                    <a:cxn ang="0">
                      <a:pos x="connsiteX0" y="connsiteY0"/>
                    </a:cxn>
                    <a:cxn ang="0">
                      <a:pos x="connsiteX1" y="connsiteY1"/>
                    </a:cxn>
                    <a:cxn ang="0">
                      <a:pos x="connsiteX2" y="connsiteY2"/>
                    </a:cxn>
                    <a:cxn ang="0">
                      <a:pos x="connsiteX3" y="connsiteY3"/>
                    </a:cxn>
                  </a:cxnLst>
                  <a:rect l="l" t="t" r="r" b="b"/>
                  <a:pathLst>
                    <a:path w="41655" h="4381">
                      <a:moveTo>
                        <a:pt x="0" y="0"/>
                      </a:moveTo>
                      <a:lnTo>
                        <a:pt x="41656" y="0"/>
                      </a:lnTo>
                      <a:lnTo>
                        <a:pt x="41656" y="4381"/>
                      </a:lnTo>
                      <a:lnTo>
                        <a:pt x="0" y="4381"/>
                      </a:lnTo>
                      <a:close/>
                    </a:path>
                  </a:pathLst>
                </a:custGeom>
                <a:grpFill/>
                <a:ln w="6350"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D4647"/>
                    </a:solidFill>
                    <a:effectLst/>
                    <a:uLnTx/>
                    <a:uFillTx/>
                  </a:endParaRPr>
                </a:p>
              </p:txBody>
            </p:sp>
            <p:sp>
              <p:nvSpPr>
                <p:cNvPr id="115" name="Freeform: Shape 114">
                  <a:extLst>
                    <a:ext uri="{FF2B5EF4-FFF2-40B4-BE49-F238E27FC236}">
                      <a16:creationId xmlns:a16="http://schemas.microsoft.com/office/drawing/2014/main" id="{0B451100-FFA2-495A-8825-2C61DEEF1E15}"/>
                    </a:ext>
                  </a:extLst>
                </p:cNvPr>
                <p:cNvSpPr/>
                <p:nvPr/>
              </p:nvSpPr>
              <p:spPr>
                <a:xfrm>
                  <a:off x="11855259" y="5955538"/>
                  <a:ext cx="41655" cy="4381"/>
                </a:xfrm>
                <a:custGeom>
                  <a:avLst/>
                  <a:gdLst>
                    <a:gd name="connsiteX0" fmla="*/ 0 w 41655"/>
                    <a:gd name="connsiteY0" fmla="*/ 0 h 4381"/>
                    <a:gd name="connsiteX1" fmla="*/ 41656 w 41655"/>
                    <a:gd name="connsiteY1" fmla="*/ 0 h 4381"/>
                    <a:gd name="connsiteX2" fmla="*/ 41656 w 41655"/>
                    <a:gd name="connsiteY2" fmla="*/ 4382 h 4381"/>
                    <a:gd name="connsiteX3" fmla="*/ 0 w 41655"/>
                    <a:gd name="connsiteY3" fmla="*/ 4382 h 4381"/>
                  </a:gdLst>
                  <a:ahLst/>
                  <a:cxnLst>
                    <a:cxn ang="0">
                      <a:pos x="connsiteX0" y="connsiteY0"/>
                    </a:cxn>
                    <a:cxn ang="0">
                      <a:pos x="connsiteX1" y="connsiteY1"/>
                    </a:cxn>
                    <a:cxn ang="0">
                      <a:pos x="connsiteX2" y="connsiteY2"/>
                    </a:cxn>
                    <a:cxn ang="0">
                      <a:pos x="connsiteX3" y="connsiteY3"/>
                    </a:cxn>
                  </a:cxnLst>
                  <a:rect l="l" t="t" r="r" b="b"/>
                  <a:pathLst>
                    <a:path w="41655" h="4381">
                      <a:moveTo>
                        <a:pt x="0" y="0"/>
                      </a:moveTo>
                      <a:lnTo>
                        <a:pt x="41656" y="0"/>
                      </a:lnTo>
                      <a:lnTo>
                        <a:pt x="41656" y="4382"/>
                      </a:lnTo>
                      <a:lnTo>
                        <a:pt x="0" y="4382"/>
                      </a:lnTo>
                      <a:close/>
                    </a:path>
                  </a:pathLst>
                </a:custGeom>
                <a:grpFill/>
                <a:ln w="6350"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D4647"/>
                    </a:solidFill>
                    <a:effectLst/>
                    <a:uLnTx/>
                    <a:uFillTx/>
                  </a:endParaRPr>
                </a:p>
              </p:txBody>
            </p:sp>
            <p:sp>
              <p:nvSpPr>
                <p:cNvPr id="116" name="Freeform: Shape 115">
                  <a:extLst>
                    <a:ext uri="{FF2B5EF4-FFF2-40B4-BE49-F238E27FC236}">
                      <a16:creationId xmlns:a16="http://schemas.microsoft.com/office/drawing/2014/main" id="{DA6027BA-5487-4D06-B6CE-DA1AE19ADBD8}"/>
                    </a:ext>
                  </a:extLst>
                </p:cNvPr>
                <p:cNvSpPr/>
                <p:nvPr/>
              </p:nvSpPr>
              <p:spPr>
                <a:xfrm>
                  <a:off x="11855259" y="6011545"/>
                  <a:ext cx="41655" cy="4381"/>
                </a:xfrm>
                <a:custGeom>
                  <a:avLst/>
                  <a:gdLst>
                    <a:gd name="connsiteX0" fmla="*/ 0 w 41655"/>
                    <a:gd name="connsiteY0" fmla="*/ 0 h 4381"/>
                    <a:gd name="connsiteX1" fmla="*/ 41656 w 41655"/>
                    <a:gd name="connsiteY1" fmla="*/ 0 h 4381"/>
                    <a:gd name="connsiteX2" fmla="*/ 41656 w 41655"/>
                    <a:gd name="connsiteY2" fmla="*/ 4382 h 4381"/>
                    <a:gd name="connsiteX3" fmla="*/ 0 w 41655"/>
                    <a:gd name="connsiteY3" fmla="*/ 4382 h 4381"/>
                  </a:gdLst>
                  <a:ahLst/>
                  <a:cxnLst>
                    <a:cxn ang="0">
                      <a:pos x="connsiteX0" y="connsiteY0"/>
                    </a:cxn>
                    <a:cxn ang="0">
                      <a:pos x="connsiteX1" y="connsiteY1"/>
                    </a:cxn>
                    <a:cxn ang="0">
                      <a:pos x="connsiteX2" y="connsiteY2"/>
                    </a:cxn>
                    <a:cxn ang="0">
                      <a:pos x="connsiteX3" y="connsiteY3"/>
                    </a:cxn>
                  </a:cxnLst>
                  <a:rect l="l" t="t" r="r" b="b"/>
                  <a:pathLst>
                    <a:path w="41655" h="4381">
                      <a:moveTo>
                        <a:pt x="0" y="0"/>
                      </a:moveTo>
                      <a:lnTo>
                        <a:pt x="41656" y="0"/>
                      </a:lnTo>
                      <a:lnTo>
                        <a:pt x="41656" y="4382"/>
                      </a:lnTo>
                      <a:lnTo>
                        <a:pt x="0" y="4382"/>
                      </a:lnTo>
                      <a:close/>
                    </a:path>
                  </a:pathLst>
                </a:custGeom>
                <a:grpFill/>
                <a:ln w="6350"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D4647"/>
                    </a:solidFill>
                    <a:effectLst/>
                    <a:uLnTx/>
                    <a:uFillTx/>
                  </a:endParaRPr>
                </a:p>
              </p:txBody>
            </p:sp>
            <p:sp>
              <p:nvSpPr>
                <p:cNvPr id="117" name="Freeform: Shape 116">
                  <a:extLst>
                    <a:ext uri="{FF2B5EF4-FFF2-40B4-BE49-F238E27FC236}">
                      <a16:creationId xmlns:a16="http://schemas.microsoft.com/office/drawing/2014/main" id="{7F6CB4AE-5D33-40E8-A7A5-A3809695ABA8}"/>
                    </a:ext>
                  </a:extLst>
                </p:cNvPr>
                <p:cNvSpPr/>
                <p:nvPr/>
              </p:nvSpPr>
              <p:spPr>
                <a:xfrm>
                  <a:off x="11855259" y="6070028"/>
                  <a:ext cx="41655" cy="4381"/>
                </a:xfrm>
                <a:custGeom>
                  <a:avLst/>
                  <a:gdLst>
                    <a:gd name="connsiteX0" fmla="*/ 0 w 41655"/>
                    <a:gd name="connsiteY0" fmla="*/ 0 h 4381"/>
                    <a:gd name="connsiteX1" fmla="*/ 41656 w 41655"/>
                    <a:gd name="connsiteY1" fmla="*/ 0 h 4381"/>
                    <a:gd name="connsiteX2" fmla="*/ 41656 w 41655"/>
                    <a:gd name="connsiteY2" fmla="*/ 4381 h 4381"/>
                    <a:gd name="connsiteX3" fmla="*/ 0 w 41655"/>
                    <a:gd name="connsiteY3" fmla="*/ 4381 h 4381"/>
                  </a:gdLst>
                  <a:ahLst/>
                  <a:cxnLst>
                    <a:cxn ang="0">
                      <a:pos x="connsiteX0" y="connsiteY0"/>
                    </a:cxn>
                    <a:cxn ang="0">
                      <a:pos x="connsiteX1" y="connsiteY1"/>
                    </a:cxn>
                    <a:cxn ang="0">
                      <a:pos x="connsiteX2" y="connsiteY2"/>
                    </a:cxn>
                    <a:cxn ang="0">
                      <a:pos x="connsiteX3" y="connsiteY3"/>
                    </a:cxn>
                  </a:cxnLst>
                  <a:rect l="l" t="t" r="r" b="b"/>
                  <a:pathLst>
                    <a:path w="41655" h="4381">
                      <a:moveTo>
                        <a:pt x="0" y="0"/>
                      </a:moveTo>
                      <a:lnTo>
                        <a:pt x="41656" y="0"/>
                      </a:lnTo>
                      <a:lnTo>
                        <a:pt x="41656" y="4381"/>
                      </a:lnTo>
                      <a:lnTo>
                        <a:pt x="0" y="4381"/>
                      </a:lnTo>
                      <a:close/>
                    </a:path>
                  </a:pathLst>
                </a:custGeom>
                <a:grpFill/>
                <a:ln w="6350"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D4647"/>
                    </a:solidFill>
                    <a:effectLst/>
                    <a:uLnTx/>
                    <a:uFillTx/>
                  </a:endParaRPr>
                </a:p>
              </p:txBody>
            </p:sp>
            <p:sp>
              <p:nvSpPr>
                <p:cNvPr id="118" name="Freeform: Shape 117">
                  <a:extLst>
                    <a:ext uri="{FF2B5EF4-FFF2-40B4-BE49-F238E27FC236}">
                      <a16:creationId xmlns:a16="http://schemas.microsoft.com/office/drawing/2014/main" id="{0A7FC485-A152-4C62-B4BC-2C67739D0C0C}"/>
                    </a:ext>
                  </a:extLst>
                </p:cNvPr>
                <p:cNvSpPr/>
                <p:nvPr/>
              </p:nvSpPr>
              <p:spPr>
                <a:xfrm>
                  <a:off x="11854497" y="5791517"/>
                  <a:ext cx="42418" cy="38100"/>
                </a:xfrm>
                <a:custGeom>
                  <a:avLst/>
                  <a:gdLst>
                    <a:gd name="connsiteX0" fmla="*/ 0 w 42418"/>
                    <a:gd name="connsiteY0" fmla="*/ 0 h 38100"/>
                    <a:gd name="connsiteX1" fmla="*/ 42418 w 42418"/>
                    <a:gd name="connsiteY1" fmla="*/ 0 h 38100"/>
                    <a:gd name="connsiteX2" fmla="*/ 42418 w 42418"/>
                    <a:gd name="connsiteY2" fmla="*/ 38100 h 38100"/>
                    <a:gd name="connsiteX3" fmla="*/ 0 w 42418"/>
                    <a:gd name="connsiteY3" fmla="*/ 38100 h 38100"/>
                  </a:gdLst>
                  <a:ahLst/>
                  <a:cxnLst>
                    <a:cxn ang="0">
                      <a:pos x="connsiteX0" y="connsiteY0"/>
                    </a:cxn>
                    <a:cxn ang="0">
                      <a:pos x="connsiteX1" y="connsiteY1"/>
                    </a:cxn>
                    <a:cxn ang="0">
                      <a:pos x="connsiteX2" y="connsiteY2"/>
                    </a:cxn>
                    <a:cxn ang="0">
                      <a:pos x="connsiteX3" y="connsiteY3"/>
                    </a:cxn>
                  </a:cxnLst>
                  <a:rect l="l" t="t" r="r" b="b"/>
                  <a:pathLst>
                    <a:path w="42418" h="38100">
                      <a:moveTo>
                        <a:pt x="0" y="0"/>
                      </a:moveTo>
                      <a:lnTo>
                        <a:pt x="42418" y="0"/>
                      </a:lnTo>
                      <a:lnTo>
                        <a:pt x="42418" y="38100"/>
                      </a:lnTo>
                      <a:lnTo>
                        <a:pt x="0" y="38100"/>
                      </a:lnTo>
                      <a:close/>
                    </a:path>
                  </a:pathLst>
                </a:custGeom>
                <a:solidFill>
                  <a:srgbClr val="C8C9C7"/>
                </a:solidFill>
                <a:ln w="6350"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D4647"/>
                    </a:solidFill>
                    <a:effectLst/>
                    <a:uLnTx/>
                    <a:uFillTx/>
                  </a:endParaRPr>
                </a:p>
              </p:txBody>
            </p:sp>
          </p:grpSp>
          <p:sp>
            <p:nvSpPr>
              <p:cNvPr id="113" name="Freeform: Shape 112">
                <a:extLst>
                  <a:ext uri="{FF2B5EF4-FFF2-40B4-BE49-F238E27FC236}">
                    <a16:creationId xmlns:a16="http://schemas.microsoft.com/office/drawing/2014/main" id="{189B2A7E-1137-438B-B25A-C73A7989BFD3}"/>
                  </a:ext>
                </a:extLst>
              </p:cNvPr>
              <p:cNvSpPr/>
              <p:nvPr/>
            </p:nvSpPr>
            <p:spPr>
              <a:xfrm>
                <a:off x="11838178" y="6162294"/>
                <a:ext cx="73152" cy="39877"/>
              </a:xfrm>
              <a:custGeom>
                <a:avLst/>
                <a:gdLst>
                  <a:gd name="connsiteX0" fmla="*/ 38671 w 73152"/>
                  <a:gd name="connsiteY0" fmla="*/ 0 h 39877"/>
                  <a:gd name="connsiteX1" fmla="*/ 73152 w 73152"/>
                  <a:gd name="connsiteY1" fmla="*/ 37465 h 39877"/>
                  <a:gd name="connsiteX2" fmla="*/ 69914 w 73152"/>
                  <a:gd name="connsiteY2" fmla="*/ 39878 h 39877"/>
                  <a:gd name="connsiteX3" fmla="*/ 36576 w 73152"/>
                  <a:gd name="connsiteY3" fmla="*/ 3747 h 39877"/>
                  <a:gd name="connsiteX4" fmla="*/ 3239 w 73152"/>
                  <a:gd name="connsiteY4" fmla="*/ 39878 h 39877"/>
                  <a:gd name="connsiteX5" fmla="*/ 0 w 73152"/>
                  <a:gd name="connsiteY5" fmla="*/ 37465 h 39877"/>
                  <a:gd name="connsiteX6" fmla="*/ 34480 w 73152"/>
                  <a:gd name="connsiteY6" fmla="*/ 0 h 39877"/>
                  <a:gd name="connsiteX7" fmla="*/ 38671 w 73152"/>
                  <a:gd name="connsiteY7" fmla="*/ 0 h 398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3152" h="39877">
                    <a:moveTo>
                      <a:pt x="38671" y="0"/>
                    </a:moveTo>
                    <a:lnTo>
                      <a:pt x="73152" y="37465"/>
                    </a:lnTo>
                    <a:lnTo>
                      <a:pt x="69914" y="39878"/>
                    </a:lnTo>
                    <a:lnTo>
                      <a:pt x="36576" y="3747"/>
                    </a:lnTo>
                    <a:lnTo>
                      <a:pt x="3239" y="39878"/>
                    </a:lnTo>
                    <a:lnTo>
                      <a:pt x="0" y="37465"/>
                    </a:lnTo>
                    <a:lnTo>
                      <a:pt x="34480" y="0"/>
                    </a:lnTo>
                    <a:lnTo>
                      <a:pt x="38671" y="0"/>
                    </a:lnTo>
                    <a:close/>
                  </a:path>
                </a:pathLst>
              </a:custGeom>
              <a:grpFill/>
              <a:ln w="6350" cap="flat">
                <a:solidFill>
                  <a:srgbClr val="CFD0CE"/>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D4647"/>
                  </a:solidFill>
                  <a:effectLst/>
                  <a:uLnTx/>
                  <a:uFillTx/>
                </a:endParaRPr>
              </a:p>
            </p:txBody>
          </p:sp>
        </p:grpSp>
      </p:grpSp>
      <p:sp>
        <p:nvSpPr>
          <p:cNvPr id="134" name="Rectangle 6">
            <a:extLst>
              <a:ext uri="{FF2B5EF4-FFF2-40B4-BE49-F238E27FC236}">
                <a16:creationId xmlns:a16="http://schemas.microsoft.com/office/drawing/2014/main" id="{9A684274-C089-4AB2-BFEC-75EED3280300}"/>
              </a:ext>
            </a:extLst>
          </p:cNvPr>
          <p:cNvSpPr txBox="1">
            <a:spLocks noChangeArrowheads="1"/>
          </p:cNvSpPr>
          <p:nvPr userDrawn="1"/>
        </p:nvSpPr>
        <p:spPr bwMode="ltGray">
          <a:xfrm>
            <a:off x="10363200" y="203016"/>
            <a:ext cx="592666" cy="13849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defRPr sz="700"/>
            </a:lvl1pPr>
          </a:lstStyle>
          <a:p>
            <a:pPr marL="0" marR="0" lvl="0" indent="0" algn="r" defTabSz="914400" eaLnBrk="0" fontAlgn="base" latinLnBrk="0" hangingPunct="0">
              <a:lnSpc>
                <a:spcPct val="100000"/>
              </a:lnSpc>
              <a:spcBef>
                <a:spcPct val="0"/>
              </a:spcBef>
              <a:spcAft>
                <a:spcPct val="0"/>
              </a:spcAft>
              <a:buClrTx/>
              <a:buSzTx/>
              <a:buFontTx/>
              <a:buNone/>
              <a:tabLst/>
              <a:defRPr/>
            </a:pPr>
            <a:fld id="{8D7874BA-B114-4D1F-A449-70AD1C45E88A}" type="slidenum">
              <a:rPr kumimoji="0" lang="en-US" sz="900" b="0" i="0" u="none" strike="noStrike" kern="0" cap="none" spc="0" normalizeH="0" baseline="0" noProof="0" smtClean="0">
                <a:ln>
                  <a:noFill/>
                </a:ln>
                <a:solidFill>
                  <a:srgbClr val="B8B7B9"/>
                </a:solidFill>
                <a:effectLst/>
                <a:uLnTx/>
                <a:uFillTx/>
                <a:ea typeface="MS PGothic" pitchFamily="34" charset="-128"/>
              </a:rPr>
              <a:pPr marL="0" marR="0" lvl="0" indent="0" algn="r" defTabSz="914400" eaLnBrk="0" fontAlgn="base" latinLnBrk="0" hangingPunct="0">
                <a:lnSpc>
                  <a:spcPct val="100000"/>
                </a:lnSpc>
                <a:spcBef>
                  <a:spcPct val="0"/>
                </a:spcBef>
                <a:spcAft>
                  <a:spcPct val="0"/>
                </a:spcAft>
                <a:buClrTx/>
                <a:buSzTx/>
                <a:buFontTx/>
                <a:buNone/>
                <a:tabLst/>
                <a:defRPr/>
              </a:pPr>
              <a:t>‹#›</a:t>
            </a:fld>
            <a:endParaRPr kumimoji="0" lang="en-US" sz="900" b="0" i="0" u="none" strike="noStrike" kern="0" cap="none" spc="0" normalizeH="0" baseline="0" noProof="0" dirty="0">
              <a:ln>
                <a:noFill/>
              </a:ln>
              <a:solidFill>
                <a:srgbClr val="B8B7B9"/>
              </a:solidFill>
              <a:effectLst/>
              <a:uLnTx/>
              <a:uFillTx/>
              <a:ea typeface="MS PGothic" pitchFamily="34" charset="-128"/>
            </a:endParaRPr>
          </a:p>
        </p:txBody>
      </p:sp>
      <p:sp>
        <p:nvSpPr>
          <p:cNvPr id="135" name="Freeform: Shape 134">
            <a:extLst>
              <a:ext uri="{FF2B5EF4-FFF2-40B4-BE49-F238E27FC236}">
                <a16:creationId xmlns:a16="http://schemas.microsoft.com/office/drawing/2014/main" id="{0B736019-6C3D-4676-A1FB-36A31E7875B4}"/>
              </a:ext>
            </a:extLst>
          </p:cNvPr>
          <p:cNvSpPr/>
          <p:nvPr userDrawn="1"/>
        </p:nvSpPr>
        <p:spPr>
          <a:xfrm>
            <a:off x="10100761" y="2762"/>
            <a:ext cx="702181" cy="675861"/>
          </a:xfrm>
          <a:custGeom>
            <a:avLst/>
            <a:gdLst>
              <a:gd name="connsiteX0" fmla="*/ 219875 w 702181"/>
              <a:gd name="connsiteY0" fmla="*/ 0 h 675861"/>
              <a:gd name="connsiteX1" fmla="*/ 570965 w 702181"/>
              <a:gd name="connsiteY1" fmla="*/ 0 h 675861"/>
              <a:gd name="connsiteX2" fmla="*/ 702181 w 702181"/>
              <a:gd name="connsiteY2" fmla="*/ 183874 h 675861"/>
              <a:gd name="connsiteX3" fmla="*/ 351091 w 702181"/>
              <a:gd name="connsiteY3" fmla="*/ 675861 h 675861"/>
              <a:gd name="connsiteX4" fmla="*/ 0 w 702181"/>
              <a:gd name="connsiteY4" fmla="*/ 675861 h 675861"/>
              <a:gd name="connsiteX5" fmla="*/ 351091 w 702181"/>
              <a:gd name="connsiteY5" fmla="*/ 183874 h 675861"/>
              <a:gd name="connsiteX6" fmla="*/ 219875 w 702181"/>
              <a:gd name="connsiteY6" fmla="*/ 0 h 6758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02181" h="675861">
                <a:moveTo>
                  <a:pt x="219875" y="0"/>
                </a:moveTo>
                <a:lnTo>
                  <a:pt x="570965" y="0"/>
                </a:lnTo>
                <a:lnTo>
                  <a:pt x="702181" y="183874"/>
                </a:lnTo>
                <a:lnTo>
                  <a:pt x="351091" y="675861"/>
                </a:lnTo>
                <a:lnTo>
                  <a:pt x="0" y="675861"/>
                </a:lnTo>
                <a:lnTo>
                  <a:pt x="351091" y="183874"/>
                </a:lnTo>
                <a:lnTo>
                  <a:pt x="219875" y="0"/>
                </a:lnTo>
                <a:close/>
              </a:path>
            </a:pathLst>
          </a:custGeom>
          <a:solidFill>
            <a:srgbClr val="C8C9C7">
              <a:alpha val="9000"/>
            </a:srgbClr>
          </a:solid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90000"/>
              </a:lnSpc>
              <a:spcBef>
                <a:spcPts val="80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PTCRaleway"/>
              <a:ea typeface="+mn-ea"/>
              <a:cs typeface="+mn-cs"/>
            </a:endParaRPr>
          </a:p>
        </p:txBody>
      </p:sp>
    </p:spTree>
    <p:extLst>
      <p:ext uri="{BB962C8B-B14F-4D97-AF65-F5344CB8AC3E}">
        <p14:creationId xmlns:p14="http://schemas.microsoft.com/office/powerpoint/2010/main" val="21686602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Icons w 3 Content">
    <p:spTree>
      <p:nvGrpSpPr>
        <p:cNvPr id="1" name=""/>
        <p:cNvGrpSpPr/>
        <p:nvPr/>
      </p:nvGrpSpPr>
      <p:grpSpPr>
        <a:xfrm>
          <a:off x="0" y="0"/>
          <a:ext cx="0" cy="0"/>
          <a:chOff x="0" y="0"/>
          <a:chExt cx="0" cy="0"/>
        </a:xfrm>
      </p:grpSpPr>
      <p:graphicFrame>
        <p:nvGraphicFramePr>
          <p:cNvPr id="41" name="Object 40" hidden="1">
            <a:extLst>
              <a:ext uri="{FF2B5EF4-FFF2-40B4-BE49-F238E27FC236}">
                <a16:creationId xmlns:a16="http://schemas.microsoft.com/office/drawing/2014/main" id="{917EBC3C-F2FD-4799-BA0A-65D895E6360A}"/>
              </a:ext>
            </a:extLst>
          </p:cNvPr>
          <p:cNvGraphicFramePr>
            <a:graphicFrameLocks noChangeAspect="1"/>
          </p:cNvGraphicFramePr>
          <p:nvPr>
            <p:custDataLst>
              <p:tags r:id="rId1"/>
            </p:custDataLst>
            <p:extLst>
              <p:ext uri="{D42A27DB-BD31-4B8C-83A1-F6EECF244321}">
                <p14:modId xmlns:p14="http://schemas.microsoft.com/office/powerpoint/2010/main" val="4183687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41" name="Object 40" hidden="1">
                        <a:extLst>
                          <a:ext uri="{FF2B5EF4-FFF2-40B4-BE49-F238E27FC236}">
                            <a16:creationId xmlns:a16="http://schemas.microsoft.com/office/drawing/2014/main" id="{917EBC3C-F2FD-4799-BA0A-65D895E6360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0" name="Rectangle 39" hidden="1">
            <a:extLst>
              <a:ext uri="{FF2B5EF4-FFF2-40B4-BE49-F238E27FC236}">
                <a16:creationId xmlns:a16="http://schemas.microsoft.com/office/drawing/2014/main" id="{2510D0F0-12AD-45C1-9B94-28859223557D}"/>
              </a:ext>
            </a:extLst>
          </p:cNvPr>
          <p:cNvSpPr/>
          <p:nvPr>
            <p:custDataLst>
              <p:tags r:id="rId2"/>
            </p:custDataLst>
          </p:nvPr>
        </p:nvSpPr>
        <p:spPr>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lnSpc>
                <a:spcPct val="90000"/>
              </a:lnSpc>
              <a:spcBef>
                <a:spcPts val="800"/>
              </a:spcBef>
            </a:pPr>
            <a:endParaRPr lang="en-US" sz="3200" b="0" i="0" baseline="0" dirty="0">
              <a:solidFill>
                <a:schemeClr val="bg1"/>
              </a:solidFill>
              <a:latin typeface="PTCRaleway" panose="020B0503030101060003" pitchFamily="34" charset="0"/>
              <a:ea typeface="+mj-ea"/>
              <a:cs typeface="+mj-cs"/>
              <a:sym typeface="Century Gothic" panose="020B0502020202020204" pitchFamily="34" charset="0"/>
            </a:endParaRPr>
          </a:p>
        </p:txBody>
      </p:sp>
      <p:sp>
        <p:nvSpPr>
          <p:cNvPr id="2" name="Title 1">
            <a:extLst>
              <a:ext uri="{FF2B5EF4-FFF2-40B4-BE49-F238E27FC236}">
                <a16:creationId xmlns:a16="http://schemas.microsoft.com/office/drawing/2014/main" id="{03ABE548-101B-4EAC-8CB7-BBD49E60436D}"/>
              </a:ext>
            </a:extLst>
          </p:cNvPr>
          <p:cNvSpPr>
            <a:spLocks noGrp="1"/>
          </p:cNvSpPr>
          <p:nvPr>
            <p:ph type="title" hasCustomPrompt="1"/>
          </p:nvPr>
        </p:nvSpPr>
        <p:spPr/>
        <p:txBody>
          <a:bodyPr/>
          <a:lstStyle/>
          <a:p>
            <a:r>
              <a:rPr lang="en-US" dirty="0"/>
              <a:t>add title – keep it brief</a:t>
            </a:r>
          </a:p>
        </p:txBody>
      </p:sp>
      <p:sp>
        <p:nvSpPr>
          <p:cNvPr id="33" name="Text Placeholder 32">
            <a:extLst>
              <a:ext uri="{FF2B5EF4-FFF2-40B4-BE49-F238E27FC236}">
                <a16:creationId xmlns:a16="http://schemas.microsoft.com/office/drawing/2014/main" id="{80B84918-AECE-4E9D-811A-C362EB2F227E}"/>
              </a:ext>
            </a:extLst>
          </p:cNvPr>
          <p:cNvSpPr>
            <a:spLocks noGrp="1"/>
          </p:cNvSpPr>
          <p:nvPr>
            <p:ph type="body" sz="quarter" idx="28" hasCustomPrompt="1"/>
          </p:nvPr>
        </p:nvSpPr>
        <p:spPr>
          <a:xfrm>
            <a:off x="665480" y="2862992"/>
            <a:ext cx="2834640" cy="235449"/>
          </a:xfrm>
        </p:spPr>
        <p:txBody>
          <a:bodyPr anchor="ctr" anchorCtr="0">
            <a:spAutoFit/>
          </a:bodyPr>
          <a:lstStyle>
            <a:lvl1pPr marL="0" indent="0" algn="ctr">
              <a:lnSpc>
                <a:spcPct val="85000"/>
              </a:lnSpc>
              <a:spcBef>
                <a:spcPts val="0"/>
              </a:spcBef>
              <a:buFontTx/>
              <a:buNone/>
              <a:defRPr sz="1800" b="1">
                <a:solidFill>
                  <a:schemeClr val="tx1"/>
                </a:solidFill>
              </a:defRPr>
            </a:lvl1pPr>
          </a:lstStyle>
          <a:p>
            <a:pPr lvl="0"/>
            <a:r>
              <a:rPr lang="en-US" dirty="0"/>
              <a:t>Add title</a:t>
            </a:r>
          </a:p>
        </p:txBody>
      </p:sp>
      <p:sp>
        <p:nvSpPr>
          <p:cNvPr id="35" name="Text Placeholder 34">
            <a:extLst>
              <a:ext uri="{FF2B5EF4-FFF2-40B4-BE49-F238E27FC236}">
                <a16:creationId xmlns:a16="http://schemas.microsoft.com/office/drawing/2014/main" id="{CFDD1C55-CC28-4EF8-AC55-64EE2B45BE57}"/>
              </a:ext>
            </a:extLst>
          </p:cNvPr>
          <p:cNvSpPr>
            <a:spLocks noGrp="1"/>
          </p:cNvSpPr>
          <p:nvPr>
            <p:ph type="body" sz="quarter" idx="29" hasCustomPrompt="1"/>
          </p:nvPr>
        </p:nvSpPr>
        <p:spPr>
          <a:xfrm>
            <a:off x="665163" y="4830063"/>
            <a:ext cx="2835275" cy="502920"/>
          </a:xfrm>
        </p:spPr>
        <p:txBody>
          <a:bodyPr>
            <a:spAutoFit/>
          </a:bodyPr>
          <a:lstStyle>
            <a:lvl1pPr marL="285750" indent="-285750" algn="ctr">
              <a:spcBef>
                <a:spcPts val="600"/>
              </a:spcBef>
              <a:buFontTx/>
              <a:buNone/>
              <a:defRPr sz="1600"/>
            </a:lvl1pPr>
            <a:lvl2pPr marL="386674" indent="0" algn="ctr">
              <a:buFontTx/>
              <a:buNone/>
              <a:defRPr sz="1600"/>
            </a:lvl2pPr>
            <a:lvl3pPr marL="704088" indent="0" algn="ctr">
              <a:buFontTx/>
              <a:buNone/>
              <a:defRPr sz="1600"/>
            </a:lvl3pPr>
            <a:lvl4pPr marL="987552" indent="0" algn="ctr">
              <a:buFontTx/>
              <a:buNone/>
              <a:defRPr sz="1600"/>
            </a:lvl4pPr>
            <a:lvl5pPr marL="1261872" indent="0" algn="ctr">
              <a:buFontTx/>
              <a:buNone/>
              <a:defRPr sz="1600"/>
            </a:lvl5pPr>
          </a:lstStyle>
          <a:p>
            <a:pPr marL="0" marR="0" lvl="0" indent="0" algn="ctr" defTabSz="914400" fontAlgn="auto">
              <a:lnSpc>
                <a:spcPct val="100000"/>
              </a:lnSpc>
              <a:spcBef>
                <a:spcPts val="0"/>
              </a:spcBef>
              <a:spcAft>
                <a:spcPts val="0"/>
              </a:spcAft>
              <a:buClrTx/>
              <a:buSzTx/>
              <a:buFontTx/>
              <a:buNone/>
              <a:tabLst/>
            </a:pPr>
            <a:r>
              <a:rPr lang="en-US" dirty="0"/>
              <a:t>Add a short paragraph – not too long – or a bulleted list</a:t>
            </a:r>
          </a:p>
        </p:txBody>
      </p:sp>
      <p:sp>
        <p:nvSpPr>
          <p:cNvPr id="36" name="Text Placeholder 32">
            <a:extLst>
              <a:ext uri="{FF2B5EF4-FFF2-40B4-BE49-F238E27FC236}">
                <a16:creationId xmlns:a16="http://schemas.microsoft.com/office/drawing/2014/main" id="{CDE670DD-0AD0-49A7-BBB7-6E14E24C352B}"/>
              </a:ext>
            </a:extLst>
          </p:cNvPr>
          <p:cNvSpPr>
            <a:spLocks noGrp="1"/>
          </p:cNvSpPr>
          <p:nvPr>
            <p:ph type="body" sz="quarter" idx="30" hasCustomPrompt="1"/>
          </p:nvPr>
        </p:nvSpPr>
        <p:spPr>
          <a:xfrm>
            <a:off x="4696308" y="2862992"/>
            <a:ext cx="2834640" cy="235449"/>
          </a:xfrm>
        </p:spPr>
        <p:txBody>
          <a:bodyPr anchor="ctr" anchorCtr="0">
            <a:spAutoFit/>
          </a:bodyPr>
          <a:lstStyle>
            <a:lvl1pPr marL="0" indent="0" algn="ctr">
              <a:lnSpc>
                <a:spcPct val="85000"/>
              </a:lnSpc>
              <a:spcBef>
                <a:spcPts val="0"/>
              </a:spcBef>
              <a:buFontTx/>
              <a:buNone/>
              <a:defRPr sz="1800" b="1">
                <a:solidFill>
                  <a:schemeClr val="tx1"/>
                </a:solidFill>
              </a:defRPr>
            </a:lvl1pPr>
          </a:lstStyle>
          <a:p>
            <a:pPr lvl="0"/>
            <a:r>
              <a:rPr lang="en-US" dirty="0"/>
              <a:t>Add title</a:t>
            </a:r>
          </a:p>
        </p:txBody>
      </p:sp>
      <p:sp>
        <p:nvSpPr>
          <p:cNvPr id="37" name="Text Placeholder 34">
            <a:extLst>
              <a:ext uri="{FF2B5EF4-FFF2-40B4-BE49-F238E27FC236}">
                <a16:creationId xmlns:a16="http://schemas.microsoft.com/office/drawing/2014/main" id="{FC9DE6F9-8E54-4D72-AB42-FB47C6AFD250}"/>
              </a:ext>
            </a:extLst>
          </p:cNvPr>
          <p:cNvSpPr>
            <a:spLocks noGrp="1"/>
          </p:cNvSpPr>
          <p:nvPr>
            <p:ph type="body" sz="quarter" idx="31" hasCustomPrompt="1"/>
          </p:nvPr>
        </p:nvSpPr>
        <p:spPr>
          <a:xfrm>
            <a:off x="4695991" y="4830063"/>
            <a:ext cx="2835275" cy="502920"/>
          </a:xfrm>
        </p:spPr>
        <p:txBody>
          <a:bodyPr>
            <a:spAutoFit/>
          </a:bodyPr>
          <a:lstStyle>
            <a:lvl1pPr marL="285750" indent="-285750" algn="ctr">
              <a:spcBef>
                <a:spcPts val="600"/>
              </a:spcBef>
              <a:buFontTx/>
              <a:buNone/>
              <a:defRPr sz="1600"/>
            </a:lvl1pPr>
            <a:lvl2pPr marL="386674" indent="0" algn="ctr">
              <a:buFontTx/>
              <a:buNone/>
              <a:defRPr sz="1600"/>
            </a:lvl2pPr>
            <a:lvl3pPr marL="704088" indent="0" algn="ctr">
              <a:buFontTx/>
              <a:buNone/>
              <a:defRPr sz="1600"/>
            </a:lvl3pPr>
            <a:lvl4pPr marL="987552" indent="0" algn="ctr">
              <a:buFontTx/>
              <a:buNone/>
              <a:defRPr sz="1600"/>
            </a:lvl4pPr>
            <a:lvl5pPr marL="1261872" indent="0" algn="ctr">
              <a:buFontTx/>
              <a:buNone/>
              <a:defRPr sz="1600"/>
            </a:lvl5pPr>
          </a:lstStyle>
          <a:p>
            <a:pPr marL="0" marR="0" lvl="0" indent="0" algn="ctr" defTabSz="914400" fontAlgn="auto">
              <a:lnSpc>
                <a:spcPct val="100000"/>
              </a:lnSpc>
              <a:spcBef>
                <a:spcPts val="0"/>
              </a:spcBef>
              <a:spcAft>
                <a:spcPts val="0"/>
              </a:spcAft>
              <a:buClrTx/>
              <a:buSzTx/>
              <a:buFontTx/>
              <a:buNone/>
              <a:tabLst/>
            </a:pPr>
            <a:r>
              <a:rPr lang="en-US" dirty="0"/>
              <a:t>Add a short paragraph – not too long – or a bulleted list</a:t>
            </a:r>
          </a:p>
        </p:txBody>
      </p:sp>
      <p:sp>
        <p:nvSpPr>
          <p:cNvPr id="38" name="Text Placeholder 32">
            <a:extLst>
              <a:ext uri="{FF2B5EF4-FFF2-40B4-BE49-F238E27FC236}">
                <a16:creationId xmlns:a16="http://schemas.microsoft.com/office/drawing/2014/main" id="{3183D2B9-482A-44BB-9D5F-DBFE89D19F85}"/>
              </a:ext>
            </a:extLst>
          </p:cNvPr>
          <p:cNvSpPr>
            <a:spLocks noGrp="1"/>
          </p:cNvSpPr>
          <p:nvPr>
            <p:ph type="body" sz="quarter" idx="32" hasCustomPrompt="1"/>
          </p:nvPr>
        </p:nvSpPr>
        <p:spPr>
          <a:xfrm>
            <a:off x="8727756" y="2862992"/>
            <a:ext cx="2834640" cy="235449"/>
          </a:xfrm>
        </p:spPr>
        <p:txBody>
          <a:bodyPr anchor="ctr" anchorCtr="0">
            <a:spAutoFit/>
          </a:bodyPr>
          <a:lstStyle>
            <a:lvl1pPr marL="0" indent="0" algn="ctr">
              <a:lnSpc>
                <a:spcPct val="85000"/>
              </a:lnSpc>
              <a:spcBef>
                <a:spcPts val="0"/>
              </a:spcBef>
              <a:buFontTx/>
              <a:buNone/>
              <a:defRPr sz="1800" b="1">
                <a:solidFill>
                  <a:schemeClr val="tx1"/>
                </a:solidFill>
              </a:defRPr>
            </a:lvl1pPr>
          </a:lstStyle>
          <a:p>
            <a:pPr lvl="0"/>
            <a:r>
              <a:rPr lang="en-US" dirty="0"/>
              <a:t>Add title</a:t>
            </a:r>
          </a:p>
        </p:txBody>
      </p:sp>
      <p:sp>
        <p:nvSpPr>
          <p:cNvPr id="39" name="Text Placeholder 34">
            <a:extLst>
              <a:ext uri="{FF2B5EF4-FFF2-40B4-BE49-F238E27FC236}">
                <a16:creationId xmlns:a16="http://schemas.microsoft.com/office/drawing/2014/main" id="{775FB311-5594-4514-9EFB-DF05142A6E8E}"/>
              </a:ext>
            </a:extLst>
          </p:cNvPr>
          <p:cNvSpPr>
            <a:spLocks noGrp="1"/>
          </p:cNvSpPr>
          <p:nvPr>
            <p:ph type="body" sz="quarter" idx="33" hasCustomPrompt="1"/>
          </p:nvPr>
        </p:nvSpPr>
        <p:spPr>
          <a:xfrm>
            <a:off x="8727439" y="4830063"/>
            <a:ext cx="2835275" cy="502920"/>
          </a:xfrm>
        </p:spPr>
        <p:txBody>
          <a:bodyPr>
            <a:spAutoFit/>
          </a:bodyPr>
          <a:lstStyle>
            <a:lvl1pPr marL="285750" indent="-285750" algn="ctr">
              <a:spcBef>
                <a:spcPts val="600"/>
              </a:spcBef>
              <a:buFontTx/>
              <a:buNone/>
              <a:defRPr sz="1600"/>
            </a:lvl1pPr>
            <a:lvl2pPr marL="386674" indent="0" algn="ctr">
              <a:buFontTx/>
              <a:buNone/>
              <a:defRPr sz="1600"/>
            </a:lvl2pPr>
            <a:lvl3pPr marL="704088" indent="0" algn="ctr">
              <a:buFontTx/>
              <a:buNone/>
              <a:defRPr sz="1600"/>
            </a:lvl3pPr>
            <a:lvl4pPr marL="987552" indent="0" algn="ctr">
              <a:buFontTx/>
              <a:buNone/>
              <a:defRPr sz="1600"/>
            </a:lvl4pPr>
            <a:lvl5pPr marL="1261872" indent="0" algn="ctr">
              <a:buFontTx/>
              <a:buNone/>
              <a:defRPr sz="1600"/>
            </a:lvl5pPr>
          </a:lstStyle>
          <a:p>
            <a:pPr marL="0" marR="0" lvl="0" indent="0" algn="ctr" defTabSz="914400" fontAlgn="auto">
              <a:lnSpc>
                <a:spcPct val="100000"/>
              </a:lnSpc>
              <a:spcBef>
                <a:spcPts val="0"/>
              </a:spcBef>
              <a:spcAft>
                <a:spcPts val="0"/>
              </a:spcAft>
              <a:buClrTx/>
              <a:buSzTx/>
              <a:buFontTx/>
              <a:buNone/>
              <a:tabLst/>
            </a:pPr>
            <a:r>
              <a:rPr lang="en-US" dirty="0"/>
              <a:t>Add a short paragraph – not too long – or a bulleted list</a:t>
            </a:r>
          </a:p>
        </p:txBody>
      </p:sp>
      <p:sp>
        <p:nvSpPr>
          <p:cNvPr id="20" name="Picture Placeholder 6">
            <a:extLst>
              <a:ext uri="{FF2B5EF4-FFF2-40B4-BE49-F238E27FC236}">
                <a16:creationId xmlns:a16="http://schemas.microsoft.com/office/drawing/2014/main" id="{8D4CC7BD-E27E-4EE8-A7DB-4AC115B1C01D}"/>
              </a:ext>
            </a:extLst>
          </p:cNvPr>
          <p:cNvSpPr>
            <a:spLocks noGrp="1"/>
          </p:cNvSpPr>
          <p:nvPr>
            <p:ph type="pic" sz="quarter" idx="39" hasCustomPrompt="1"/>
          </p:nvPr>
        </p:nvSpPr>
        <p:spPr>
          <a:xfrm>
            <a:off x="1775092" y="3754367"/>
            <a:ext cx="615416" cy="365760"/>
          </a:xfrm>
        </p:spPr>
        <p:txBody>
          <a:bodyPr/>
          <a:lstStyle>
            <a:lvl1pPr marL="0" indent="0" algn="ctr">
              <a:buFontTx/>
              <a:buNone/>
              <a:defRPr sz="800" b="1">
                <a:solidFill>
                  <a:schemeClr val="accent3"/>
                </a:solidFill>
              </a:defRPr>
            </a:lvl1pPr>
          </a:lstStyle>
          <a:p>
            <a:r>
              <a:rPr lang="en-US" dirty="0"/>
              <a:t>Paste icon from PTC PPT Library</a:t>
            </a:r>
          </a:p>
        </p:txBody>
      </p:sp>
      <p:sp>
        <p:nvSpPr>
          <p:cNvPr id="21" name="Picture Placeholder 6">
            <a:extLst>
              <a:ext uri="{FF2B5EF4-FFF2-40B4-BE49-F238E27FC236}">
                <a16:creationId xmlns:a16="http://schemas.microsoft.com/office/drawing/2014/main" id="{F8AD2306-5A92-4FC0-BFA9-0F7016A6CDAB}"/>
              </a:ext>
            </a:extLst>
          </p:cNvPr>
          <p:cNvSpPr>
            <a:spLocks noGrp="1"/>
          </p:cNvSpPr>
          <p:nvPr>
            <p:ph type="pic" sz="quarter" idx="40" hasCustomPrompt="1"/>
          </p:nvPr>
        </p:nvSpPr>
        <p:spPr>
          <a:xfrm>
            <a:off x="5805920" y="3754367"/>
            <a:ext cx="615416" cy="365760"/>
          </a:xfrm>
        </p:spPr>
        <p:txBody>
          <a:bodyPr/>
          <a:lstStyle>
            <a:lvl1pPr marL="0" indent="0" algn="ctr">
              <a:buFontTx/>
              <a:buNone/>
              <a:defRPr sz="800" b="1">
                <a:solidFill>
                  <a:schemeClr val="accent3"/>
                </a:solidFill>
              </a:defRPr>
            </a:lvl1pPr>
          </a:lstStyle>
          <a:p>
            <a:r>
              <a:rPr lang="en-US" dirty="0"/>
              <a:t>Paste icon from PTC PPT Library</a:t>
            </a:r>
          </a:p>
        </p:txBody>
      </p:sp>
      <p:sp>
        <p:nvSpPr>
          <p:cNvPr id="22" name="Picture Placeholder 6">
            <a:extLst>
              <a:ext uri="{FF2B5EF4-FFF2-40B4-BE49-F238E27FC236}">
                <a16:creationId xmlns:a16="http://schemas.microsoft.com/office/drawing/2014/main" id="{B0D23108-9BEB-4E78-980F-330123D90595}"/>
              </a:ext>
            </a:extLst>
          </p:cNvPr>
          <p:cNvSpPr>
            <a:spLocks noGrp="1"/>
          </p:cNvSpPr>
          <p:nvPr>
            <p:ph type="pic" sz="quarter" idx="41" hasCustomPrompt="1"/>
          </p:nvPr>
        </p:nvSpPr>
        <p:spPr>
          <a:xfrm>
            <a:off x="9837368" y="3754367"/>
            <a:ext cx="615416" cy="365760"/>
          </a:xfrm>
        </p:spPr>
        <p:txBody>
          <a:bodyPr/>
          <a:lstStyle>
            <a:lvl1pPr marL="0" indent="0" algn="ctr">
              <a:buFontTx/>
              <a:buNone/>
              <a:defRPr sz="800" b="1">
                <a:solidFill>
                  <a:schemeClr val="accent3"/>
                </a:solidFill>
              </a:defRPr>
            </a:lvl1pPr>
          </a:lstStyle>
          <a:p>
            <a:r>
              <a:rPr lang="en-US" dirty="0"/>
              <a:t>Paste icon from PTC PPT Library</a:t>
            </a:r>
          </a:p>
        </p:txBody>
      </p:sp>
      <p:sp>
        <p:nvSpPr>
          <p:cNvPr id="4" name="Text Placeholder 3">
            <a:extLst>
              <a:ext uri="{FF2B5EF4-FFF2-40B4-BE49-F238E27FC236}">
                <a16:creationId xmlns:a16="http://schemas.microsoft.com/office/drawing/2014/main" id="{D8559386-9143-433E-8318-1171FD2EFC88}"/>
              </a:ext>
            </a:extLst>
          </p:cNvPr>
          <p:cNvSpPr>
            <a:spLocks noGrp="1"/>
          </p:cNvSpPr>
          <p:nvPr>
            <p:ph type="body" sz="quarter" idx="42" hasCustomPrompt="1"/>
          </p:nvPr>
        </p:nvSpPr>
        <p:spPr>
          <a:xfrm>
            <a:off x="1158240" y="1691640"/>
            <a:ext cx="9875520" cy="304699"/>
          </a:xfrm>
          <a:noFill/>
        </p:spPr>
        <p:txBody>
          <a:bodyPr vert="horz" lIns="0" tIns="0" rIns="0" bIns="0" rtlCol="0" anchor="ctr" anchorCtr="0">
            <a:spAutoFit/>
          </a:bodyPr>
          <a:lstStyle>
            <a:lvl1pPr marL="0" indent="0" algn="ctr">
              <a:buFontTx/>
              <a:buNone/>
              <a:defRPr lang="en-US" sz="2200" dirty="0"/>
            </a:lvl1pPr>
          </a:lstStyle>
          <a:p>
            <a:pPr lvl="0"/>
            <a:r>
              <a:rPr lang="en-US" dirty="0"/>
              <a:t>Call out blurb</a:t>
            </a:r>
          </a:p>
        </p:txBody>
      </p:sp>
    </p:spTree>
    <p:extLst>
      <p:ext uri="{BB962C8B-B14F-4D97-AF65-F5344CB8AC3E}">
        <p14:creationId xmlns:p14="http://schemas.microsoft.com/office/powerpoint/2010/main" val="31436047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Icons w 4 Conten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D0DD1B2-3E44-448A-B29D-4BF5525EAF82}"/>
              </a:ext>
            </a:extLst>
          </p:cNvPr>
          <p:cNvGraphicFramePr>
            <a:graphicFrameLocks noChangeAspect="1"/>
          </p:cNvGraphicFramePr>
          <p:nvPr>
            <p:custDataLst>
              <p:tags r:id="rId1"/>
            </p:custDataLst>
            <p:extLst>
              <p:ext uri="{D42A27DB-BD31-4B8C-83A1-F6EECF244321}">
                <p14:modId xmlns:p14="http://schemas.microsoft.com/office/powerpoint/2010/main" val="42925443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4" name="Object 3" hidden="1">
                        <a:extLst>
                          <a:ext uri="{FF2B5EF4-FFF2-40B4-BE49-F238E27FC236}">
                            <a16:creationId xmlns:a16="http://schemas.microsoft.com/office/drawing/2014/main" id="{CD0DD1B2-3E44-448A-B29D-4BF5525EAF8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B3F8CDBA-3DC1-4B48-9D1F-EF614A8FDDB5}"/>
              </a:ext>
            </a:extLst>
          </p:cNvPr>
          <p:cNvSpPr/>
          <p:nvPr>
            <p:custDataLst>
              <p:tags r:id="rId2"/>
            </p:custDataLst>
          </p:nvPr>
        </p:nvSpPr>
        <p:spPr>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lnSpc>
                <a:spcPct val="90000"/>
              </a:lnSpc>
              <a:spcBef>
                <a:spcPts val="800"/>
              </a:spcBef>
            </a:pPr>
            <a:endParaRPr lang="en-US" sz="3200" b="0" i="0" baseline="0" dirty="0">
              <a:solidFill>
                <a:schemeClr val="bg1"/>
              </a:solidFill>
              <a:latin typeface="PTCRaleway" panose="020B0503030101060003" pitchFamily="34" charset="0"/>
              <a:ea typeface="+mj-ea"/>
              <a:cs typeface="+mj-cs"/>
              <a:sym typeface="Century Gothic" panose="020B0502020202020204" pitchFamily="34" charset="0"/>
            </a:endParaRPr>
          </a:p>
        </p:txBody>
      </p:sp>
      <p:sp>
        <p:nvSpPr>
          <p:cNvPr id="2" name="Title 1">
            <a:extLst>
              <a:ext uri="{FF2B5EF4-FFF2-40B4-BE49-F238E27FC236}">
                <a16:creationId xmlns:a16="http://schemas.microsoft.com/office/drawing/2014/main" id="{BF0272BA-DF00-4403-901D-E1E0848AA754}"/>
              </a:ext>
            </a:extLst>
          </p:cNvPr>
          <p:cNvSpPr>
            <a:spLocks noGrp="1"/>
          </p:cNvSpPr>
          <p:nvPr>
            <p:ph type="title" hasCustomPrompt="1"/>
          </p:nvPr>
        </p:nvSpPr>
        <p:spPr/>
        <p:txBody>
          <a:bodyPr/>
          <a:lstStyle/>
          <a:p>
            <a:r>
              <a:rPr lang="en-US" dirty="0"/>
              <a:t>add title – keep it brief</a:t>
            </a:r>
          </a:p>
        </p:txBody>
      </p:sp>
      <p:sp>
        <p:nvSpPr>
          <p:cNvPr id="52" name="Text Placeholder 32">
            <a:extLst>
              <a:ext uri="{FF2B5EF4-FFF2-40B4-BE49-F238E27FC236}">
                <a16:creationId xmlns:a16="http://schemas.microsoft.com/office/drawing/2014/main" id="{490C73DF-CFB4-4B5B-92C8-F90E3A62E77F}"/>
              </a:ext>
            </a:extLst>
          </p:cNvPr>
          <p:cNvSpPr>
            <a:spLocks noGrp="1"/>
          </p:cNvSpPr>
          <p:nvPr>
            <p:ph type="body" sz="quarter" idx="28" hasCustomPrompt="1"/>
          </p:nvPr>
        </p:nvSpPr>
        <p:spPr>
          <a:xfrm>
            <a:off x="696903" y="2864755"/>
            <a:ext cx="1936096" cy="209288"/>
          </a:xfrm>
        </p:spPr>
        <p:txBody>
          <a:bodyPr anchor="ctr" anchorCtr="0">
            <a:spAutoFit/>
          </a:bodyPr>
          <a:lstStyle>
            <a:lvl1pPr marL="0" indent="0" algn="ctr">
              <a:lnSpc>
                <a:spcPct val="85000"/>
              </a:lnSpc>
              <a:spcBef>
                <a:spcPts val="0"/>
              </a:spcBef>
              <a:buFontTx/>
              <a:buNone/>
              <a:defRPr sz="1600" b="1">
                <a:solidFill>
                  <a:schemeClr val="tx1"/>
                </a:solidFill>
              </a:defRPr>
            </a:lvl1pPr>
          </a:lstStyle>
          <a:p>
            <a:pPr lvl="0"/>
            <a:r>
              <a:rPr lang="en-US" dirty="0"/>
              <a:t>Add title</a:t>
            </a:r>
          </a:p>
        </p:txBody>
      </p:sp>
      <p:sp>
        <p:nvSpPr>
          <p:cNvPr id="53" name="Text Placeholder 34">
            <a:extLst>
              <a:ext uri="{FF2B5EF4-FFF2-40B4-BE49-F238E27FC236}">
                <a16:creationId xmlns:a16="http://schemas.microsoft.com/office/drawing/2014/main" id="{FE00311D-162D-450B-AAB4-212D530B9965}"/>
              </a:ext>
            </a:extLst>
          </p:cNvPr>
          <p:cNvSpPr>
            <a:spLocks noGrp="1"/>
          </p:cNvSpPr>
          <p:nvPr>
            <p:ph type="body" sz="quarter" idx="29" hasCustomPrompt="1"/>
          </p:nvPr>
        </p:nvSpPr>
        <p:spPr>
          <a:xfrm>
            <a:off x="696685" y="4784343"/>
            <a:ext cx="1936532" cy="646331"/>
          </a:xfrm>
        </p:spPr>
        <p:txBody>
          <a:bodyPr>
            <a:spAutoFit/>
          </a:bodyPr>
          <a:lstStyle>
            <a:lvl1pPr marL="285750" indent="-285750" algn="ctr">
              <a:spcBef>
                <a:spcPts val="600"/>
              </a:spcBef>
              <a:buFontTx/>
              <a:buNone/>
              <a:defRPr sz="1400"/>
            </a:lvl1pPr>
            <a:lvl2pPr marL="386674" indent="0" algn="ctr">
              <a:buFontTx/>
              <a:buNone/>
              <a:defRPr sz="1600"/>
            </a:lvl2pPr>
            <a:lvl3pPr marL="704088" indent="0" algn="ctr">
              <a:buFontTx/>
              <a:buNone/>
              <a:defRPr sz="1600"/>
            </a:lvl3pPr>
            <a:lvl4pPr marL="987552" indent="0" algn="ctr">
              <a:buFontTx/>
              <a:buNone/>
              <a:defRPr sz="1600"/>
            </a:lvl4pPr>
            <a:lvl5pPr marL="1261872" indent="0" algn="ctr">
              <a:buFontTx/>
              <a:buNone/>
              <a:defRPr sz="1600"/>
            </a:lvl5pPr>
          </a:lstStyle>
          <a:p>
            <a:pPr marL="0" marR="0" lvl="0" indent="0" algn="ctr" defTabSz="914400" fontAlgn="auto">
              <a:lnSpc>
                <a:spcPct val="100000"/>
              </a:lnSpc>
              <a:spcBef>
                <a:spcPts val="0"/>
              </a:spcBef>
              <a:spcAft>
                <a:spcPts val="0"/>
              </a:spcAft>
              <a:buClrTx/>
              <a:buSzTx/>
              <a:buFontTx/>
              <a:buNone/>
              <a:tabLst/>
            </a:pPr>
            <a:r>
              <a:rPr lang="en-US" dirty="0"/>
              <a:t>Add a short paragraph – not too long – or a bulleted list</a:t>
            </a:r>
          </a:p>
        </p:txBody>
      </p:sp>
      <p:sp>
        <p:nvSpPr>
          <p:cNvPr id="58" name="Text Placeholder 32">
            <a:extLst>
              <a:ext uri="{FF2B5EF4-FFF2-40B4-BE49-F238E27FC236}">
                <a16:creationId xmlns:a16="http://schemas.microsoft.com/office/drawing/2014/main" id="{9D12CB28-EBBA-4213-84C3-27EE8E1195B3}"/>
              </a:ext>
            </a:extLst>
          </p:cNvPr>
          <p:cNvSpPr>
            <a:spLocks noGrp="1"/>
          </p:cNvSpPr>
          <p:nvPr>
            <p:ph type="body" sz="quarter" idx="31" hasCustomPrompt="1"/>
          </p:nvPr>
        </p:nvSpPr>
        <p:spPr>
          <a:xfrm>
            <a:off x="3666655" y="2864755"/>
            <a:ext cx="1936096" cy="209288"/>
          </a:xfrm>
        </p:spPr>
        <p:txBody>
          <a:bodyPr anchor="ctr" anchorCtr="0">
            <a:spAutoFit/>
          </a:bodyPr>
          <a:lstStyle>
            <a:lvl1pPr marL="0" indent="0" algn="ctr">
              <a:lnSpc>
                <a:spcPct val="85000"/>
              </a:lnSpc>
              <a:spcBef>
                <a:spcPts val="0"/>
              </a:spcBef>
              <a:buFontTx/>
              <a:buNone/>
              <a:defRPr sz="1600" b="1">
                <a:solidFill>
                  <a:schemeClr val="tx1"/>
                </a:solidFill>
              </a:defRPr>
            </a:lvl1pPr>
          </a:lstStyle>
          <a:p>
            <a:pPr lvl="0"/>
            <a:r>
              <a:rPr lang="en-US" dirty="0"/>
              <a:t>Add title</a:t>
            </a:r>
          </a:p>
        </p:txBody>
      </p:sp>
      <p:sp>
        <p:nvSpPr>
          <p:cNvPr id="59" name="Text Placeholder 34">
            <a:extLst>
              <a:ext uri="{FF2B5EF4-FFF2-40B4-BE49-F238E27FC236}">
                <a16:creationId xmlns:a16="http://schemas.microsoft.com/office/drawing/2014/main" id="{A8089C8B-DB33-4F20-A90E-29D5706AC690}"/>
              </a:ext>
            </a:extLst>
          </p:cNvPr>
          <p:cNvSpPr>
            <a:spLocks noGrp="1"/>
          </p:cNvSpPr>
          <p:nvPr>
            <p:ph type="body" sz="quarter" idx="32" hasCustomPrompt="1"/>
          </p:nvPr>
        </p:nvSpPr>
        <p:spPr>
          <a:xfrm>
            <a:off x="3666437" y="4784343"/>
            <a:ext cx="1936532" cy="646331"/>
          </a:xfrm>
        </p:spPr>
        <p:txBody>
          <a:bodyPr>
            <a:spAutoFit/>
          </a:bodyPr>
          <a:lstStyle>
            <a:lvl1pPr marL="285750" indent="-285750" algn="ctr">
              <a:spcBef>
                <a:spcPts val="600"/>
              </a:spcBef>
              <a:buFontTx/>
              <a:buNone/>
              <a:defRPr sz="1400"/>
            </a:lvl1pPr>
            <a:lvl2pPr marL="386674" indent="0" algn="ctr">
              <a:buFontTx/>
              <a:buNone/>
              <a:defRPr sz="1600"/>
            </a:lvl2pPr>
            <a:lvl3pPr marL="704088" indent="0" algn="ctr">
              <a:buFontTx/>
              <a:buNone/>
              <a:defRPr sz="1600"/>
            </a:lvl3pPr>
            <a:lvl4pPr marL="987552" indent="0" algn="ctr">
              <a:buFontTx/>
              <a:buNone/>
              <a:defRPr sz="1600"/>
            </a:lvl4pPr>
            <a:lvl5pPr marL="1261872" indent="0" algn="ctr">
              <a:buFontTx/>
              <a:buNone/>
              <a:defRPr sz="1600"/>
            </a:lvl5pPr>
          </a:lstStyle>
          <a:p>
            <a:pPr marL="0" marR="0" lvl="0" indent="0" algn="ctr" defTabSz="914400" fontAlgn="auto">
              <a:lnSpc>
                <a:spcPct val="100000"/>
              </a:lnSpc>
              <a:spcBef>
                <a:spcPts val="0"/>
              </a:spcBef>
              <a:spcAft>
                <a:spcPts val="0"/>
              </a:spcAft>
              <a:buClrTx/>
              <a:buSzTx/>
              <a:buFontTx/>
              <a:buNone/>
              <a:tabLst/>
            </a:pPr>
            <a:r>
              <a:rPr lang="en-US" dirty="0"/>
              <a:t>Add a short paragraph – not too long – or a bulleted list</a:t>
            </a:r>
          </a:p>
        </p:txBody>
      </p:sp>
      <p:sp>
        <p:nvSpPr>
          <p:cNvPr id="61" name="Text Placeholder 32">
            <a:extLst>
              <a:ext uri="{FF2B5EF4-FFF2-40B4-BE49-F238E27FC236}">
                <a16:creationId xmlns:a16="http://schemas.microsoft.com/office/drawing/2014/main" id="{16964035-D680-41E2-BCE6-EDBF1662979F}"/>
              </a:ext>
            </a:extLst>
          </p:cNvPr>
          <p:cNvSpPr>
            <a:spLocks noGrp="1"/>
          </p:cNvSpPr>
          <p:nvPr>
            <p:ph type="body" sz="quarter" idx="34" hasCustomPrompt="1"/>
          </p:nvPr>
        </p:nvSpPr>
        <p:spPr>
          <a:xfrm>
            <a:off x="6631277" y="2864755"/>
            <a:ext cx="1936096" cy="209288"/>
          </a:xfrm>
        </p:spPr>
        <p:txBody>
          <a:bodyPr anchor="ctr" anchorCtr="0">
            <a:spAutoFit/>
          </a:bodyPr>
          <a:lstStyle>
            <a:lvl1pPr marL="0" indent="0" algn="ctr">
              <a:lnSpc>
                <a:spcPct val="85000"/>
              </a:lnSpc>
              <a:spcBef>
                <a:spcPts val="0"/>
              </a:spcBef>
              <a:buFontTx/>
              <a:buNone/>
              <a:defRPr sz="1600" b="1">
                <a:solidFill>
                  <a:schemeClr val="tx1"/>
                </a:solidFill>
              </a:defRPr>
            </a:lvl1pPr>
          </a:lstStyle>
          <a:p>
            <a:pPr lvl="0"/>
            <a:r>
              <a:rPr lang="en-US" dirty="0"/>
              <a:t>Add title</a:t>
            </a:r>
          </a:p>
        </p:txBody>
      </p:sp>
      <p:sp>
        <p:nvSpPr>
          <p:cNvPr id="62" name="Text Placeholder 34">
            <a:extLst>
              <a:ext uri="{FF2B5EF4-FFF2-40B4-BE49-F238E27FC236}">
                <a16:creationId xmlns:a16="http://schemas.microsoft.com/office/drawing/2014/main" id="{F7D72ACE-A6E3-49BA-B635-B4FF555C66B6}"/>
              </a:ext>
            </a:extLst>
          </p:cNvPr>
          <p:cNvSpPr>
            <a:spLocks noGrp="1"/>
          </p:cNvSpPr>
          <p:nvPr>
            <p:ph type="body" sz="quarter" idx="35" hasCustomPrompt="1"/>
          </p:nvPr>
        </p:nvSpPr>
        <p:spPr>
          <a:xfrm>
            <a:off x="6631059" y="4784343"/>
            <a:ext cx="1936532" cy="646331"/>
          </a:xfrm>
        </p:spPr>
        <p:txBody>
          <a:bodyPr>
            <a:spAutoFit/>
          </a:bodyPr>
          <a:lstStyle>
            <a:lvl1pPr marL="285750" indent="-285750" algn="ctr">
              <a:spcBef>
                <a:spcPts val="600"/>
              </a:spcBef>
              <a:buFontTx/>
              <a:buNone/>
              <a:defRPr sz="1400"/>
            </a:lvl1pPr>
            <a:lvl2pPr marL="386674" indent="0" algn="ctr">
              <a:buFontTx/>
              <a:buNone/>
              <a:defRPr sz="1600"/>
            </a:lvl2pPr>
            <a:lvl3pPr marL="704088" indent="0" algn="ctr">
              <a:buFontTx/>
              <a:buNone/>
              <a:defRPr sz="1600"/>
            </a:lvl3pPr>
            <a:lvl4pPr marL="987552" indent="0" algn="ctr">
              <a:buFontTx/>
              <a:buNone/>
              <a:defRPr sz="1600"/>
            </a:lvl4pPr>
            <a:lvl5pPr marL="1261872" indent="0" algn="ctr">
              <a:buFontTx/>
              <a:buNone/>
              <a:defRPr sz="1600"/>
            </a:lvl5pPr>
          </a:lstStyle>
          <a:p>
            <a:pPr marL="0" marR="0" lvl="0" indent="0" algn="ctr" defTabSz="914400" fontAlgn="auto">
              <a:lnSpc>
                <a:spcPct val="100000"/>
              </a:lnSpc>
              <a:spcBef>
                <a:spcPts val="0"/>
              </a:spcBef>
              <a:spcAft>
                <a:spcPts val="0"/>
              </a:spcAft>
              <a:buClrTx/>
              <a:buSzTx/>
              <a:buFontTx/>
              <a:buNone/>
              <a:tabLst/>
            </a:pPr>
            <a:r>
              <a:rPr lang="en-US" dirty="0"/>
              <a:t>Add a short paragraph – not too long – or a bulleted list</a:t>
            </a:r>
          </a:p>
        </p:txBody>
      </p:sp>
      <p:sp>
        <p:nvSpPr>
          <p:cNvPr id="64" name="Text Placeholder 32">
            <a:extLst>
              <a:ext uri="{FF2B5EF4-FFF2-40B4-BE49-F238E27FC236}">
                <a16:creationId xmlns:a16="http://schemas.microsoft.com/office/drawing/2014/main" id="{41F1B747-4A09-4131-B94D-7B72FE0ADA1F}"/>
              </a:ext>
            </a:extLst>
          </p:cNvPr>
          <p:cNvSpPr>
            <a:spLocks noGrp="1"/>
          </p:cNvSpPr>
          <p:nvPr>
            <p:ph type="body" sz="quarter" idx="37" hasCustomPrompt="1"/>
          </p:nvPr>
        </p:nvSpPr>
        <p:spPr>
          <a:xfrm>
            <a:off x="9580269" y="2864755"/>
            <a:ext cx="1936096" cy="209288"/>
          </a:xfrm>
        </p:spPr>
        <p:txBody>
          <a:bodyPr anchor="ctr" anchorCtr="0">
            <a:spAutoFit/>
          </a:bodyPr>
          <a:lstStyle>
            <a:lvl1pPr marL="0" indent="0" algn="ctr">
              <a:lnSpc>
                <a:spcPct val="85000"/>
              </a:lnSpc>
              <a:spcBef>
                <a:spcPts val="0"/>
              </a:spcBef>
              <a:buFontTx/>
              <a:buNone/>
              <a:defRPr sz="1600" b="1">
                <a:solidFill>
                  <a:schemeClr val="tx1"/>
                </a:solidFill>
              </a:defRPr>
            </a:lvl1pPr>
          </a:lstStyle>
          <a:p>
            <a:pPr lvl="0"/>
            <a:r>
              <a:rPr lang="en-US" dirty="0"/>
              <a:t>Add title</a:t>
            </a:r>
          </a:p>
        </p:txBody>
      </p:sp>
      <p:sp>
        <p:nvSpPr>
          <p:cNvPr id="65" name="Text Placeholder 34">
            <a:extLst>
              <a:ext uri="{FF2B5EF4-FFF2-40B4-BE49-F238E27FC236}">
                <a16:creationId xmlns:a16="http://schemas.microsoft.com/office/drawing/2014/main" id="{4B4EBABA-E6CB-464F-9FBA-E5F9B03A37E8}"/>
              </a:ext>
            </a:extLst>
          </p:cNvPr>
          <p:cNvSpPr>
            <a:spLocks noGrp="1"/>
          </p:cNvSpPr>
          <p:nvPr>
            <p:ph type="body" sz="quarter" idx="38" hasCustomPrompt="1"/>
          </p:nvPr>
        </p:nvSpPr>
        <p:spPr>
          <a:xfrm>
            <a:off x="9580051" y="4784343"/>
            <a:ext cx="1936532" cy="646331"/>
          </a:xfrm>
        </p:spPr>
        <p:txBody>
          <a:bodyPr>
            <a:spAutoFit/>
          </a:bodyPr>
          <a:lstStyle>
            <a:lvl1pPr marL="285750" indent="-285750" algn="ctr">
              <a:spcBef>
                <a:spcPts val="600"/>
              </a:spcBef>
              <a:buFontTx/>
              <a:buNone/>
              <a:defRPr sz="1400"/>
            </a:lvl1pPr>
            <a:lvl2pPr marL="386674" indent="0" algn="ctr">
              <a:buFontTx/>
              <a:buNone/>
              <a:defRPr sz="1600"/>
            </a:lvl2pPr>
            <a:lvl3pPr marL="704088" indent="0" algn="ctr">
              <a:buFontTx/>
              <a:buNone/>
              <a:defRPr sz="1600"/>
            </a:lvl3pPr>
            <a:lvl4pPr marL="987552" indent="0" algn="ctr">
              <a:buFontTx/>
              <a:buNone/>
              <a:defRPr sz="1600"/>
            </a:lvl4pPr>
            <a:lvl5pPr marL="1261872" indent="0" algn="ctr">
              <a:buFontTx/>
              <a:buNone/>
              <a:defRPr sz="1600"/>
            </a:lvl5pPr>
          </a:lstStyle>
          <a:p>
            <a:pPr marL="0" marR="0" lvl="0" indent="0" algn="ctr" defTabSz="914400" fontAlgn="auto">
              <a:lnSpc>
                <a:spcPct val="100000"/>
              </a:lnSpc>
              <a:spcBef>
                <a:spcPts val="0"/>
              </a:spcBef>
              <a:spcAft>
                <a:spcPts val="0"/>
              </a:spcAft>
              <a:buClrTx/>
              <a:buSzTx/>
              <a:buFontTx/>
              <a:buNone/>
              <a:tabLst/>
            </a:pPr>
            <a:r>
              <a:rPr lang="en-US" dirty="0"/>
              <a:t>Add a short paragraph – not too long – or a bulleted list</a:t>
            </a:r>
          </a:p>
        </p:txBody>
      </p:sp>
      <p:sp>
        <p:nvSpPr>
          <p:cNvPr id="25" name="Picture Placeholder 6">
            <a:extLst>
              <a:ext uri="{FF2B5EF4-FFF2-40B4-BE49-F238E27FC236}">
                <a16:creationId xmlns:a16="http://schemas.microsoft.com/office/drawing/2014/main" id="{1AEB5892-C8FD-4265-8F93-69E01BC959CC}"/>
              </a:ext>
            </a:extLst>
          </p:cNvPr>
          <p:cNvSpPr>
            <a:spLocks noGrp="1"/>
          </p:cNvSpPr>
          <p:nvPr>
            <p:ph type="pic" sz="quarter" idx="39" hasCustomPrompt="1"/>
          </p:nvPr>
        </p:nvSpPr>
        <p:spPr>
          <a:xfrm>
            <a:off x="1357243" y="3730183"/>
            <a:ext cx="615416" cy="365760"/>
          </a:xfrm>
        </p:spPr>
        <p:txBody>
          <a:bodyPr/>
          <a:lstStyle>
            <a:lvl1pPr marL="0" indent="0" algn="ctr">
              <a:buFontTx/>
              <a:buNone/>
              <a:defRPr sz="800" b="1">
                <a:solidFill>
                  <a:schemeClr val="accent3"/>
                </a:solidFill>
              </a:defRPr>
            </a:lvl1pPr>
          </a:lstStyle>
          <a:p>
            <a:r>
              <a:rPr lang="en-US" dirty="0"/>
              <a:t>Paste icon from PTC PPT Library</a:t>
            </a:r>
          </a:p>
        </p:txBody>
      </p:sp>
      <p:sp>
        <p:nvSpPr>
          <p:cNvPr id="26" name="Picture Placeholder 6">
            <a:extLst>
              <a:ext uri="{FF2B5EF4-FFF2-40B4-BE49-F238E27FC236}">
                <a16:creationId xmlns:a16="http://schemas.microsoft.com/office/drawing/2014/main" id="{FA7A40C7-5620-4D59-8DE5-CA304D9A962A}"/>
              </a:ext>
            </a:extLst>
          </p:cNvPr>
          <p:cNvSpPr>
            <a:spLocks noGrp="1"/>
          </p:cNvSpPr>
          <p:nvPr>
            <p:ph type="pic" sz="quarter" idx="40" hasCustomPrompt="1"/>
          </p:nvPr>
        </p:nvSpPr>
        <p:spPr>
          <a:xfrm>
            <a:off x="4326995" y="3730183"/>
            <a:ext cx="615416" cy="365760"/>
          </a:xfrm>
        </p:spPr>
        <p:txBody>
          <a:bodyPr/>
          <a:lstStyle>
            <a:lvl1pPr marL="0" indent="0" algn="ctr">
              <a:buFontTx/>
              <a:buNone/>
              <a:defRPr sz="800" b="1">
                <a:solidFill>
                  <a:schemeClr val="accent3"/>
                </a:solidFill>
              </a:defRPr>
            </a:lvl1pPr>
          </a:lstStyle>
          <a:p>
            <a:r>
              <a:rPr lang="en-US"/>
              <a:t>Paste icon from PTC PPT Library</a:t>
            </a:r>
          </a:p>
        </p:txBody>
      </p:sp>
      <p:sp>
        <p:nvSpPr>
          <p:cNvPr id="27" name="Picture Placeholder 6">
            <a:extLst>
              <a:ext uri="{FF2B5EF4-FFF2-40B4-BE49-F238E27FC236}">
                <a16:creationId xmlns:a16="http://schemas.microsoft.com/office/drawing/2014/main" id="{4F6992F5-14F1-443B-A56F-0DAFD3A17D10}"/>
              </a:ext>
            </a:extLst>
          </p:cNvPr>
          <p:cNvSpPr>
            <a:spLocks noGrp="1"/>
          </p:cNvSpPr>
          <p:nvPr>
            <p:ph type="pic" sz="quarter" idx="36" hasCustomPrompt="1"/>
          </p:nvPr>
        </p:nvSpPr>
        <p:spPr>
          <a:xfrm>
            <a:off x="10240609" y="3730183"/>
            <a:ext cx="615416" cy="365760"/>
          </a:xfrm>
        </p:spPr>
        <p:txBody>
          <a:bodyPr/>
          <a:lstStyle>
            <a:lvl1pPr marL="0" indent="0" algn="ctr">
              <a:buFontTx/>
              <a:buNone/>
              <a:defRPr sz="800" b="1">
                <a:solidFill>
                  <a:schemeClr val="accent3"/>
                </a:solidFill>
              </a:defRPr>
            </a:lvl1pPr>
          </a:lstStyle>
          <a:p>
            <a:r>
              <a:rPr lang="en-US"/>
              <a:t>Paste icon from PTC PPT Library</a:t>
            </a:r>
          </a:p>
        </p:txBody>
      </p:sp>
      <p:sp>
        <p:nvSpPr>
          <p:cNvPr id="28" name="Picture Placeholder 6">
            <a:extLst>
              <a:ext uri="{FF2B5EF4-FFF2-40B4-BE49-F238E27FC236}">
                <a16:creationId xmlns:a16="http://schemas.microsoft.com/office/drawing/2014/main" id="{475F2538-CC6F-47C5-8E22-46B3CA1900DD}"/>
              </a:ext>
            </a:extLst>
          </p:cNvPr>
          <p:cNvSpPr>
            <a:spLocks noGrp="1"/>
          </p:cNvSpPr>
          <p:nvPr>
            <p:ph type="pic" sz="quarter" idx="41" hasCustomPrompt="1"/>
          </p:nvPr>
        </p:nvSpPr>
        <p:spPr>
          <a:xfrm>
            <a:off x="7291617" y="3730183"/>
            <a:ext cx="615416" cy="365760"/>
          </a:xfrm>
        </p:spPr>
        <p:txBody>
          <a:bodyPr/>
          <a:lstStyle>
            <a:lvl1pPr marL="0" indent="0" algn="ctr">
              <a:buFontTx/>
              <a:buNone/>
              <a:defRPr sz="800" b="1">
                <a:solidFill>
                  <a:schemeClr val="accent3"/>
                </a:solidFill>
              </a:defRPr>
            </a:lvl1pPr>
          </a:lstStyle>
          <a:p>
            <a:r>
              <a:rPr lang="en-US"/>
              <a:t>Paste icon from PTC PPT Library</a:t>
            </a:r>
          </a:p>
        </p:txBody>
      </p:sp>
      <p:sp>
        <p:nvSpPr>
          <p:cNvPr id="6" name="Text Placeholder 5">
            <a:extLst>
              <a:ext uri="{FF2B5EF4-FFF2-40B4-BE49-F238E27FC236}">
                <a16:creationId xmlns:a16="http://schemas.microsoft.com/office/drawing/2014/main" id="{F3CCFC8A-0256-42C2-A3A7-09FD853D84AF}"/>
              </a:ext>
            </a:extLst>
          </p:cNvPr>
          <p:cNvSpPr>
            <a:spLocks noGrp="1"/>
          </p:cNvSpPr>
          <p:nvPr userDrawn="1">
            <p:ph type="body" sz="quarter" idx="42" hasCustomPrompt="1"/>
          </p:nvPr>
        </p:nvSpPr>
        <p:spPr>
          <a:xfrm>
            <a:off x="1158240" y="1691640"/>
            <a:ext cx="9875520" cy="304699"/>
          </a:xfrm>
        </p:spPr>
        <p:txBody>
          <a:bodyPr anchor="ctr" anchorCtr="0">
            <a:spAutoFit/>
          </a:bodyPr>
          <a:lstStyle>
            <a:lvl1pPr marL="0" indent="0" algn="ctr">
              <a:buFontTx/>
              <a:buNone/>
              <a:defRPr sz="2200"/>
            </a:lvl1pPr>
          </a:lstStyle>
          <a:p>
            <a:pPr lvl="0"/>
            <a:r>
              <a:rPr lang="en-US" dirty="0"/>
              <a:t>Call out blurb</a:t>
            </a:r>
          </a:p>
        </p:txBody>
      </p:sp>
    </p:spTree>
    <p:extLst>
      <p:ext uri="{BB962C8B-B14F-4D97-AF65-F5344CB8AC3E}">
        <p14:creationId xmlns:p14="http://schemas.microsoft.com/office/powerpoint/2010/main" val="36724978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Icons w 5 Conten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B6A4F4D-6AC9-472A-A2AB-2099BEC9F3BF}"/>
              </a:ext>
            </a:extLst>
          </p:cNvPr>
          <p:cNvGraphicFramePr>
            <a:graphicFrameLocks noChangeAspect="1"/>
          </p:cNvGraphicFramePr>
          <p:nvPr>
            <p:custDataLst>
              <p:tags r:id="rId1"/>
            </p:custDataLst>
            <p:extLst>
              <p:ext uri="{D42A27DB-BD31-4B8C-83A1-F6EECF244321}">
                <p14:modId xmlns:p14="http://schemas.microsoft.com/office/powerpoint/2010/main" val="12351720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3" imgH="384" progId="TCLayout.ActiveDocument.1">
                  <p:embed/>
                </p:oleObj>
              </mc:Choice>
              <mc:Fallback>
                <p:oleObj name="think-cell Slide" r:id="rId4" imgW="383" imgH="384" progId="TCLayout.ActiveDocument.1">
                  <p:embed/>
                  <p:pic>
                    <p:nvPicPr>
                      <p:cNvPr id="4" name="Object 3" hidden="1">
                        <a:extLst>
                          <a:ext uri="{FF2B5EF4-FFF2-40B4-BE49-F238E27FC236}">
                            <a16:creationId xmlns:a16="http://schemas.microsoft.com/office/drawing/2014/main" id="{2B6A4F4D-6AC9-472A-A2AB-2099BEC9F3B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11AB3B7A-7D2B-4440-A050-8E1A9F7ACE42}"/>
              </a:ext>
            </a:extLst>
          </p:cNvPr>
          <p:cNvSpPr/>
          <p:nvPr>
            <p:custDataLst>
              <p:tags r:id="rId2"/>
            </p:custDataLst>
          </p:nvPr>
        </p:nvSpPr>
        <p:spPr>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lnSpc>
                <a:spcPct val="90000"/>
              </a:lnSpc>
              <a:spcBef>
                <a:spcPts val="800"/>
              </a:spcBef>
            </a:pPr>
            <a:endParaRPr lang="en-US" sz="3200" b="0" i="0" baseline="0" dirty="0">
              <a:solidFill>
                <a:schemeClr val="bg1"/>
              </a:solidFill>
              <a:latin typeface="PTCRaleway" panose="020B0503030101060003" pitchFamily="34" charset="0"/>
              <a:ea typeface="+mj-ea"/>
              <a:cs typeface="+mj-cs"/>
              <a:sym typeface="Century Gothic" panose="020B0502020202020204" pitchFamily="34" charset="0"/>
            </a:endParaRPr>
          </a:p>
        </p:txBody>
      </p:sp>
      <p:sp>
        <p:nvSpPr>
          <p:cNvPr id="60" name="Text Placeholder 32">
            <a:extLst>
              <a:ext uri="{FF2B5EF4-FFF2-40B4-BE49-F238E27FC236}">
                <a16:creationId xmlns:a16="http://schemas.microsoft.com/office/drawing/2014/main" id="{20840560-1C1B-4438-8E2A-EB45F76A414B}"/>
              </a:ext>
            </a:extLst>
          </p:cNvPr>
          <p:cNvSpPr>
            <a:spLocks noGrp="1"/>
          </p:cNvSpPr>
          <p:nvPr>
            <p:ph type="body" sz="quarter" idx="28" hasCustomPrompt="1"/>
          </p:nvPr>
        </p:nvSpPr>
        <p:spPr>
          <a:xfrm>
            <a:off x="581112" y="2866929"/>
            <a:ext cx="1600079" cy="209288"/>
          </a:xfrm>
        </p:spPr>
        <p:txBody>
          <a:bodyPr vert="horz" lIns="0" tIns="0" rIns="0" bIns="0" rtlCol="0" anchor="ctr" anchorCtr="0">
            <a:spAutoFit/>
          </a:bodyPr>
          <a:lstStyle>
            <a:lvl1pPr marL="342900" indent="-342900">
              <a:buFontTx/>
              <a:buNone/>
              <a:defRPr lang="en-US" sz="1600" b="1" dirty="0"/>
            </a:lvl1pPr>
          </a:lstStyle>
          <a:p>
            <a:pPr marL="0" lvl="0" indent="0" algn="ctr">
              <a:lnSpc>
                <a:spcPct val="85000"/>
              </a:lnSpc>
              <a:spcBef>
                <a:spcPts val="0"/>
              </a:spcBef>
              <a:buNone/>
            </a:pPr>
            <a:r>
              <a:rPr lang="en-US" dirty="0"/>
              <a:t>Add title</a:t>
            </a:r>
          </a:p>
        </p:txBody>
      </p:sp>
      <p:sp>
        <p:nvSpPr>
          <p:cNvPr id="61" name="Text Placeholder 34">
            <a:extLst>
              <a:ext uri="{FF2B5EF4-FFF2-40B4-BE49-F238E27FC236}">
                <a16:creationId xmlns:a16="http://schemas.microsoft.com/office/drawing/2014/main" id="{22B560B1-F704-4710-8C69-EF14EBFC200A}"/>
              </a:ext>
            </a:extLst>
          </p:cNvPr>
          <p:cNvSpPr>
            <a:spLocks noGrp="1"/>
          </p:cNvSpPr>
          <p:nvPr>
            <p:ph type="body" sz="quarter" idx="29" hasCustomPrompt="1"/>
          </p:nvPr>
        </p:nvSpPr>
        <p:spPr>
          <a:xfrm>
            <a:off x="580931" y="4747766"/>
            <a:ext cx="1600440" cy="553998"/>
          </a:xfrm>
        </p:spPr>
        <p:txBody>
          <a:bodyPr>
            <a:spAutoFit/>
          </a:bodyPr>
          <a:lstStyle>
            <a:lvl1pPr marL="171450" indent="-171450" algn="ctr">
              <a:spcBef>
                <a:spcPts val="600"/>
              </a:spcBef>
              <a:buFontTx/>
              <a:buNone/>
              <a:defRPr sz="1200"/>
            </a:lvl1pPr>
            <a:lvl2pPr marL="386674" indent="0" algn="ctr">
              <a:buFontTx/>
              <a:buNone/>
              <a:defRPr sz="1600"/>
            </a:lvl2pPr>
            <a:lvl3pPr marL="704088" indent="0" algn="ctr">
              <a:buFontTx/>
              <a:buNone/>
              <a:defRPr sz="1600"/>
            </a:lvl3pPr>
            <a:lvl4pPr marL="987552" indent="0" algn="ctr">
              <a:buFontTx/>
              <a:buNone/>
              <a:defRPr sz="1600"/>
            </a:lvl4pPr>
            <a:lvl5pPr marL="1261872" indent="0" algn="ctr">
              <a:buFontTx/>
              <a:buNone/>
              <a:defRPr sz="1600"/>
            </a:lvl5pPr>
          </a:lstStyle>
          <a:p>
            <a:pPr marL="0" marR="0" lvl="0" indent="0" algn="ctr" defTabSz="914400" fontAlgn="auto">
              <a:lnSpc>
                <a:spcPct val="100000"/>
              </a:lnSpc>
              <a:spcBef>
                <a:spcPts val="0"/>
              </a:spcBef>
              <a:spcAft>
                <a:spcPts val="0"/>
              </a:spcAft>
              <a:buClrTx/>
              <a:buSzTx/>
              <a:buFontTx/>
              <a:buNone/>
              <a:tabLst/>
            </a:pPr>
            <a:r>
              <a:rPr lang="en-US" dirty="0"/>
              <a:t>Add a short paragraph – not too long – or a bulleted list</a:t>
            </a:r>
          </a:p>
        </p:txBody>
      </p:sp>
      <p:sp>
        <p:nvSpPr>
          <p:cNvPr id="2" name="Title 1">
            <a:extLst>
              <a:ext uri="{FF2B5EF4-FFF2-40B4-BE49-F238E27FC236}">
                <a16:creationId xmlns:a16="http://schemas.microsoft.com/office/drawing/2014/main" id="{C0D3815E-B933-4FE0-A09F-E868666F8E0A}"/>
              </a:ext>
            </a:extLst>
          </p:cNvPr>
          <p:cNvSpPr>
            <a:spLocks noGrp="1"/>
          </p:cNvSpPr>
          <p:nvPr>
            <p:ph type="title" hasCustomPrompt="1"/>
          </p:nvPr>
        </p:nvSpPr>
        <p:spPr/>
        <p:txBody>
          <a:bodyPr/>
          <a:lstStyle/>
          <a:p>
            <a:r>
              <a:rPr lang="en-US" dirty="0"/>
              <a:t>add title – keep it brief</a:t>
            </a:r>
          </a:p>
        </p:txBody>
      </p:sp>
      <p:sp>
        <p:nvSpPr>
          <p:cNvPr id="62" name="Text Placeholder 32">
            <a:extLst>
              <a:ext uri="{FF2B5EF4-FFF2-40B4-BE49-F238E27FC236}">
                <a16:creationId xmlns:a16="http://schemas.microsoft.com/office/drawing/2014/main" id="{D500394C-3BD7-456E-94D6-9CC3674F8101}"/>
              </a:ext>
            </a:extLst>
          </p:cNvPr>
          <p:cNvSpPr>
            <a:spLocks noGrp="1"/>
          </p:cNvSpPr>
          <p:nvPr>
            <p:ph type="body" sz="quarter" idx="30" hasCustomPrompt="1"/>
          </p:nvPr>
        </p:nvSpPr>
        <p:spPr>
          <a:xfrm>
            <a:off x="2905212" y="2866929"/>
            <a:ext cx="1600079" cy="209288"/>
          </a:xfrm>
        </p:spPr>
        <p:txBody>
          <a:bodyPr vert="horz" lIns="0" tIns="0" rIns="0" bIns="0" rtlCol="0" anchor="ctr" anchorCtr="0">
            <a:spAutoFit/>
          </a:bodyPr>
          <a:lstStyle>
            <a:lvl1pPr marL="342900" indent="-342900">
              <a:buFontTx/>
              <a:buNone/>
              <a:defRPr lang="en-US" sz="1600" b="1" dirty="0"/>
            </a:lvl1pPr>
          </a:lstStyle>
          <a:p>
            <a:pPr marL="0" lvl="0" indent="0" algn="ctr">
              <a:lnSpc>
                <a:spcPct val="85000"/>
              </a:lnSpc>
              <a:spcBef>
                <a:spcPts val="0"/>
              </a:spcBef>
              <a:buNone/>
            </a:pPr>
            <a:r>
              <a:rPr lang="en-US" dirty="0"/>
              <a:t>Add title</a:t>
            </a:r>
          </a:p>
        </p:txBody>
      </p:sp>
      <p:sp>
        <p:nvSpPr>
          <p:cNvPr id="63" name="Text Placeholder 34">
            <a:extLst>
              <a:ext uri="{FF2B5EF4-FFF2-40B4-BE49-F238E27FC236}">
                <a16:creationId xmlns:a16="http://schemas.microsoft.com/office/drawing/2014/main" id="{7B743BCC-ADA1-41CD-AA72-A7C3259B7BF6}"/>
              </a:ext>
            </a:extLst>
          </p:cNvPr>
          <p:cNvSpPr>
            <a:spLocks noGrp="1"/>
          </p:cNvSpPr>
          <p:nvPr>
            <p:ph type="body" sz="quarter" idx="31" hasCustomPrompt="1"/>
          </p:nvPr>
        </p:nvSpPr>
        <p:spPr>
          <a:xfrm>
            <a:off x="2905031" y="4747766"/>
            <a:ext cx="1600440" cy="553998"/>
          </a:xfrm>
        </p:spPr>
        <p:txBody>
          <a:bodyPr>
            <a:spAutoFit/>
          </a:bodyPr>
          <a:lstStyle>
            <a:lvl1pPr marL="171450" indent="-171450" algn="ctr">
              <a:spcBef>
                <a:spcPts val="600"/>
              </a:spcBef>
              <a:buFontTx/>
              <a:buNone/>
              <a:defRPr sz="1200"/>
            </a:lvl1pPr>
            <a:lvl2pPr marL="386674" indent="0" algn="ctr">
              <a:buFontTx/>
              <a:buNone/>
              <a:defRPr sz="1600"/>
            </a:lvl2pPr>
            <a:lvl3pPr marL="704088" indent="0" algn="ctr">
              <a:buFontTx/>
              <a:buNone/>
              <a:defRPr sz="1600"/>
            </a:lvl3pPr>
            <a:lvl4pPr marL="987552" indent="0" algn="ctr">
              <a:buFontTx/>
              <a:buNone/>
              <a:defRPr sz="1600"/>
            </a:lvl4pPr>
            <a:lvl5pPr marL="1261872" indent="0" algn="ctr">
              <a:buFontTx/>
              <a:buNone/>
              <a:defRPr sz="1600"/>
            </a:lvl5pPr>
          </a:lstStyle>
          <a:p>
            <a:pPr marL="0" marR="0" lvl="0" indent="0" algn="ctr" defTabSz="914400" fontAlgn="auto">
              <a:lnSpc>
                <a:spcPct val="100000"/>
              </a:lnSpc>
              <a:spcBef>
                <a:spcPts val="0"/>
              </a:spcBef>
              <a:spcAft>
                <a:spcPts val="0"/>
              </a:spcAft>
              <a:buClrTx/>
              <a:buSzTx/>
              <a:buFontTx/>
              <a:buNone/>
              <a:tabLst/>
            </a:pPr>
            <a:r>
              <a:rPr lang="en-US" dirty="0"/>
              <a:t>Add a short paragraph – not too long – or a bulleted list</a:t>
            </a:r>
          </a:p>
        </p:txBody>
      </p:sp>
      <p:sp>
        <p:nvSpPr>
          <p:cNvPr id="65" name="Text Placeholder 32">
            <a:extLst>
              <a:ext uri="{FF2B5EF4-FFF2-40B4-BE49-F238E27FC236}">
                <a16:creationId xmlns:a16="http://schemas.microsoft.com/office/drawing/2014/main" id="{9CF14A49-B79D-4241-8D6E-A9AF33915456}"/>
              </a:ext>
            </a:extLst>
          </p:cNvPr>
          <p:cNvSpPr>
            <a:spLocks noGrp="1"/>
          </p:cNvSpPr>
          <p:nvPr>
            <p:ph type="body" sz="quarter" idx="33" hasCustomPrompt="1"/>
          </p:nvPr>
        </p:nvSpPr>
        <p:spPr>
          <a:xfrm>
            <a:off x="5153112" y="2866929"/>
            <a:ext cx="1600079" cy="209288"/>
          </a:xfrm>
        </p:spPr>
        <p:txBody>
          <a:bodyPr vert="horz" lIns="0" tIns="0" rIns="0" bIns="0" rtlCol="0" anchor="ctr" anchorCtr="0">
            <a:spAutoFit/>
          </a:bodyPr>
          <a:lstStyle>
            <a:lvl1pPr marL="342900" indent="-342900">
              <a:buFontTx/>
              <a:buNone/>
              <a:defRPr lang="en-US" sz="1600" b="1" dirty="0"/>
            </a:lvl1pPr>
          </a:lstStyle>
          <a:p>
            <a:pPr marL="0" lvl="0" indent="0" algn="ctr">
              <a:lnSpc>
                <a:spcPct val="85000"/>
              </a:lnSpc>
              <a:spcBef>
                <a:spcPts val="0"/>
              </a:spcBef>
              <a:buNone/>
            </a:pPr>
            <a:r>
              <a:rPr lang="en-US" dirty="0"/>
              <a:t>Add title</a:t>
            </a:r>
          </a:p>
        </p:txBody>
      </p:sp>
      <p:sp>
        <p:nvSpPr>
          <p:cNvPr id="66" name="Text Placeholder 34">
            <a:extLst>
              <a:ext uri="{FF2B5EF4-FFF2-40B4-BE49-F238E27FC236}">
                <a16:creationId xmlns:a16="http://schemas.microsoft.com/office/drawing/2014/main" id="{F1158342-69C8-4371-BCD8-53A5098B2405}"/>
              </a:ext>
            </a:extLst>
          </p:cNvPr>
          <p:cNvSpPr>
            <a:spLocks noGrp="1"/>
          </p:cNvSpPr>
          <p:nvPr>
            <p:ph type="body" sz="quarter" idx="34" hasCustomPrompt="1"/>
          </p:nvPr>
        </p:nvSpPr>
        <p:spPr>
          <a:xfrm>
            <a:off x="5152931" y="4747766"/>
            <a:ext cx="1600440" cy="553998"/>
          </a:xfrm>
        </p:spPr>
        <p:txBody>
          <a:bodyPr>
            <a:spAutoFit/>
          </a:bodyPr>
          <a:lstStyle>
            <a:lvl1pPr marL="171450" indent="-171450" algn="ctr">
              <a:spcBef>
                <a:spcPts val="600"/>
              </a:spcBef>
              <a:buFontTx/>
              <a:buNone/>
              <a:defRPr sz="1200"/>
            </a:lvl1pPr>
            <a:lvl2pPr marL="386674" indent="0" algn="ctr">
              <a:buFontTx/>
              <a:buNone/>
              <a:defRPr sz="1600"/>
            </a:lvl2pPr>
            <a:lvl3pPr marL="704088" indent="0" algn="ctr">
              <a:buFontTx/>
              <a:buNone/>
              <a:defRPr sz="1600"/>
            </a:lvl3pPr>
            <a:lvl4pPr marL="987552" indent="0" algn="ctr">
              <a:buFontTx/>
              <a:buNone/>
              <a:defRPr sz="1600"/>
            </a:lvl4pPr>
            <a:lvl5pPr marL="1261872" indent="0" algn="ctr">
              <a:buFontTx/>
              <a:buNone/>
              <a:defRPr sz="1600"/>
            </a:lvl5pPr>
          </a:lstStyle>
          <a:p>
            <a:pPr marL="0" marR="0" lvl="0" indent="0" algn="ctr" defTabSz="914400" fontAlgn="auto">
              <a:lnSpc>
                <a:spcPct val="100000"/>
              </a:lnSpc>
              <a:spcBef>
                <a:spcPts val="0"/>
              </a:spcBef>
              <a:spcAft>
                <a:spcPts val="0"/>
              </a:spcAft>
              <a:buClrTx/>
              <a:buSzTx/>
              <a:buFontTx/>
              <a:buNone/>
              <a:tabLst/>
            </a:pPr>
            <a:r>
              <a:rPr lang="en-US" dirty="0"/>
              <a:t>Add a short paragraph – not too long – or a bulleted list</a:t>
            </a:r>
          </a:p>
        </p:txBody>
      </p:sp>
      <p:sp>
        <p:nvSpPr>
          <p:cNvPr id="68" name="Text Placeholder 32">
            <a:extLst>
              <a:ext uri="{FF2B5EF4-FFF2-40B4-BE49-F238E27FC236}">
                <a16:creationId xmlns:a16="http://schemas.microsoft.com/office/drawing/2014/main" id="{3194E8C5-CF18-4462-8B5C-F283EC3A1D10}"/>
              </a:ext>
            </a:extLst>
          </p:cNvPr>
          <p:cNvSpPr>
            <a:spLocks noGrp="1"/>
          </p:cNvSpPr>
          <p:nvPr>
            <p:ph type="body" sz="quarter" idx="36" hasCustomPrompt="1"/>
          </p:nvPr>
        </p:nvSpPr>
        <p:spPr>
          <a:xfrm>
            <a:off x="7515312" y="2866929"/>
            <a:ext cx="1600079" cy="209288"/>
          </a:xfrm>
        </p:spPr>
        <p:txBody>
          <a:bodyPr vert="horz" lIns="0" tIns="0" rIns="0" bIns="0" rtlCol="0" anchor="ctr" anchorCtr="0">
            <a:spAutoFit/>
          </a:bodyPr>
          <a:lstStyle>
            <a:lvl1pPr marL="342900" indent="-342900">
              <a:buFontTx/>
              <a:buNone/>
              <a:defRPr lang="en-US" sz="1600" b="1" dirty="0"/>
            </a:lvl1pPr>
          </a:lstStyle>
          <a:p>
            <a:pPr marL="0" lvl="0" indent="0" algn="ctr">
              <a:lnSpc>
                <a:spcPct val="85000"/>
              </a:lnSpc>
              <a:spcBef>
                <a:spcPts val="0"/>
              </a:spcBef>
              <a:buNone/>
            </a:pPr>
            <a:r>
              <a:rPr lang="en-US" dirty="0"/>
              <a:t>Add title</a:t>
            </a:r>
          </a:p>
        </p:txBody>
      </p:sp>
      <p:sp>
        <p:nvSpPr>
          <p:cNvPr id="69" name="Text Placeholder 34">
            <a:extLst>
              <a:ext uri="{FF2B5EF4-FFF2-40B4-BE49-F238E27FC236}">
                <a16:creationId xmlns:a16="http://schemas.microsoft.com/office/drawing/2014/main" id="{B89299B9-EADF-480C-9DBB-4D26BDCEEB13}"/>
              </a:ext>
            </a:extLst>
          </p:cNvPr>
          <p:cNvSpPr>
            <a:spLocks noGrp="1"/>
          </p:cNvSpPr>
          <p:nvPr>
            <p:ph type="body" sz="quarter" idx="37" hasCustomPrompt="1"/>
          </p:nvPr>
        </p:nvSpPr>
        <p:spPr>
          <a:xfrm>
            <a:off x="7515131" y="4747766"/>
            <a:ext cx="1600440" cy="553998"/>
          </a:xfrm>
        </p:spPr>
        <p:txBody>
          <a:bodyPr>
            <a:spAutoFit/>
          </a:bodyPr>
          <a:lstStyle>
            <a:lvl1pPr marL="171450" indent="-171450" algn="ctr">
              <a:spcBef>
                <a:spcPts val="600"/>
              </a:spcBef>
              <a:buFontTx/>
              <a:buNone/>
              <a:defRPr sz="1200"/>
            </a:lvl1pPr>
            <a:lvl2pPr marL="386674" indent="0" algn="ctr">
              <a:buFontTx/>
              <a:buNone/>
              <a:defRPr sz="1600"/>
            </a:lvl2pPr>
            <a:lvl3pPr marL="704088" indent="0" algn="ctr">
              <a:buFontTx/>
              <a:buNone/>
              <a:defRPr sz="1600"/>
            </a:lvl3pPr>
            <a:lvl4pPr marL="987552" indent="0" algn="ctr">
              <a:buFontTx/>
              <a:buNone/>
              <a:defRPr sz="1600"/>
            </a:lvl4pPr>
            <a:lvl5pPr marL="1261872" indent="0" algn="ctr">
              <a:buFontTx/>
              <a:buNone/>
              <a:defRPr sz="1600"/>
            </a:lvl5pPr>
          </a:lstStyle>
          <a:p>
            <a:pPr marL="0" marR="0" lvl="0" indent="0" algn="ctr" defTabSz="914400" fontAlgn="auto">
              <a:lnSpc>
                <a:spcPct val="100000"/>
              </a:lnSpc>
              <a:spcBef>
                <a:spcPts val="0"/>
              </a:spcBef>
              <a:spcAft>
                <a:spcPts val="0"/>
              </a:spcAft>
              <a:buClrTx/>
              <a:buSzTx/>
              <a:buFontTx/>
              <a:buNone/>
              <a:tabLst/>
            </a:pPr>
            <a:r>
              <a:rPr lang="en-US" dirty="0"/>
              <a:t>Add a short paragraph – not too long – or a bulleted list</a:t>
            </a:r>
          </a:p>
        </p:txBody>
      </p:sp>
      <p:sp>
        <p:nvSpPr>
          <p:cNvPr id="71" name="Text Placeholder 32">
            <a:extLst>
              <a:ext uri="{FF2B5EF4-FFF2-40B4-BE49-F238E27FC236}">
                <a16:creationId xmlns:a16="http://schemas.microsoft.com/office/drawing/2014/main" id="{11BE195C-EFC1-43CC-ABE3-385CD2DBC419}"/>
              </a:ext>
            </a:extLst>
          </p:cNvPr>
          <p:cNvSpPr>
            <a:spLocks noGrp="1"/>
          </p:cNvSpPr>
          <p:nvPr>
            <p:ph type="body" sz="quarter" idx="39" hasCustomPrompt="1"/>
          </p:nvPr>
        </p:nvSpPr>
        <p:spPr>
          <a:xfrm>
            <a:off x="9877512" y="2866929"/>
            <a:ext cx="1600079" cy="209288"/>
          </a:xfrm>
        </p:spPr>
        <p:txBody>
          <a:bodyPr vert="horz" lIns="0" tIns="0" rIns="0" bIns="0" rtlCol="0" anchor="ctr" anchorCtr="0">
            <a:spAutoFit/>
          </a:bodyPr>
          <a:lstStyle>
            <a:lvl1pPr marL="342900" indent="-342900">
              <a:buFontTx/>
              <a:buNone/>
              <a:defRPr lang="en-US" sz="1600" b="1" dirty="0"/>
            </a:lvl1pPr>
          </a:lstStyle>
          <a:p>
            <a:pPr marL="0" lvl="0" indent="0" algn="ctr">
              <a:lnSpc>
                <a:spcPct val="85000"/>
              </a:lnSpc>
              <a:spcBef>
                <a:spcPts val="0"/>
              </a:spcBef>
              <a:buNone/>
            </a:pPr>
            <a:r>
              <a:rPr lang="en-US" dirty="0"/>
              <a:t>Add title</a:t>
            </a:r>
          </a:p>
        </p:txBody>
      </p:sp>
      <p:sp>
        <p:nvSpPr>
          <p:cNvPr id="72" name="Text Placeholder 34">
            <a:extLst>
              <a:ext uri="{FF2B5EF4-FFF2-40B4-BE49-F238E27FC236}">
                <a16:creationId xmlns:a16="http://schemas.microsoft.com/office/drawing/2014/main" id="{30EA21AF-635A-488B-AD35-F2C5617816C9}"/>
              </a:ext>
            </a:extLst>
          </p:cNvPr>
          <p:cNvSpPr>
            <a:spLocks noGrp="1"/>
          </p:cNvSpPr>
          <p:nvPr>
            <p:ph type="body" sz="quarter" idx="40" hasCustomPrompt="1"/>
          </p:nvPr>
        </p:nvSpPr>
        <p:spPr>
          <a:xfrm>
            <a:off x="9877331" y="4747766"/>
            <a:ext cx="1600440" cy="553998"/>
          </a:xfrm>
        </p:spPr>
        <p:txBody>
          <a:bodyPr>
            <a:spAutoFit/>
          </a:bodyPr>
          <a:lstStyle>
            <a:lvl1pPr marL="171450" indent="-171450" algn="ctr">
              <a:spcBef>
                <a:spcPts val="600"/>
              </a:spcBef>
              <a:buFontTx/>
              <a:buNone/>
              <a:defRPr sz="1200"/>
            </a:lvl1pPr>
            <a:lvl2pPr marL="386674" indent="0" algn="ctr">
              <a:buFontTx/>
              <a:buNone/>
              <a:defRPr sz="1600"/>
            </a:lvl2pPr>
            <a:lvl3pPr marL="704088" indent="0" algn="ctr">
              <a:buFontTx/>
              <a:buNone/>
              <a:defRPr sz="1600"/>
            </a:lvl3pPr>
            <a:lvl4pPr marL="987552" indent="0" algn="ctr">
              <a:buFontTx/>
              <a:buNone/>
              <a:defRPr sz="1600"/>
            </a:lvl4pPr>
            <a:lvl5pPr marL="1261872" indent="0" algn="ctr">
              <a:buFontTx/>
              <a:buNone/>
              <a:defRPr sz="1600"/>
            </a:lvl5pPr>
          </a:lstStyle>
          <a:p>
            <a:pPr marL="0" marR="0" lvl="0" indent="0" algn="ctr" defTabSz="914400" fontAlgn="auto">
              <a:lnSpc>
                <a:spcPct val="100000"/>
              </a:lnSpc>
              <a:spcBef>
                <a:spcPts val="0"/>
              </a:spcBef>
              <a:spcAft>
                <a:spcPts val="0"/>
              </a:spcAft>
              <a:buClrTx/>
              <a:buSzTx/>
              <a:buFontTx/>
              <a:buNone/>
              <a:tabLst/>
            </a:pPr>
            <a:r>
              <a:rPr lang="en-US" dirty="0"/>
              <a:t>Add a short paragraph – not too long – or a bulleted list</a:t>
            </a:r>
          </a:p>
        </p:txBody>
      </p:sp>
      <p:sp>
        <p:nvSpPr>
          <p:cNvPr id="6" name="Text Placeholder 5">
            <a:extLst>
              <a:ext uri="{FF2B5EF4-FFF2-40B4-BE49-F238E27FC236}">
                <a16:creationId xmlns:a16="http://schemas.microsoft.com/office/drawing/2014/main" id="{0C7CB6BC-C8A7-4A75-A6B9-B1FF1BBFBC80}"/>
              </a:ext>
            </a:extLst>
          </p:cNvPr>
          <p:cNvSpPr>
            <a:spLocks noGrp="1"/>
          </p:cNvSpPr>
          <p:nvPr>
            <p:ph type="body" sz="quarter" idx="46" hasCustomPrompt="1"/>
          </p:nvPr>
        </p:nvSpPr>
        <p:spPr>
          <a:xfrm>
            <a:off x="1158240" y="1691640"/>
            <a:ext cx="9875520" cy="304699"/>
          </a:xfrm>
        </p:spPr>
        <p:txBody>
          <a:bodyPr vert="horz" wrap="square" lIns="0" tIns="0" rIns="0" bIns="0" rtlCol="0" anchor="ctr" anchorCtr="0">
            <a:spAutoFit/>
          </a:bodyPr>
          <a:lstStyle>
            <a:lvl1pPr>
              <a:defRPr lang="en-US" sz="2200" dirty="0"/>
            </a:lvl1pPr>
          </a:lstStyle>
          <a:p>
            <a:pPr marL="0" lvl="0" indent="0" algn="ctr">
              <a:buNone/>
            </a:pPr>
            <a:r>
              <a:rPr lang="en-US" dirty="0"/>
              <a:t>Call out blurb</a:t>
            </a:r>
          </a:p>
        </p:txBody>
      </p:sp>
      <p:sp>
        <p:nvSpPr>
          <p:cNvPr id="34" name="Picture Placeholder 6">
            <a:extLst>
              <a:ext uri="{FF2B5EF4-FFF2-40B4-BE49-F238E27FC236}">
                <a16:creationId xmlns:a16="http://schemas.microsoft.com/office/drawing/2014/main" id="{3523CA84-618D-4DD3-990C-F1CC2C9DA5C7}"/>
              </a:ext>
            </a:extLst>
          </p:cNvPr>
          <p:cNvSpPr>
            <a:spLocks noGrp="1"/>
          </p:cNvSpPr>
          <p:nvPr>
            <p:ph type="pic" sz="quarter" idx="41" hasCustomPrompt="1"/>
          </p:nvPr>
        </p:nvSpPr>
        <p:spPr>
          <a:xfrm>
            <a:off x="1073443" y="3741934"/>
            <a:ext cx="615416" cy="365760"/>
          </a:xfrm>
        </p:spPr>
        <p:txBody>
          <a:bodyPr/>
          <a:lstStyle>
            <a:lvl1pPr marL="0" indent="0" algn="ctr">
              <a:buFontTx/>
              <a:buNone/>
              <a:defRPr sz="800" b="1">
                <a:solidFill>
                  <a:schemeClr val="accent3"/>
                </a:solidFill>
              </a:defRPr>
            </a:lvl1pPr>
          </a:lstStyle>
          <a:p>
            <a:r>
              <a:rPr lang="en-US"/>
              <a:t>Paste icon from PTC PPT Library</a:t>
            </a:r>
          </a:p>
        </p:txBody>
      </p:sp>
      <p:sp>
        <p:nvSpPr>
          <p:cNvPr id="35" name="Picture Placeholder 6">
            <a:extLst>
              <a:ext uri="{FF2B5EF4-FFF2-40B4-BE49-F238E27FC236}">
                <a16:creationId xmlns:a16="http://schemas.microsoft.com/office/drawing/2014/main" id="{00C3A2E6-6C10-45B7-A881-66676E6B3403}"/>
              </a:ext>
            </a:extLst>
          </p:cNvPr>
          <p:cNvSpPr>
            <a:spLocks noGrp="1"/>
          </p:cNvSpPr>
          <p:nvPr>
            <p:ph type="pic" sz="quarter" idx="42" hasCustomPrompt="1"/>
          </p:nvPr>
        </p:nvSpPr>
        <p:spPr>
          <a:xfrm>
            <a:off x="3397543" y="3741934"/>
            <a:ext cx="615416" cy="365760"/>
          </a:xfrm>
        </p:spPr>
        <p:txBody>
          <a:bodyPr/>
          <a:lstStyle>
            <a:lvl1pPr marL="0" indent="0" algn="ctr">
              <a:buFontTx/>
              <a:buNone/>
              <a:defRPr sz="800" b="1">
                <a:solidFill>
                  <a:schemeClr val="accent3"/>
                </a:solidFill>
              </a:defRPr>
            </a:lvl1pPr>
          </a:lstStyle>
          <a:p>
            <a:r>
              <a:rPr lang="en-US" dirty="0"/>
              <a:t>Paste icon from PTC PPT Library</a:t>
            </a:r>
          </a:p>
        </p:txBody>
      </p:sp>
      <p:sp>
        <p:nvSpPr>
          <p:cNvPr id="36" name="Picture Placeholder 6">
            <a:extLst>
              <a:ext uri="{FF2B5EF4-FFF2-40B4-BE49-F238E27FC236}">
                <a16:creationId xmlns:a16="http://schemas.microsoft.com/office/drawing/2014/main" id="{C485E4FD-70C7-4930-A59E-249272568A6A}"/>
              </a:ext>
            </a:extLst>
          </p:cNvPr>
          <p:cNvSpPr>
            <a:spLocks noGrp="1"/>
          </p:cNvSpPr>
          <p:nvPr>
            <p:ph type="pic" sz="quarter" idx="43" hasCustomPrompt="1"/>
          </p:nvPr>
        </p:nvSpPr>
        <p:spPr>
          <a:xfrm>
            <a:off x="8007643" y="3741934"/>
            <a:ext cx="615416" cy="365760"/>
          </a:xfrm>
        </p:spPr>
        <p:txBody>
          <a:bodyPr/>
          <a:lstStyle>
            <a:lvl1pPr marL="0" indent="0" algn="ctr">
              <a:buFontTx/>
              <a:buNone/>
              <a:defRPr sz="800" b="1">
                <a:solidFill>
                  <a:schemeClr val="accent3"/>
                </a:solidFill>
              </a:defRPr>
            </a:lvl1pPr>
          </a:lstStyle>
          <a:p>
            <a:r>
              <a:rPr lang="en-US"/>
              <a:t>Paste icon from PTC PPT Library</a:t>
            </a:r>
          </a:p>
        </p:txBody>
      </p:sp>
      <p:sp>
        <p:nvSpPr>
          <p:cNvPr id="37" name="Picture Placeholder 6">
            <a:extLst>
              <a:ext uri="{FF2B5EF4-FFF2-40B4-BE49-F238E27FC236}">
                <a16:creationId xmlns:a16="http://schemas.microsoft.com/office/drawing/2014/main" id="{49C1F186-5A53-49CB-AEEA-AB482BCE273E}"/>
              </a:ext>
            </a:extLst>
          </p:cNvPr>
          <p:cNvSpPr>
            <a:spLocks noGrp="1"/>
          </p:cNvSpPr>
          <p:nvPr>
            <p:ph type="pic" sz="quarter" idx="44" hasCustomPrompt="1"/>
          </p:nvPr>
        </p:nvSpPr>
        <p:spPr>
          <a:xfrm>
            <a:off x="5645443" y="3741934"/>
            <a:ext cx="615416" cy="365760"/>
          </a:xfrm>
        </p:spPr>
        <p:txBody>
          <a:bodyPr/>
          <a:lstStyle>
            <a:lvl1pPr marL="0" indent="0" algn="ctr">
              <a:buFontTx/>
              <a:buNone/>
              <a:defRPr sz="800" b="1">
                <a:solidFill>
                  <a:schemeClr val="accent3"/>
                </a:solidFill>
              </a:defRPr>
            </a:lvl1pPr>
          </a:lstStyle>
          <a:p>
            <a:r>
              <a:rPr lang="en-US" dirty="0"/>
              <a:t>Paste icon from PTC PPT Library</a:t>
            </a:r>
          </a:p>
        </p:txBody>
      </p:sp>
      <p:sp>
        <p:nvSpPr>
          <p:cNvPr id="38" name="Picture Placeholder 6">
            <a:extLst>
              <a:ext uri="{FF2B5EF4-FFF2-40B4-BE49-F238E27FC236}">
                <a16:creationId xmlns:a16="http://schemas.microsoft.com/office/drawing/2014/main" id="{C79F9822-25A0-4B06-ABEB-694778C95E00}"/>
              </a:ext>
            </a:extLst>
          </p:cNvPr>
          <p:cNvSpPr>
            <a:spLocks noGrp="1"/>
          </p:cNvSpPr>
          <p:nvPr>
            <p:ph type="pic" sz="quarter" idx="45" hasCustomPrompt="1"/>
          </p:nvPr>
        </p:nvSpPr>
        <p:spPr>
          <a:xfrm>
            <a:off x="10369843" y="3741934"/>
            <a:ext cx="615416" cy="365760"/>
          </a:xfrm>
        </p:spPr>
        <p:txBody>
          <a:bodyPr/>
          <a:lstStyle>
            <a:lvl1pPr marL="0" indent="0" algn="ctr">
              <a:buFontTx/>
              <a:buNone/>
              <a:defRPr sz="800" b="1">
                <a:solidFill>
                  <a:schemeClr val="accent3"/>
                </a:solidFill>
              </a:defRPr>
            </a:lvl1pPr>
          </a:lstStyle>
          <a:p>
            <a:r>
              <a:rPr lang="en-US" dirty="0"/>
              <a:t>Paste icon from PTC PPT Library</a:t>
            </a:r>
          </a:p>
        </p:txBody>
      </p:sp>
    </p:spTree>
    <p:extLst>
      <p:ext uri="{BB962C8B-B14F-4D97-AF65-F5344CB8AC3E}">
        <p14:creationId xmlns:p14="http://schemas.microsoft.com/office/powerpoint/2010/main" val="30410822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itle &amp; Video">
    <p:spTree>
      <p:nvGrpSpPr>
        <p:cNvPr id="1" name=""/>
        <p:cNvGrpSpPr/>
        <p:nvPr/>
      </p:nvGrpSpPr>
      <p:grpSpPr>
        <a:xfrm>
          <a:off x="0" y="0"/>
          <a:ext cx="0" cy="0"/>
          <a:chOff x="0" y="0"/>
          <a:chExt cx="0" cy="0"/>
        </a:xfrm>
      </p:grpSpPr>
      <p:sp>
        <p:nvSpPr>
          <p:cNvPr id="6" name="Media Placeholder 5">
            <a:extLst>
              <a:ext uri="{FF2B5EF4-FFF2-40B4-BE49-F238E27FC236}">
                <a16:creationId xmlns:a16="http://schemas.microsoft.com/office/drawing/2014/main" id="{5B05F195-396D-4D83-8F33-F626D282E766}"/>
              </a:ext>
            </a:extLst>
          </p:cNvPr>
          <p:cNvSpPr>
            <a:spLocks noGrp="1"/>
          </p:cNvSpPr>
          <p:nvPr>
            <p:ph type="media" sz="quarter" idx="10" hasCustomPrompt="1"/>
          </p:nvPr>
        </p:nvSpPr>
        <p:spPr>
          <a:xfrm>
            <a:off x="1731513" y="1439765"/>
            <a:ext cx="8728974" cy="4922935"/>
          </a:xfrm>
          <a:ln>
            <a:solidFill>
              <a:schemeClr val="bg2"/>
            </a:solidFill>
          </a:ln>
        </p:spPr>
        <p:txBody>
          <a:bodyPr vert="horz" lIns="0" tIns="0" rIns="0" bIns="731520" rtlCol="0" anchor="ctr" anchorCtr="0">
            <a:noAutofit/>
          </a:bodyPr>
          <a:lstStyle>
            <a:lvl1pPr marL="0" indent="0" algn="ctr">
              <a:buFontTx/>
              <a:buNone/>
              <a:defRPr lang="en-US">
                <a:solidFill>
                  <a:schemeClr val="accent5"/>
                </a:solidFill>
              </a:defRPr>
            </a:lvl1pPr>
          </a:lstStyle>
          <a:p>
            <a:r>
              <a:rPr lang="en-US" dirty="0"/>
              <a:t>Click media icon to add video</a:t>
            </a:r>
          </a:p>
        </p:txBody>
      </p:sp>
      <p:sp>
        <p:nvSpPr>
          <p:cNvPr id="3" name="Title 2">
            <a:extLst>
              <a:ext uri="{FF2B5EF4-FFF2-40B4-BE49-F238E27FC236}">
                <a16:creationId xmlns:a16="http://schemas.microsoft.com/office/drawing/2014/main" id="{DBEAE63A-39ED-4825-AFB2-206AF22C5598}"/>
              </a:ext>
            </a:extLst>
          </p:cNvPr>
          <p:cNvSpPr>
            <a:spLocks noGrp="1"/>
          </p:cNvSpPr>
          <p:nvPr>
            <p:ph type="title" hasCustomPrompt="1"/>
          </p:nvPr>
        </p:nvSpPr>
        <p:spPr/>
        <p:txBody>
          <a:bodyPr/>
          <a:lstStyle>
            <a:lvl1pPr>
              <a:defRPr/>
            </a:lvl1pPr>
          </a:lstStyle>
          <a:p>
            <a:r>
              <a:rPr lang="en-US" dirty="0"/>
              <a:t>add title – keep it brief</a:t>
            </a:r>
          </a:p>
        </p:txBody>
      </p:sp>
    </p:spTree>
    <p:extLst>
      <p:ext uri="{BB962C8B-B14F-4D97-AF65-F5344CB8AC3E}">
        <p14:creationId xmlns:p14="http://schemas.microsoft.com/office/powerpoint/2010/main" val="11137370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Title and Content No Footer">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490760" y="1713755"/>
            <a:ext cx="10789920" cy="4482201"/>
          </a:xfrm>
        </p:spPr>
        <p:txBody>
          <a:bodyPr vert="horz" lIns="0" tIns="0" rIns="0" bIns="0" rtlCol="0">
            <a:noAutofit/>
          </a:bodyPr>
          <a:lstStyle>
            <a:lvl1pPr>
              <a:defRPr lang="en-US" noProof="0" dirty="0" smtClean="0"/>
            </a:lvl1pPr>
            <a:lvl2pPr>
              <a:defRPr lang="en-US" noProof="0" dirty="0" smtClean="0"/>
            </a:lvl2pPr>
            <a:lvl3pPr>
              <a:defRPr lang="en-US" noProof="0" dirty="0" smtClean="0"/>
            </a:lvl3pPr>
            <a:lvl4pPr>
              <a:defRPr lang="en-US" noProof="0" dirty="0" smtClean="0"/>
            </a:lvl4pPr>
            <a:lvl5pPr>
              <a:defRPr lang="en-US" noProof="0" dirty="0"/>
            </a:lvl5pPr>
          </a:lstStyle>
          <a:p>
            <a:pPr lvl="0"/>
            <a:r>
              <a:rPr kumimoji="0" lang="en-US" sz="2400" b="0" i="0" u="none" strike="noStrike" kern="1200" cap="none" spc="0" normalizeH="0" baseline="0" noProof="0" dirty="0">
                <a:ln>
                  <a:noFill/>
                </a:ln>
                <a:solidFill>
                  <a:srgbClr val="3D4647"/>
                </a:solidFill>
                <a:effectLst/>
                <a:uLnTx/>
                <a:uFillTx/>
                <a:latin typeface="PTCRaleway"/>
                <a:ea typeface="+mn-ea"/>
                <a:cs typeface="+mn-cs"/>
              </a:rPr>
              <a:t>Add text</a:t>
            </a:r>
          </a:p>
          <a:p>
            <a:pPr lvl="1"/>
            <a:r>
              <a:rPr kumimoji="0" lang="en-US" sz="2000" b="0" i="0" u="none" strike="noStrike" kern="1200" cap="none" spc="0" normalizeH="0" baseline="0" noProof="0" dirty="0">
                <a:ln>
                  <a:noFill/>
                </a:ln>
                <a:solidFill>
                  <a:srgbClr val="3D4647"/>
                </a:solidFill>
                <a:effectLst/>
                <a:uLnTx/>
                <a:uFillTx/>
                <a:latin typeface="PTCRaleway"/>
                <a:ea typeface="+mn-ea"/>
                <a:cs typeface="+mn-cs"/>
              </a:rPr>
              <a:t>Second level</a:t>
            </a:r>
          </a:p>
          <a:p>
            <a:pPr lvl="2"/>
            <a:r>
              <a:rPr kumimoji="0" lang="en-US" sz="1800" b="0" i="0" u="none" strike="noStrike" kern="1200" cap="none" spc="0" normalizeH="0" baseline="0" noProof="0" dirty="0">
                <a:ln>
                  <a:noFill/>
                </a:ln>
                <a:solidFill>
                  <a:srgbClr val="3D4647"/>
                </a:solidFill>
                <a:effectLst/>
                <a:uLnTx/>
                <a:uFillTx/>
                <a:latin typeface="PTCRaleway"/>
                <a:ea typeface="+mn-ea"/>
                <a:cs typeface="+mn-cs"/>
              </a:rPr>
              <a:t>Third level</a:t>
            </a:r>
          </a:p>
          <a:p>
            <a:pPr lvl="3"/>
            <a:r>
              <a:rPr kumimoji="0" lang="en-US" sz="1600" b="0" i="0" u="none" strike="noStrike" kern="1200" cap="none" spc="0" normalizeH="0" baseline="0" noProof="0" dirty="0">
                <a:ln>
                  <a:noFill/>
                </a:ln>
                <a:solidFill>
                  <a:srgbClr val="3D4647"/>
                </a:solidFill>
                <a:effectLst/>
                <a:uLnTx/>
                <a:uFillTx/>
                <a:latin typeface="PTCRaleway"/>
                <a:ea typeface="+mn-ea"/>
                <a:cs typeface="+mn-cs"/>
              </a:rPr>
              <a:t>Fourth level</a:t>
            </a:r>
          </a:p>
          <a:p>
            <a:pPr lvl="4"/>
            <a:r>
              <a:rPr kumimoji="0" lang="en-US" sz="1400" b="0" i="0" u="none" strike="noStrike" kern="1200" cap="none" spc="0" normalizeH="0" baseline="0" noProof="0" dirty="0">
                <a:ln>
                  <a:noFill/>
                </a:ln>
                <a:solidFill>
                  <a:srgbClr val="3D4647"/>
                </a:solidFill>
                <a:effectLst/>
                <a:uLnTx/>
                <a:uFillTx/>
                <a:latin typeface="PTCRaleway"/>
                <a:ea typeface="+mn-ea"/>
                <a:cs typeface="+mn-cs"/>
              </a:rPr>
              <a:t>Fifth level</a:t>
            </a:r>
          </a:p>
        </p:txBody>
      </p:sp>
      <p:sp>
        <p:nvSpPr>
          <p:cNvPr id="4" name="Title 3">
            <a:extLst>
              <a:ext uri="{FF2B5EF4-FFF2-40B4-BE49-F238E27FC236}">
                <a16:creationId xmlns:a16="http://schemas.microsoft.com/office/drawing/2014/main" id="{C14A7928-2068-42B4-AB1B-DA77806D13C2}"/>
              </a:ext>
            </a:extLst>
          </p:cNvPr>
          <p:cNvSpPr>
            <a:spLocks noGrp="1"/>
          </p:cNvSpPr>
          <p:nvPr>
            <p:ph type="title" hasCustomPrompt="1"/>
          </p:nvPr>
        </p:nvSpPr>
        <p:spPr>
          <a:xfrm>
            <a:off x="490760" y="678174"/>
            <a:ext cx="10789920" cy="369332"/>
          </a:xfrm>
        </p:spPr>
        <p:txBody>
          <a:bodyPr/>
          <a:lstStyle>
            <a:lvl1pPr>
              <a:defRPr/>
            </a:lvl1pPr>
          </a:lstStyle>
          <a:p>
            <a:r>
              <a:rPr lang="en-US" dirty="0"/>
              <a:t>add title – keep it brief</a:t>
            </a:r>
          </a:p>
        </p:txBody>
      </p:sp>
      <p:sp>
        <p:nvSpPr>
          <p:cNvPr id="5" name="Freeform: Shape 4">
            <a:extLst>
              <a:ext uri="{FF2B5EF4-FFF2-40B4-BE49-F238E27FC236}">
                <a16:creationId xmlns:a16="http://schemas.microsoft.com/office/drawing/2014/main" id="{5DD20BEA-D0C6-499E-90FB-BB7F1A830939}"/>
              </a:ext>
            </a:extLst>
          </p:cNvPr>
          <p:cNvSpPr/>
          <p:nvPr userDrawn="1"/>
        </p:nvSpPr>
        <p:spPr>
          <a:xfrm>
            <a:off x="3048" y="6624536"/>
            <a:ext cx="12188952" cy="233465"/>
          </a:xfrm>
          <a:custGeom>
            <a:avLst/>
            <a:gdLst>
              <a:gd name="connsiteX0" fmla="*/ 8949770 w 12188952"/>
              <a:gd name="connsiteY0" fmla="*/ 0 h 233465"/>
              <a:gd name="connsiteX1" fmla="*/ 12188952 w 12188952"/>
              <a:gd name="connsiteY1" fmla="*/ 0 h 233465"/>
              <a:gd name="connsiteX2" fmla="*/ 12188952 w 12188952"/>
              <a:gd name="connsiteY2" fmla="*/ 114871 h 233465"/>
              <a:gd name="connsiteX3" fmla="*/ 12188952 w 12188952"/>
              <a:gd name="connsiteY3" fmla="*/ 169441 h 233465"/>
              <a:gd name="connsiteX4" fmla="*/ 12188952 w 12188952"/>
              <a:gd name="connsiteY4" fmla="*/ 233465 h 233465"/>
              <a:gd name="connsiteX5" fmla="*/ 9027859 w 12188952"/>
              <a:gd name="connsiteY5" fmla="*/ 233465 h 233465"/>
              <a:gd name="connsiteX6" fmla="*/ 1048596 w 12188952"/>
              <a:gd name="connsiteY6" fmla="*/ 233465 h 233465"/>
              <a:gd name="connsiteX7" fmla="*/ 33436 w 12188952"/>
              <a:gd name="connsiteY7" fmla="*/ 233465 h 233465"/>
              <a:gd name="connsiteX8" fmla="*/ 0 w 12188952"/>
              <a:gd name="connsiteY8" fmla="*/ 233465 h 233465"/>
              <a:gd name="connsiteX9" fmla="*/ 0 w 12188952"/>
              <a:gd name="connsiteY9" fmla="*/ 169375 h 233465"/>
              <a:gd name="connsiteX10" fmla="*/ 0 w 12188952"/>
              <a:gd name="connsiteY10" fmla="*/ 126232 h 233465"/>
              <a:gd name="connsiteX11" fmla="*/ 0 w 12188952"/>
              <a:gd name="connsiteY11" fmla="*/ 109891 h 233465"/>
              <a:gd name="connsiteX12" fmla="*/ 8695556 w 12188952"/>
              <a:gd name="connsiteY12" fmla="*/ 109891 h 233465"/>
              <a:gd name="connsiteX13" fmla="*/ 8949770 w 12188952"/>
              <a:gd name="connsiteY13" fmla="*/ 0 h 2334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188952" h="233465">
                <a:moveTo>
                  <a:pt x="8949770" y="0"/>
                </a:moveTo>
                <a:lnTo>
                  <a:pt x="12188952" y="0"/>
                </a:lnTo>
                <a:lnTo>
                  <a:pt x="12188952" y="114871"/>
                </a:lnTo>
                <a:lnTo>
                  <a:pt x="12188952" y="169441"/>
                </a:lnTo>
                <a:lnTo>
                  <a:pt x="12188952" y="233465"/>
                </a:lnTo>
                <a:lnTo>
                  <a:pt x="9027859" y="233465"/>
                </a:lnTo>
                <a:lnTo>
                  <a:pt x="1048596" y="233465"/>
                </a:lnTo>
                <a:lnTo>
                  <a:pt x="33436" y="233465"/>
                </a:lnTo>
                <a:lnTo>
                  <a:pt x="0" y="233465"/>
                </a:lnTo>
                <a:lnTo>
                  <a:pt x="0" y="169375"/>
                </a:lnTo>
                <a:lnTo>
                  <a:pt x="0" y="126232"/>
                </a:lnTo>
                <a:lnTo>
                  <a:pt x="0" y="109891"/>
                </a:lnTo>
                <a:lnTo>
                  <a:pt x="8695556" y="109891"/>
                </a:lnTo>
                <a:lnTo>
                  <a:pt x="894977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086775" rtl="0" eaLnBrk="1" fontAlgn="auto" latinLnBrk="0" hangingPunct="1">
              <a:lnSpc>
                <a:spcPct val="90000"/>
              </a:lnSpc>
              <a:spcBef>
                <a:spcPts val="800"/>
              </a:spcBef>
              <a:spcAft>
                <a:spcPts val="0"/>
              </a:spcAft>
              <a:buClrTx/>
              <a:buSzTx/>
              <a:buFontTx/>
              <a:buNone/>
              <a:tabLst/>
              <a:defRPr/>
            </a:pPr>
            <a:endParaRPr kumimoji="0" lang="en-US" sz="2200" b="0" i="0" u="none" strike="noStrike" kern="1200" cap="none" spc="0" normalizeH="0" baseline="0" noProof="0" dirty="0">
              <a:ln>
                <a:noFill/>
              </a:ln>
              <a:solidFill>
                <a:srgbClr val="FFFFFF"/>
              </a:solidFill>
              <a:effectLst/>
              <a:uLnTx/>
              <a:uFillTx/>
              <a:latin typeface="PTCRaleway" panose="020B0503030101060003" pitchFamily="34" charset="0"/>
              <a:ea typeface="+mn-ea"/>
              <a:cs typeface="+mn-cs"/>
            </a:endParaRPr>
          </a:p>
        </p:txBody>
      </p:sp>
    </p:spTree>
    <p:extLst>
      <p:ext uri="{BB962C8B-B14F-4D97-AF65-F5344CB8AC3E}">
        <p14:creationId xmlns:p14="http://schemas.microsoft.com/office/powerpoint/2010/main" val="42519309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3_Divider">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89F6B745-8BA9-46B4-9B25-CD8E9383EC22}"/>
              </a:ext>
            </a:extLst>
          </p:cNvPr>
          <p:cNvPicPr>
            <a:picLocks noChangeAspect="1"/>
          </p:cNvPicPr>
          <p:nvPr userDrawn="1"/>
        </p:nvPicPr>
        <p:blipFill>
          <a:blip r:embed="rId2" cstate="email">
            <a:alphaModFix amt="30000"/>
            <a:extLst>
              <a:ext uri="{28A0092B-C50C-407E-A947-70E740481C1C}">
                <a14:useLocalDpi xmlns:a14="http://schemas.microsoft.com/office/drawing/2010/main"/>
              </a:ext>
            </a:extLst>
          </a:blip>
          <a:srcRect/>
          <a:stretch/>
        </p:blipFill>
        <p:spPr>
          <a:xfrm>
            <a:off x="0" y="0"/>
            <a:ext cx="12188960" cy="6858000"/>
          </a:xfrm>
          <a:prstGeom prst="rect">
            <a:avLst/>
          </a:prstGeom>
        </p:spPr>
      </p:pic>
      <p:sp>
        <p:nvSpPr>
          <p:cNvPr id="25" name="Rectangle: Rounded Corners 24">
            <a:extLst>
              <a:ext uri="{FF2B5EF4-FFF2-40B4-BE49-F238E27FC236}">
                <a16:creationId xmlns:a16="http://schemas.microsoft.com/office/drawing/2014/main" id="{2B86D6A8-93D9-4C96-8C7F-D7EAEC83A61E}"/>
              </a:ext>
            </a:extLst>
          </p:cNvPr>
          <p:cNvSpPr/>
          <p:nvPr userDrawn="1"/>
        </p:nvSpPr>
        <p:spPr>
          <a:xfrm rot="18679580">
            <a:off x="5571697" y="2250091"/>
            <a:ext cx="5236260" cy="1832698"/>
          </a:xfrm>
          <a:prstGeom prst="roundRect">
            <a:avLst/>
          </a:prstGeom>
          <a:solidFill>
            <a:srgbClr val="F8F9FA">
              <a:alpha val="64000"/>
            </a:srgbClr>
          </a:solidFill>
          <a:ln>
            <a:noFill/>
          </a:ln>
          <a:effectLst>
            <a:softEdge rad="444500"/>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Bef>
                <a:spcPts val="800"/>
              </a:spcBef>
            </a:pPr>
            <a:endParaRPr lang="en-US">
              <a:solidFill>
                <a:schemeClr val="bg1"/>
              </a:solidFill>
            </a:endParaRPr>
          </a:p>
        </p:txBody>
      </p:sp>
      <p:sp>
        <p:nvSpPr>
          <p:cNvPr id="21" name="Rectangle: Rounded Corners 20">
            <a:extLst>
              <a:ext uri="{FF2B5EF4-FFF2-40B4-BE49-F238E27FC236}">
                <a16:creationId xmlns:a16="http://schemas.microsoft.com/office/drawing/2014/main" id="{2E57DD81-849B-4BA9-9E6D-E8A065B986CB}"/>
              </a:ext>
            </a:extLst>
          </p:cNvPr>
          <p:cNvSpPr/>
          <p:nvPr userDrawn="1"/>
        </p:nvSpPr>
        <p:spPr>
          <a:xfrm>
            <a:off x="1817683" y="1718935"/>
            <a:ext cx="5236260" cy="2581931"/>
          </a:xfrm>
          <a:prstGeom prst="roundRect">
            <a:avLst/>
          </a:prstGeom>
          <a:gradFill>
            <a:gsLst>
              <a:gs pos="0">
                <a:srgbClr val="F5F6F9"/>
              </a:gs>
              <a:gs pos="100000">
                <a:srgbClr val="F0F2F5"/>
              </a:gs>
            </a:gsLst>
            <a:lin ang="5400000" scaled="1"/>
          </a:gradFill>
          <a:ln>
            <a:noFill/>
          </a:ln>
          <a:effectLst>
            <a:softEdge rad="444500"/>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Bef>
                <a:spcPts val="800"/>
              </a:spcBef>
            </a:pPr>
            <a:endParaRPr lang="en-US">
              <a:solidFill>
                <a:schemeClr val="bg1"/>
              </a:solidFill>
            </a:endParaRPr>
          </a:p>
        </p:txBody>
      </p:sp>
      <p:sp>
        <p:nvSpPr>
          <p:cNvPr id="22" name="Title 21"/>
          <p:cNvSpPr>
            <a:spLocks noGrp="1"/>
          </p:cNvSpPr>
          <p:nvPr>
            <p:ph type="title" hasCustomPrompt="1"/>
          </p:nvPr>
        </p:nvSpPr>
        <p:spPr bwMode="gray">
          <a:xfrm>
            <a:off x="2665328" y="3082751"/>
            <a:ext cx="8869680" cy="692497"/>
          </a:xfrm>
        </p:spPr>
        <p:txBody>
          <a:bodyPr vert="horz" lIns="0" tIns="0" rIns="0" bIns="0" rtlCol="0" anchor="ctr" anchorCtr="0">
            <a:spAutoFit/>
          </a:bodyPr>
          <a:lstStyle>
            <a:lvl1pPr>
              <a:lnSpc>
                <a:spcPct val="100000"/>
              </a:lnSpc>
              <a:defRPr lang="en-US" sz="5000" dirty="0"/>
            </a:lvl1pPr>
          </a:lstStyle>
          <a:p>
            <a:pPr marL="0" lvl="0">
              <a:lnSpc>
                <a:spcPct val="90000"/>
              </a:lnSpc>
              <a:spcBef>
                <a:spcPts val="1200"/>
              </a:spcBef>
            </a:pPr>
            <a:r>
              <a:rPr lang="en-US" dirty="0"/>
              <a:t>Divider – 3 lines of text</a:t>
            </a:r>
          </a:p>
        </p:txBody>
      </p:sp>
      <p:grpSp>
        <p:nvGrpSpPr>
          <p:cNvPr id="2" name="Group 1">
            <a:extLst>
              <a:ext uri="{FF2B5EF4-FFF2-40B4-BE49-F238E27FC236}">
                <a16:creationId xmlns:a16="http://schemas.microsoft.com/office/drawing/2014/main" id="{8314FC01-330E-4910-9C2B-2E41A9074A44}"/>
              </a:ext>
            </a:extLst>
          </p:cNvPr>
          <p:cNvGrpSpPr/>
          <p:nvPr userDrawn="1"/>
        </p:nvGrpSpPr>
        <p:grpSpPr>
          <a:xfrm>
            <a:off x="0" y="2426267"/>
            <a:ext cx="2451100" cy="2005466"/>
            <a:chOff x="0" y="2361678"/>
            <a:chExt cx="2451100" cy="2005466"/>
          </a:xfrm>
        </p:grpSpPr>
        <p:sp>
          <p:nvSpPr>
            <p:cNvPr id="15" name="Rectangle 14">
              <a:extLst>
                <a:ext uri="{FF2B5EF4-FFF2-40B4-BE49-F238E27FC236}">
                  <a16:creationId xmlns:a16="http://schemas.microsoft.com/office/drawing/2014/main" id="{22EED636-AB3A-469B-A4E2-02308B8ADAA6}"/>
                </a:ext>
              </a:extLst>
            </p:cNvPr>
            <p:cNvSpPr/>
            <p:nvPr userDrawn="1"/>
          </p:nvSpPr>
          <p:spPr>
            <a:xfrm>
              <a:off x="0" y="2361678"/>
              <a:ext cx="2451100" cy="200546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Bef>
                  <a:spcPts val="800"/>
                </a:spcBef>
              </a:pPr>
              <a:endParaRPr lang="es-PE">
                <a:solidFill>
                  <a:schemeClr val="bg1"/>
                </a:solidFill>
              </a:endParaRPr>
            </a:p>
          </p:txBody>
        </p:sp>
        <p:sp>
          <p:nvSpPr>
            <p:cNvPr id="30" name="Freeform: Shape 29">
              <a:extLst>
                <a:ext uri="{FF2B5EF4-FFF2-40B4-BE49-F238E27FC236}">
                  <a16:creationId xmlns:a16="http://schemas.microsoft.com/office/drawing/2014/main" id="{55F8FE89-DBDD-4562-8330-516508678216}"/>
                </a:ext>
              </a:extLst>
            </p:cNvPr>
            <p:cNvSpPr/>
            <p:nvPr userDrawn="1"/>
          </p:nvSpPr>
          <p:spPr>
            <a:xfrm rot="16200000" flipH="1">
              <a:off x="310000" y="2313229"/>
              <a:ext cx="4756" cy="274320"/>
            </a:xfrm>
            <a:custGeom>
              <a:avLst/>
              <a:gdLst>
                <a:gd name="connsiteX0" fmla="*/ 0 w 19050"/>
                <a:gd name="connsiteY0" fmla="*/ 0 h 732567"/>
                <a:gd name="connsiteX1" fmla="*/ 19050 w 19050"/>
                <a:gd name="connsiteY1" fmla="*/ 0 h 732567"/>
                <a:gd name="connsiteX2" fmla="*/ 19050 w 19050"/>
                <a:gd name="connsiteY2" fmla="*/ 732568 h 732567"/>
                <a:gd name="connsiteX3" fmla="*/ 0 w 19050"/>
                <a:gd name="connsiteY3" fmla="*/ 732568 h 732567"/>
              </a:gdLst>
              <a:ahLst/>
              <a:cxnLst>
                <a:cxn ang="0">
                  <a:pos x="connsiteX0" y="connsiteY0"/>
                </a:cxn>
                <a:cxn ang="0">
                  <a:pos x="connsiteX1" y="connsiteY1"/>
                </a:cxn>
                <a:cxn ang="0">
                  <a:pos x="connsiteX2" y="connsiteY2"/>
                </a:cxn>
                <a:cxn ang="0">
                  <a:pos x="connsiteX3" y="connsiteY3"/>
                </a:cxn>
              </a:cxnLst>
              <a:rect l="l" t="t" r="r" b="b"/>
              <a:pathLst>
                <a:path w="19050" h="732567">
                  <a:moveTo>
                    <a:pt x="0" y="0"/>
                  </a:moveTo>
                  <a:lnTo>
                    <a:pt x="19050" y="0"/>
                  </a:lnTo>
                  <a:lnTo>
                    <a:pt x="19050" y="732568"/>
                  </a:lnTo>
                  <a:lnTo>
                    <a:pt x="0" y="732568"/>
                  </a:lnTo>
                  <a:close/>
                </a:path>
              </a:pathLst>
            </a:custGeom>
            <a:solidFill>
              <a:schemeClr val="bg1"/>
            </a:solidFill>
            <a:ln w="9525" cap="flat">
              <a:solidFill>
                <a:schemeClr val="bg1"/>
              </a:solidFill>
              <a:prstDash val="solid"/>
              <a:miter/>
            </a:ln>
          </p:spPr>
          <p:txBody>
            <a:bodyPr rtlCol="0" anchor="ctr"/>
            <a:lstStyle/>
            <a:p>
              <a:endParaRPr lang="en-US"/>
            </a:p>
          </p:txBody>
        </p:sp>
        <p:pic>
          <p:nvPicPr>
            <p:cNvPr id="32" name="Picture 31">
              <a:extLst>
                <a:ext uri="{FF2B5EF4-FFF2-40B4-BE49-F238E27FC236}">
                  <a16:creationId xmlns:a16="http://schemas.microsoft.com/office/drawing/2014/main" id="{5C723D6E-6981-49D3-9A49-8FECE050A7F2}"/>
                </a:ext>
              </a:extLst>
            </p:cNvPr>
            <p:cNvPicPr>
              <a:picLocks noChangeAspect="1"/>
            </p:cNvPicPr>
            <p:nvPr userDrawn="1"/>
          </p:nvPicPr>
          <p:blipFill rotWithShape="1">
            <a:blip r:embed="rId3" cstate="screen">
              <a:alphaModFix amt="50000"/>
              <a:extLst>
                <a:ext uri="{28A0092B-C50C-407E-A947-70E740481C1C}">
                  <a14:useLocalDpi xmlns:a14="http://schemas.microsoft.com/office/drawing/2010/main"/>
                </a:ext>
              </a:extLst>
            </a:blip>
            <a:srcRect l="47779" r="6346"/>
            <a:stretch/>
          </p:blipFill>
          <p:spPr>
            <a:xfrm>
              <a:off x="1602722" y="2544430"/>
              <a:ext cx="762261" cy="438912"/>
            </a:xfrm>
            <a:prstGeom prst="rect">
              <a:avLst/>
            </a:prstGeom>
          </p:spPr>
        </p:pic>
        <p:sp>
          <p:nvSpPr>
            <p:cNvPr id="19" name="Freeform: Shape 18">
              <a:extLst>
                <a:ext uri="{FF2B5EF4-FFF2-40B4-BE49-F238E27FC236}">
                  <a16:creationId xmlns:a16="http://schemas.microsoft.com/office/drawing/2014/main" id="{06EDB808-7AAB-4360-8904-E5555B7B296E}"/>
                </a:ext>
              </a:extLst>
            </p:cNvPr>
            <p:cNvSpPr/>
            <p:nvPr userDrawn="1"/>
          </p:nvSpPr>
          <p:spPr>
            <a:xfrm rot="16200000" flipH="1">
              <a:off x="82144" y="2532983"/>
              <a:ext cx="182880" cy="4755"/>
            </a:xfrm>
            <a:custGeom>
              <a:avLst/>
              <a:gdLst>
                <a:gd name="connsiteX0" fmla="*/ 0 w 734853"/>
                <a:gd name="connsiteY0" fmla="*/ 0 h 19049"/>
                <a:gd name="connsiteX1" fmla="*/ 734854 w 734853"/>
                <a:gd name="connsiteY1" fmla="*/ 0 h 19049"/>
                <a:gd name="connsiteX2" fmla="*/ 734854 w 734853"/>
                <a:gd name="connsiteY2" fmla="*/ 19050 h 19049"/>
                <a:gd name="connsiteX3" fmla="*/ 0 w 734853"/>
                <a:gd name="connsiteY3" fmla="*/ 19050 h 19049"/>
              </a:gdLst>
              <a:ahLst/>
              <a:cxnLst>
                <a:cxn ang="0">
                  <a:pos x="connsiteX0" y="connsiteY0"/>
                </a:cxn>
                <a:cxn ang="0">
                  <a:pos x="connsiteX1" y="connsiteY1"/>
                </a:cxn>
                <a:cxn ang="0">
                  <a:pos x="connsiteX2" y="connsiteY2"/>
                </a:cxn>
                <a:cxn ang="0">
                  <a:pos x="connsiteX3" y="connsiteY3"/>
                </a:cxn>
              </a:cxnLst>
              <a:rect l="l" t="t" r="r" b="b"/>
              <a:pathLst>
                <a:path w="734853" h="19049">
                  <a:moveTo>
                    <a:pt x="0" y="0"/>
                  </a:moveTo>
                  <a:lnTo>
                    <a:pt x="734854" y="0"/>
                  </a:lnTo>
                  <a:lnTo>
                    <a:pt x="734854" y="19050"/>
                  </a:lnTo>
                  <a:lnTo>
                    <a:pt x="0" y="19050"/>
                  </a:lnTo>
                  <a:close/>
                </a:path>
              </a:pathLst>
            </a:custGeom>
            <a:solidFill>
              <a:schemeClr val="bg1"/>
            </a:solidFill>
            <a:ln w="3175" cap="flat">
              <a:solidFill>
                <a:schemeClr val="bg1"/>
              </a:solidFill>
              <a:prstDash val="solid"/>
              <a:miter/>
            </a:ln>
          </p:spPr>
          <p:txBody>
            <a:bodyPr rtlCol="0" anchor="ctr"/>
            <a:lstStyle/>
            <a:p>
              <a:endParaRPr lang="en-US"/>
            </a:p>
          </p:txBody>
        </p:sp>
        <p:cxnSp>
          <p:nvCxnSpPr>
            <p:cNvPr id="20" name="Straight Connector 19">
              <a:extLst>
                <a:ext uri="{FF2B5EF4-FFF2-40B4-BE49-F238E27FC236}">
                  <a16:creationId xmlns:a16="http://schemas.microsoft.com/office/drawing/2014/main" id="{A2F4CF45-75A1-48BA-9BFE-66AE4C9D0D8E}"/>
                </a:ext>
              </a:extLst>
            </p:cNvPr>
            <p:cNvCxnSpPr/>
            <p:nvPr userDrawn="1"/>
          </p:nvCxnSpPr>
          <p:spPr>
            <a:xfrm>
              <a:off x="176782" y="2579369"/>
              <a:ext cx="0" cy="1783080"/>
            </a:xfrm>
            <a:prstGeom prst="line">
              <a:avLst/>
            </a:prstGeom>
            <a:ln w="3175">
              <a:solidFill>
                <a:schemeClr val="bg1">
                  <a:alpha val="49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6089345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Title Only No Foot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7A4D7EE-4EB9-47BD-B3ED-30248208721D}"/>
              </a:ext>
            </a:extLst>
          </p:cNvPr>
          <p:cNvSpPr>
            <a:spLocks noGrp="1"/>
          </p:cNvSpPr>
          <p:nvPr>
            <p:ph type="title" hasCustomPrompt="1"/>
          </p:nvPr>
        </p:nvSpPr>
        <p:spPr/>
        <p:txBody>
          <a:bodyPr/>
          <a:lstStyle>
            <a:lvl1pPr>
              <a:defRPr/>
            </a:lvl1pPr>
          </a:lstStyle>
          <a:p>
            <a:r>
              <a:rPr lang="en-US" dirty="0"/>
              <a:t>add title – keep it brief</a:t>
            </a:r>
          </a:p>
        </p:txBody>
      </p:sp>
      <p:sp>
        <p:nvSpPr>
          <p:cNvPr id="4" name="Freeform: Shape 3">
            <a:extLst>
              <a:ext uri="{FF2B5EF4-FFF2-40B4-BE49-F238E27FC236}">
                <a16:creationId xmlns:a16="http://schemas.microsoft.com/office/drawing/2014/main" id="{E3BA5223-32A3-4F4D-A64E-5A3DC4846203}"/>
              </a:ext>
            </a:extLst>
          </p:cNvPr>
          <p:cNvSpPr/>
          <p:nvPr userDrawn="1"/>
        </p:nvSpPr>
        <p:spPr>
          <a:xfrm>
            <a:off x="3048" y="6601968"/>
            <a:ext cx="12188952" cy="256032"/>
          </a:xfrm>
          <a:custGeom>
            <a:avLst/>
            <a:gdLst>
              <a:gd name="connsiteX0" fmla="*/ 8949770 w 12188952"/>
              <a:gd name="connsiteY0" fmla="*/ 0 h 233465"/>
              <a:gd name="connsiteX1" fmla="*/ 12188952 w 12188952"/>
              <a:gd name="connsiteY1" fmla="*/ 0 h 233465"/>
              <a:gd name="connsiteX2" fmla="*/ 12188952 w 12188952"/>
              <a:gd name="connsiteY2" fmla="*/ 114871 h 233465"/>
              <a:gd name="connsiteX3" fmla="*/ 12188952 w 12188952"/>
              <a:gd name="connsiteY3" fmla="*/ 169441 h 233465"/>
              <a:gd name="connsiteX4" fmla="*/ 12188952 w 12188952"/>
              <a:gd name="connsiteY4" fmla="*/ 233465 h 233465"/>
              <a:gd name="connsiteX5" fmla="*/ 9027859 w 12188952"/>
              <a:gd name="connsiteY5" fmla="*/ 233465 h 233465"/>
              <a:gd name="connsiteX6" fmla="*/ 1048596 w 12188952"/>
              <a:gd name="connsiteY6" fmla="*/ 233465 h 233465"/>
              <a:gd name="connsiteX7" fmla="*/ 33436 w 12188952"/>
              <a:gd name="connsiteY7" fmla="*/ 233465 h 233465"/>
              <a:gd name="connsiteX8" fmla="*/ 0 w 12188952"/>
              <a:gd name="connsiteY8" fmla="*/ 233465 h 233465"/>
              <a:gd name="connsiteX9" fmla="*/ 0 w 12188952"/>
              <a:gd name="connsiteY9" fmla="*/ 169375 h 233465"/>
              <a:gd name="connsiteX10" fmla="*/ 0 w 12188952"/>
              <a:gd name="connsiteY10" fmla="*/ 126232 h 233465"/>
              <a:gd name="connsiteX11" fmla="*/ 0 w 12188952"/>
              <a:gd name="connsiteY11" fmla="*/ 109891 h 233465"/>
              <a:gd name="connsiteX12" fmla="*/ 8695556 w 12188952"/>
              <a:gd name="connsiteY12" fmla="*/ 109891 h 233465"/>
              <a:gd name="connsiteX13" fmla="*/ 8949770 w 12188952"/>
              <a:gd name="connsiteY13" fmla="*/ 0 h 2334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188952" h="233465">
                <a:moveTo>
                  <a:pt x="8949770" y="0"/>
                </a:moveTo>
                <a:lnTo>
                  <a:pt x="12188952" y="0"/>
                </a:lnTo>
                <a:lnTo>
                  <a:pt x="12188952" y="114871"/>
                </a:lnTo>
                <a:lnTo>
                  <a:pt x="12188952" y="169441"/>
                </a:lnTo>
                <a:lnTo>
                  <a:pt x="12188952" y="233465"/>
                </a:lnTo>
                <a:lnTo>
                  <a:pt x="9027859" y="233465"/>
                </a:lnTo>
                <a:lnTo>
                  <a:pt x="1048596" y="233465"/>
                </a:lnTo>
                <a:lnTo>
                  <a:pt x="33436" y="233465"/>
                </a:lnTo>
                <a:lnTo>
                  <a:pt x="0" y="233465"/>
                </a:lnTo>
                <a:lnTo>
                  <a:pt x="0" y="169375"/>
                </a:lnTo>
                <a:lnTo>
                  <a:pt x="0" y="126232"/>
                </a:lnTo>
                <a:lnTo>
                  <a:pt x="0" y="109891"/>
                </a:lnTo>
                <a:lnTo>
                  <a:pt x="8695556" y="109891"/>
                </a:lnTo>
                <a:lnTo>
                  <a:pt x="894977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1086775" rtl="0" eaLnBrk="1" fontAlgn="auto" latinLnBrk="0" hangingPunct="1">
              <a:lnSpc>
                <a:spcPct val="90000"/>
              </a:lnSpc>
              <a:spcBef>
                <a:spcPts val="800"/>
              </a:spcBef>
              <a:spcAft>
                <a:spcPts val="0"/>
              </a:spcAft>
              <a:buClrTx/>
              <a:buSzTx/>
              <a:buFontTx/>
              <a:buNone/>
              <a:tabLst/>
              <a:defRPr/>
            </a:pPr>
            <a:r>
              <a:rPr kumimoji="0" lang="en-US" sz="2200" b="0" i="0" u="none" strike="noStrike" kern="1200" cap="none" spc="0" normalizeH="0" baseline="0" noProof="0" dirty="0">
                <a:ln>
                  <a:noFill/>
                </a:ln>
                <a:solidFill>
                  <a:srgbClr val="FFFFFF"/>
                </a:solidFill>
                <a:effectLst/>
                <a:uLnTx/>
                <a:uFillTx/>
                <a:latin typeface="PTCRaleway" panose="020B0503030101060003" pitchFamily="34" charset="0"/>
                <a:ea typeface="+mn-ea"/>
                <a:cs typeface="+mn-cs"/>
              </a:rPr>
              <a:t>\</a:t>
            </a:r>
          </a:p>
        </p:txBody>
      </p:sp>
    </p:spTree>
    <p:extLst>
      <p:ext uri="{BB962C8B-B14F-4D97-AF65-F5344CB8AC3E}">
        <p14:creationId xmlns:p14="http://schemas.microsoft.com/office/powerpoint/2010/main" val="32079747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Closing Slide">
    <p:bg>
      <p:bgPr>
        <a:solidFill>
          <a:srgbClr val="3C4647"/>
        </a:solidFill>
        <a:effectLst/>
      </p:bgPr>
    </p:bg>
    <p:spTree>
      <p:nvGrpSpPr>
        <p:cNvPr id="1" name=""/>
        <p:cNvGrpSpPr/>
        <p:nvPr/>
      </p:nvGrpSpPr>
      <p:grpSpPr>
        <a:xfrm>
          <a:off x="0" y="0"/>
          <a:ext cx="0" cy="0"/>
          <a:chOff x="0" y="0"/>
          <a:chExt cx="0" cy="0"/>
        </a:xfrm>
      </p:grpSpPr>
      <p:sp>
        <p:nvSpPr>
          <p:cNvPr id="9" name="object 20">
            <a:hlinkClick r:id="rId2"/>
            <a:extLst>
              <a:ext uri="{FF2B5EF4-FFF2-40B4-BE49-F238E27FC236}">
                <a16:creationId xmlns:a16="http://schemas.microsoft.com/office/drawing/2014/main" id="{7ED43A46-AFFE-4105-A07A-4D800F0FD780}"/>
              </a:ext>
            </a:extLst>
          </p:cNvPr>
          <p:cNvSpPr txBox="1"/>
          <p:nvPr userDrawn="1"/>
        </p:nvSpPr>
        <p:spPr>
          <a:xfrm>
            <a:off x="369696" y="5208601"/>
            <a:ext cx="2459879" cy="322523"/>
          </a:xfrm>
          <a:prstGeom prst="rect">
            <a:avLst/>
          </a:prstGeom>
        </p:spPr>
        <p:txBody>
          <a:bodyPr vert="horz" wrap="square" lIns="0" tIns="14604" rIns="0" bIns="0" rtlCol="0">
            <a:spAutoFit/>
          </a:bodyPr>
          <a:lstStyle/>
          <a:p>
            <a:pPr marL="12700" marR="0" lvl="0" indent="0" algn="ctr" defTabSz="1086775" rtl="0" eaLnBrk="1" fontAlgn="auto" latinLnBrk="0" hangingPunct="1">
              <a:lnSpc>
                <a:spcPct val="100000"/>
              </a:lnSpc>
              <a:spcBef>
                <a:spcPts val="114"/>
              </a:spcBef>
              <a:spcAft>
                <a:spcPts val="0"/>
              </a:spcAft>
              <a:buClrTx/>
              <a:buSzTx/>
              <a:buFontTx/>
              <a:buNone/>
              <a:tabLst/>
              <a:defRPr/>
            </a:pPr>
            <a:r>
              <a:rPr kumimoji="0" sz="2000" b="1" i="0" u="none" strike="noStrike" kern="1200" cap="none" spc="200" normalizeH="0" noProof="0" dirty="0">
                <a:ln>
                  <a:noFill/>
                </a:ln>
                <a:solidFill>
                  <a:schemeClr val="bg2"/>
                </a:solidFill>
                <a:effectLst/>
                <a:uLnTx/>
                <a:uFillTx/>
                <a:latin typeface="PTCRaleway"/>
                <a:ea typeface="+mn-ea"/>
                <a:cs typeface="PTCRaleway"/>
              </a:rPr>
              <a:t>ptc.com</a:t>
            </a:r>
            <a:endParaRPr kumimoji="0" sz="2000" b="0" i="0" u="none" strike="noStrike" kern="1200" cap="none" spc="200" normalizeH="0" noProof="0" dirty="0">
              <a:ln>
                <a:noFill/>
              </a:ln>
              <a:solidFill>
                <a:schemeClr val="bg2"/>
              </a:solidFill>
              <a:effectLst/>
              <a:uLnTx/>
              <a:uFillTx/>
              <a:latin typeface="PTCRaleway"/>
              <a:ea typeface="+mn-ea"/>
              <a:cs typeface="PTCRaleway"/>
            </a:endParaRPr>
          </a:p>
        </p:txBody>
      </p:sp>
      <p:grpSp>
        <p:nvGrpSpPr>
          <p:cNvPr id="7" name="Group 6">
            <a:extLst>
              <a:ext uri="{FF2B5EF4-FFF2-40B4-BE49-F238E27FC236}">
                <a16:creationId xmlns:a16="http://schemas.microsoft.com/office/drawing/2014/main" id="{969ABB46-9366-47EC-8281-970F2B4A701E}"/>
              </a:ext>
            </a:extLst>
          </p:cNvPr>
          <p:cNvGrpSpPr/>
          <p:nvPr userDrawn="1"/>
        </p:nvGrpSpPr>
        <p:grpSpPr>
          <a:xfrm>
            <a:off x="4220144" y="3133535"/>
            <a:ext cx="3751712" cy="590931"/>
            <a:chOff x="4538660" y="3133535"/>
            <a:chExt cx="3751712" cy="590931"/>
          </a:xfrm>
        </p:grpSpPr>
        <p:sp>
          <p:nvSpPr>
            <p:cNvPr id="30" name="Title 5">
              <a:extLst>
                <a:ext uri="{FF2B5EF4-FFF2-40B4-BE49-F238E27FC236}">
                  <a16:creationId xmlns:a16="http://schemas.microsoft.com/office/drawing/2014/main" id="{61A34D6B-75F2-4EF8-8F57-128F503089FE}"/>
                </a:ext>
              </a:extLst>
            </p:cNvPr>
            <p:cNvSpPr txBox="1">
              <a:spLocks/>
            </p:cNvSpPr>
            <p:nvPr userDrawn="1"/>
          </p:nvSpPr>
          <p:spPr>
            <a:xfrm>
              <a:off x="6784848" y="3133535"/>
              <a:ext cx="1505524" cy="590931"/>
            </a:xfrm>
            <a:prstGeom prst="rect">
              <a:avLst/>
            </a:prstGeom>
          </p:spPr>
          <p:txBody>
            <a:bodyPr vert="horz" wrap="square" lIns="0" tIns="0" rIns="0" bIns="0" rtlCol="0" anchor="ctr" anchorCtr="0">
              <a:spAutoFit/>
            </a:bodyPr>
            <a:lstStyle>
              <a:lvl1pPr algn="ctr" defTabSz="1086775" rtl="0" eaLnBrk="1" latinLnBrk="0" hangingPunct="1">
                <a:lnSpc>
                  <a:spcPct val="80000"/>
                </a:lnSpc>
                <a:spcBef>
                  <a:spcPct val="0"/>
                </a:spcBef>
                <a:buNone/>
                <a:defRPr sz="4800" b="0" kern="1200" cap="all" baseline="0">
                  <a:solidFill>
                    <a:schemeClr val="bg1"/>
                  </a:solidFill>
                  <a:latin typeface="PTCRaleway Black" panose="020B0A03030101060003" pitchFamily="34" charset="0"/>
                  <a:ea typeface="+mj-ea"/>
                  <a:cs typeface="+mj-cs"/>
                </a:defRPr>
              </a:lvl1pPr>
            </a:lstStyle>
            <a:p>
              <a:r>
                <a:rPr lang="en-US" dirty="0">
                  <a:latin typeface="+mn-lt"/>
                </a:rPr>
                <a:t>you</a:t>
              </a:r>
            </a:p>
          </p:txBody>
        </p:sp>
        <p:sp>
          <p:nvSpPr>
            <p:cNvPr id="31" name="Title 5">
              <a:extLst>
                <a:ext uri="{FF2B5EF4-FFF2-40B4-BE49-F238E27FC236}">
                  <a16:creationId xmlns:a16="http://schemas.microsoft.com/office/drawing/2014/main" id="{21ED058C-9AE3-4F6F-8EC1-CF71ABA78546}"/>
                </a:ext>
              </a:extLst>
            </p:cNvPr>
            <p:cNvSpPr txBox="1">
              <a:spLocks/>
            </p:cNvSpPr>
            <p:nvPr userDrawn="1"/>
          </p:nvSpPr>
          <p:spPr>
            <a:xfrm>
              <a:off x="4538660" y="3133535"/>
              <a:ext cx="2325436" cy="590931"/>
            </a:xfrm>
            <a:prstGeom prst="rect">
              <a:avLst/>
            </a:prstGeom>
          </p:spPr>
          <p:txBody>
            <a:bodyPr vert="horz" lIns="0" tIns="0" rIns="0" bIns="0" rtlCol="0" anchor="ctr" anchorCtr="0">
              <a:spAutoFit/>
            </a:bodyPr>
            <a:lstStyle>
              <a:lvl1pPr algn="ctr" defTabSz="1086775" rtl="0" eaLnBrk="1" latinLnBrk="0" hangingPunct="1">
                <a:lnSpc>
                  <a:spcPct val="80000"/>
                </a:lnSpc>
                <a:spcBef>
                  <a:spcPct val="0"/>
                </a:spcBef>
                <a:buNone/>
                <a:defRPr sz="4800" b="0" kern="1200" cap="all" baseline="0">
                  <a:solidFill>
                    <a:schemeClr val="bg1"/>
                  </a:solidFill>
                  <a:latin typeface="PTCRaleway Black" panose="020B0A03030101060003" pitchFamily="34" charset="0"/>
                  <a:ea typeface="+mj-ea"/>
                  <a:cs typeface="+mj-cs"/>
                </a:defRPr>
              </a:lvl1pPr>
            </a:lstStyle>
            <a:p>
              <a:r>
                <a:rPr lang="en-US" dirty="0"/>
                <a:t>thank</a:t>
              </a:r>
            </a:p>
          </p:txBody>
        </p:sp>
      </p:grpSp>
      <p:pic>
        <p:nvPicPr>
          <p:cNvPr id="32" name="Graphic 31">
            <a:extLst>
              <a:ext uri="{FF2B5EF4-FFF2-40B4-BE49-F238E27FC236}">
                <a16:creationId xmlns:a16="http://schemas.microsoft.com/office/drawing/2014/main" id="{81ECAEC0-2EBD-4547-B5C3-C7AB667EDA27}"/>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8943975" y="6619875"/>
            <a:ext cx="3248025" cy="238125"/>
          </a:xfrm>
          <a:prstGeom prst="rect">
            <a:avLst/>
          </a:prstGeom>
        </p:spPr>
      </p:pic>
      <p:pic>
        <p:nvPicPr>
          <p:cNvPr id="36" name="Picture 35">
            <a:extLst>
              <a:ext uri="{FF2B5EF4-FFF2-40B4-BE49-F238E27FC236}">
                <a16:creationId xmlns:a16="http://schemas.microsoft.com/office/drawing/2014/main" id="{481DBBEF-9B0D-41D0-BCD3-495FFBD788EC}"/>
              </a:ext>
            </a:extLst>
          </p:cNvPr>
          <p:cNvPicPr>
            <a:picLocks noChangeAspect="1"/>
          </p:cNvPicPr>
          <p:nvPr userDrawn="1"/>
        </p:nvPicPr>
        <p:blipFill rotWithShape="1">
          <a:blip r:embed="rId5" cstate="screen">
            <a:alphaModFix amt="27000"/>
            <a:extLst>
              <a:ext uri="{28A0092B-C50C-407E-A947-70E740481C1C}">
                <a14:useLocalDpi xmlns:a14="http://schemas.microsoft.com/office/drawing/2010/main"/>
              </a:ext>
            </a:extLst>
          </a:blip>
          <a:srcRect/>
          <a:stretch/>
        </p:blipFill>
        <p:spPr>
          <a:xfrm>
            <a:off x="3751624" y="4679403"/>
            <a:ext cx="8440376" cy="1310754"/>
          </a:xfrm>
          <a:prstGeom prst="rect">
            <a:avLst/>
          </a:prstGeom>
        </p:spPr>
      </p:pic>
      <p:pic>
        <p:nvPicPr>
          <p:cNvPr id="87" name="Picture 86">
            <a:extLst>
              <a:ext uri="{FF2B5EF4-FFF2-40B4-BE49-F238E27FC236}">
                <a16:creationId xmlns:a16="http://schemas.microsoft.com/office/drawing/2014/main" id="{23ED609D-3632-4814-BF11-8AD74BEBBF32}"/>
              </a:ext>
            </a:extLst>
          </p:cNvPr>
          <p:cNvPicPr>
            <a:picLocks noChangeAspect="1"/>
          </p:cNvPicPr>
          <p:nvPr userDrawn="1"/>
        </p:nvPicPr>
        <p:blipFill rotWithShape="1">
          <a:blip r:embed="rId6" cstate="screen">
            <a:alphaModFix amt="20000"/>
            <a:extLst>
              <a:ext uri="{28A0092B-C50C-407E-A947-70E740481C1C}">
                <a14:useLocalDpi xmlns:a14="http://schemas.microsoft.com/office/drawing/2010/main" val="0"/>
              </a:ext>
            </a:extLst>
          </a:blip>
          <a:srcRect l="5545" t="10322"/>
          <a:stretch/>
        </p:blipFill>
        <p:spPr>
          <a:xfrm rot="5400000">
            <a:off x="9251715" y="-837151"/>
            <a:ext cx="2103136" cy="3777438"/>
          </a:xfrm>
          <a:prstGeom prst="rect">
            <a:avLst/>
          </a:prstGeom>
        </p:spPr>
      </p:pic>
      <p:pic>
        <p:nvPicPr>
          <p:cNvPr id="91" name="Picture 90">
            <a:extLst>
              <a:ext uri="{FF2B5EF4-FFF2-40B4-BE49-F238E27FC236}">
                <a16:creationId xmlns:a16="http://schemas.microsoft.com/office/drawing/2014/main" id="{D5BD01E7-6916-47E5-B90B-2D3750E7BE83}"/>
              </a:ext>
            </a:extLst>
          </p:cNvPr>
          <p:cNvPicPr>
            <a:picLocks noChangeAspect="1"/>
          </p:cNvPicPr>
          <p:nvPr userDrawn="1"/>
        </p:nvPicPr>
        <p:blipFill rotWithShape="1">
          <a:blip r:embed="rId7" cstate="email">
            <a:alphaModFix amt="9000"/>
            <a:extLst>
              <a:ext uri="{28A0092B-C50C-407E-A947-70E740481C1C}">
                <a14:useLocalDpi xmlns:a14="http://schemas.microsoft.com/office/drawing/2010/main"/>
              </a:ext>
            </a:extLst>
          </a:blip>
          <a:srcRect l="31550" t="13430"/>
          <a:stretch/>
        </p:blipFill>
        <p:spPr>
          <a:xfrm rot="5400000" flipV="1">
            <a:off x="876945" y="-876943"/>
            <a:ext cx="1273792" cy="3027682"/>
          </a:xfrm>
          <a:prstGeom prst="rect">
            <a:avLst/>
          </a:prstGeom>
        </p:spPr>
      </p:pic>
      <p:pic>
        <p:nvPicPr>
          <p:cNvPr id="38" name="Picture 37">
            <a:hlinkClick r:id="rId8"/>
            <a:extLst>
              <a:ext uri="{FF2B5EF4-FFF2-40B4-BE49-F238E27FC236}">
                <a16:creationId xmlns:a16="http://schemas.microsoft.com/office/drawing/2014/main" id="{6C96BA37-A42C-42D5-9D7A-F22A1448F7E2}"/>
              </a:ext>
            </a:extLst>
          </p:cNvPr>
          <p:cNvPicPr>
            <a:picLocks noChangeAspect="1"/>
          </p:cNvPicPr>
          <p:nvPr userDrawn="1"/>
        </p:nvPicPr>
        <p:blipFill>
          <a:blip r:embed="rId9"/>
          <a:stretch>
            <a:fillRect/>
          </a:stretch>
        </p:blipFill>
        <p:spPr>
          <a:xfrm>
            <a:off x="748938" y="5879317"/>
            <a:ext cx="329213" cy="396274"/>
          </a:xfrm>
          <a:prstGeom prst="rect">
            <a:avLst/>
          </a:prstGeom>
        </p:spPr>
      </p:pic>
      <p:pic>
        <p:nvPicPr>
          <p:cNvPr id="52" name="Picture 51">
            <a:hlinkClick r:id="rId10"/>
            <a:extLst>
              <a:ext uri="{FF2B5EF4-FFF2-40B4-BE49-F238E27FC236}">
                <a16:creationId xmlns:a16="http://schemas.microsoft.com/office/drawing/2014/main" id="{7B0A66D6-16A5-4237-A88D-05AB2F1BE138}"/>
              </a:ext>
            </a:extLst>
          </p:cNvPr>
          <p:cNvPicPr>
            <a:picLocks noChangeAspect="1"/>
          </p:cNvPicPr>
          <p:nvPr userDrawn="1"/>
        </p:nvPicPr>
        <p:blipFill>
          <a:blip r:embed="rId11"/>
          <a:stretch>
            <a:fillRect/>
          </a:stretch>
        </p:blipFill>
        <p:spPr>
          <a:xfrm>
            <a:off x="1203673" y="5871207"/>
            <a:ext cx="335309" cy="396274"/>
          </a:xfrm>
          <a:prstGeom prst="rect">
            <a:avLst/>
          </a:prstGeom>
        </p:spPr>
      </p:pic>
      <p:pic>
        <p:nvPicPr>
          <p:cNvPr id="53" name="Picture 52">
            <a:hlinkClick r:id="rId12"/>
            <a:extLst>
              <a:ext uri="{FF2B5EF4-FFF2-40B4-BE49-F238E27FC236}">
                <a16:creationId xmlns:a16="http://schemas.microsoft.com/office/drawing/2014/main" id="{4CD33D67-5AAB-49B0-981E-C7AA8350A7CA}"/>
              </a:ext>
            </a:extLst>
          </p:cNvPr>
          <p:cNvPicPr>
            <a:picLocks noChangeAspect="1"/>
          </p:cNvPicPr>
          <p:nvPr userDrawn="1"/>
        </p:nvPicPr>
        <p:blipFill>
          <a:blip r:embed="rId13"/>
          <a:stretch>
            <a:fillRect/>
          </a:stretch>
        </p:blipFill>
        <p:spPr>
          <a:xfrm>
            <a:off x="1664504" y="5871207"/>
            <a:ext cx="329213" cy="396274"/>
          </a:xfrm>
          <a:prstGeom prst="rect">
            <a:avLst/>
          </a:prstGeom>
        </p:spPr>
      </p:pic>
      <p:pic>
        <p:nvPicPr>
          <p:cNvPr id="54" name="Picture 53">
            <a:hlinkClick r:id="rId14"/>
            <a:extLst>
              <a:ext uri="{FF2B5EF4-FFF2-40B4-BE49-F238E27FC236}">
                <a16:creationId xmlns:a16="http://schemas.microsoft.com/office/drawing/2014/main" id="{68B666AB-3239-41A1-A705-1F00F02B3410}"/>
              </a:ext>
            </a:extLst>
          </p:cNvPr>
          <p:cNvPicPr>
            <a:picLocks noChangeAspect="1"/>
          </p:cNvPicPr>
          <p:nvPr userDrawn="1"/>
        </p:nvPicPr>
        <p:blipFill>
          <a:blip r:embed="rId15"/>
          <a:stretch>
            <a:fillRect/>
          </a:stretch>
        </p:blipFill>
        <p:spPr>
          <a:xfrm>
            <a:off x="2119238" y="5871207"/>
            <a:ext cx="329213" cy="396274"/>
          </a:xfrm>
          <a:prstGeom prst="rect">
            <a:avLst/>
          </a:prstGeom>
        </p:spPr>
      </p:pic>
      <p:pic>
        <p:nvPicPr>
          <p:cNvPr id="3" name="Graphic 2">
            <a:extLst>
              <a:ext uri="{FF2B5EF4-FFF2-40B4-BE49-F238E27FC236}">
                <a16:creationId xmlns:a16="http://schemas.microsoft.com/office/drawing/2014/main" id="{91A04CD8-5708-409A-BF83-42BA422C7DE0}"/>
              </a:ext>
            </a:extLst>
          </p:cNvPr>
          <p:cNvPicPr>
            <a:picLocks noChangeAspect="1"/>
          </p:cNvPicPr>
          <p:nvPr userDrawn="1"/>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288658" y="461079"/>
            <a:ext cx="3066773" cy="1243584"/>
          </a:xfrm>
          <a:prstGeom prst="rect">
            <a:avLst/>
          </a:prstGeom>
        </p:spPr>
      </p:pic>
    </p:spTree>
    <p:extLst>
      <p:ext uri="{BB962C8B-B14F-4D97-AF65-F5344CB8AC3E}">
        <p14:creationId xmlns:p14="http://schemas.microsoft.com/office/powerpoint/2010/main" val="377651925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cSld name="Title Slide">
    <p:bg>
      <p:bgRef idx="1001">
        <a:schemeClr val="bg1"/>
      </p:bgRef>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5CB7DCEC-F3DB-44D5-AF50-7F0026FE46C2}"/>
              </a:ext>
            </a:extLst>
          </p:cNvPr>
          <p:cNvSpPr/>
          <p:nvPr/>
        </p:nvSpPr>
        <p:spPr>
          <a:xfrm>
            <a:off x="0" y="0"/>
            <a:ext cx="8385464" cy="6867144"/>
          </a:xfrm>
          <a:custGeom>
            <a:avLst/>
            <a:gdLst>
              <a:gd name="connsiteX0" fmla="*/ 0 w 8385464"/>
              <a:gd name="connsiteY0" fmla="*/ 0 h 6858000"/>
              <a:gd name="connsiteX1" fmla="*/ 8385464 w 8385464"/>
              <a:gd name="connsiteY1" fmla="*/ 0 h 6858000"/>
              <a:gd name="connsiteX2" fmla="*/ 8385464 w 8385464"/>
              <a:gd name="connsiteY2" fmla="*/ 6858000 h 6858000"/>
              <a:gd name="connsiteX3" fmla="*/ 0 w 8385464"/>
              <a:gd name="connsiteY3" fmla="*/ 6858000 h 6858000"/>
              <a:gd name="connsiteX4" fmla="*/ 0 w 8385464"/>
              <a:gd name="connsiteY4" fmla="*/ 0 h 6858000"/>
              <a:gd name="connsiteX0" fmla="*/ 0 w 8395855"/>
              <a:gd name="connsiteY0" fmla="*/ 0 h 6858000"/>
              <a:gd name="connsiteX1" fmla="*/ 8385464 w 8395855"/>
              <a:gd name="connsiteY1" fmla="*/ 0 h 6858000"/>
              <a:gd name="connsiteX2" fmla="*/ 8395855 w 8395855"/>
              <a:gd name="connsiteY2" fmla="*/ 3408218 h 6858000"/>
              <a:gd name="connsiteX3" fmla="*/ 8385464 w 8395855"/>
              <a:gd name="connsiteY3" fmla="*/ 6858000 h 6858000"/>
              <a:gd name="connsiteX4" fmla="*/ 0 w 8395855"/>
              <a:gd name="connsiteY4" fmla="*/ 6858000 h 6858000"/>
              <a:gd name="connsiteX5" fmla="*/ 0 w 8395855"/>
              <a:gd name="connsiteY5" fmla="*/ 0 h 6858000"/>
              <a:gd name="connsiteX0" fmla="*/ 0 w 8385468"/>
              <a:gd name="connsiteY0" fmla="*/ 0 h 6858000"/>
              <a:gd name="connsiteX1" fmla="*/ 8385464 w 8385468"/>
              <a:gd name="connsiteY1" fmla="*/ 0 h 6858000"/>
              <a:gd name="connsiteX2" fmla="*/ 6286501 w 8385468"/>
              <a:gd name="connsiteY2" fmla="*/ 3512127 h 6858000"/>
              <a:gd name="connsiteX3" fmla="*/ 8385464 w 8385468"/>
              <a:gd name="connsiteY3" fmla="*/ 6858000 h 6858000"/>
              <a:gd name="connsiteX4" fmla="*/ 0 w 8385468"/>
              <a:gd name="connsiteY4" fmla="*/ 6858000 h 6858000"/>
              <a:gd name="connsiteX5" fmla="*/ 0 w 8385468"/>
              <a:gd name="connsiteY5" fmla="*/ 0 h 6858000"/>
              <a:gd name="connsiteX0" fmla="*/ 0 w 8385470"/>
              <a:gd name="connsiteY0" fmla="*/ 0 h 6858000"/>
              <a:gd name="connsiteX1" fmla="*/ 8385464 w 8385470"/>
              <a:gd name="connsiteY1" fmla="*/ 0 h 6858000"/>
              <a:gd name="connsiteX2" fmla="*/ 6993083 w 8385470"/>
              <a:gd name="connsiteY2" fmla="*/ 3740727 h 6858000"/>
              <a:gd name="connsiteX3" fmla="*/ 8385464 w 8385470"/>
              <a:gd name="connsiteY3" fmla="*/ 6858000 h 6858000"/>
              <a:gd name="connsiteX4" fmla="*/ 0 w 8385470"/>
              <a:gd name="connsiteY4" fmla="*/ 6858000 h 6858000"/>
              <a:gd name="connsiteX5" fmla="*/ 0 w 8385470"/>
              <a:gd name="connsiteY5" fmla="*/ 0 h 6858000"/>
              <a:gd name="connsiteX0" fmla="*/ 0 w 8385474"/>
              <a:gd name="connsiteY0" fmla="*/ 0 h 6858000"/>
              <a:gd name="connsiteX1" fmla="*/ 8385464 w 8385474"/>
              <a:gd name="connsiteY1" fmla="*/ 0 h 6858000"/>
              <a:gd name="connsiteX2" fmla="*/ 6993083 w 8385474"/>
              <a:gd name="connsiteY2" fmla="*/ 3740727 h 6858000"/>
              <a:gd name="connsiteX3" fmla="*/ 8385464 w 8385474"/>
              <a:gd name="connsiteY3" fmla="*/ 6858000 h 6858000"/>
              <a:gd name="connsiteX4" fmla="*/ 0 w 8385474"/>
              <a:gd name="connsiteY4" fmla="*/ 6858000 h 6858000"/>
              <a:gd name="connsiteX5" fmla="*/ 0 w 8385474"/>
              <a:gd name="connsiteY5" fmla="*/ 0 h 6858000"/>
              <a:gd name="connsiteX0" fmla="*/ 0 w 8385470"/>
              <a:gd name="connsiteY0" fmla="*/ 0 h 6858000"/>
              <a:gd name="connsiteX1" fmla="*/ 8385464 w 8385470"/>
              <a:gd name="connsiteY1" fmla="*/ 0 h 6858000"/>
              <a:gd name="connsiteX2" fmla="*/ 6993083 w 8385470"/>
              <a:gd name="connsiteY2" fmla="*/ 3740727 h 6858000"/>
              <a:gd name="connsiteX3" fmla="*/ 8385464 w 8385470"/>
              <a:gd name="connsiteY3" fmla="*/ 6858000 h 6858000"/>
              <a:gd name="connsiteX4" fmla="*/ 0 w 8385470"/>
              <a:gd name="connsiteY4" fmla="*/ 6858000 h 6858000"/>
              <a:gd name="connsiteX5" fmla="*/ 0 w 8385470"/>
              <a:gd name="connsiteY5" fmla="*/ 0 h 6858000"/>
              <a:gd name="connsiteX0" fmla="*/ 0 w 8385464"/>
              <a:gd name="connsiteY0" fmla="*/ 0 h 6858000"/>
              <a:gd name="connsiteX1" fmla="*/ 8385464 w 8385464"/>
              <a:gd name="connsiteY1" fmla="*/ 0 h 6858000"/>
              <a:gd name="connsiteX2" fmla="*/ 6993083 w 8385464"/>
              <a:gd name="connsiteY2" fmla="*/ 3740727 h 6858000"/>
              <a:gd name="connsiteX3" fmla="*/ 8385464 w 8385464"/>
              <a:gd name="connsiteY3" fmla="*/ 6858000 h 6858000"/>
              <a:gd name="connsiteX4" fmla="*/ 0 w 8385464"/>
              <a:gd name="connsiteY4" fmla="*/ 6858000 h 6858000"/>
              <a:gd name="connsiteX5" fmla="*/ 0 w 8385464"/>
              <a:gd name="connsiteY5" fmla="*/ 0 h 6858000"/>
              <a:gd name="connsiteX0" fmla="*/ 0 w 8385464"/>
              <a:gd name="connsiteY0" fmla="*/ 0 h 6858000"/>
              <a:gd name="connsiteX1" fmla="*/ 8385464 w 8385464"/>
              <a:gd name="connsiteY1" fmla="*/ 0 h 6858000"/>
              <a:gd name="connsiteX2" fmla="*/ 6993083 w 8385464"/>
              <a:gd name="connsiteY2" fmla="*/ 3740727 h 6858000"/>
              <a:gd name="connsiteX3" fmla="*/ 8385464 w 8385464"/>
              <a:gd name="connsiteY3" fmla="*/ 6858000 h 6858000"/>
              <a:gd name="connsiteX4" fmla="*/ 0 w 8385464"/>
              <a:gd name="connsiteY4" fmla="*/ 6858000 h 6858000"/>
              <a:gd name="connsiteX5" fmla="*/ 0 w 8385464"/>
              <a:gd name="connsiteY5" fmla="*/ 0 h 6858000"/>
              <a:gd name="connsiteX0" fmla="*/ 0 w 8385464"/>
              <a:gd name="connsiteY0" fmla="*/ 0 h 6858000"/>
              <a:gd name="connsiteX1" fmla="*/ 8385464 w 8385464"/>
              <a:gd name="connsiteY1" fmla="*/ 0 h 6858000"/>
              <a:gd name="connsiteX2" fmla="*/ 6993083 w 8385464"/>
              <a:gd name="connsiteY2" fmla="*/ 3740727 h 6858000"/>
              <a:gd name="connsiteX3" fmla="*/ 8385464 w 8385464"/>
              <a:gd name="connsiteY3" fmla="*/ 6858000 h 6858000"/>
              <a:gd name="connsiteX4" fmla="*/ 0 w 8385464"/>
              <a:gd name="connsiteY4" fmla="*/ 6858000 h 6858000"/>
              <a:gd name="connsiteX5" fmla="*/ 0 w 8385464"/>
              <a:gd name="connsiteY5" fmla="*/ 0 h 6858000"/>
              <a:gd name="connsiteX0" fmla="*/ 0 w 8385464"/>
              <a:gd name="connsiteY0" fmla="*/ 0 h 6858000"/>
              <a:gd name="connsiteX1" fmla="*/ 8385464 w 8385464"/>
              <a:gd name="connsiteY1" fmla="*/ 0 h 6858000"/>
              <a:gd name="connsiteX2" fmla="*/ 6286501 w 8385464"/>
              <a:gd name="connsiteY2" fmla="*/ 4634345 h 6858000"/>
              <a:gd name="connsiteX3" fmla="*/ 8385464 w 8385464"/>
              <a:gd name="connsiteY3" fmla="*/ 6858000 h 6858000"/>
              <a:gd name="connsiteX4" fmla="*/ 0 w 8385464"/>
              <a:gd name="connsiteY4" fmla="*/ 6858000 h 6858000"/>
              <a:gd name="connsiteX5" fmla="*/ 0 w 8385464"/>
              <a:gd name="connsiteY5" fmla="*/ 0 h 6858000"/>
              <a:gd name="connsiteX0" fmla="*/ 0 w 8385464"/>
              <a:gd name="connsiteY0" fmla="*/ 0 h 6889173"/>
              <a:gd name="connsiteX1" fmla="*/ 8385464 w 8385464"/>
              <a:gd name="connsiteY1" fmla="*/ 0 h 6889173"/>
              <a:gd name="connsiteX2" fmla="*/ 6286501 w 8385464"/>
              <a:gd name="connsiteY2" fmla="*/ 4634345 h 6889173"/>
              <a:gd name="connsiteX3" fmla="*/ 6878783 w 8385464"/>
              <a:gd name="connsiteY3" fmla="*/ 6889173 h 6889173"/>
              <a:gd name="connsiteX4" fmla="*/ 0 w 8385464"/>
              <a:gd name="connsiteY4" fmla="*/ 6858000 h 6889173"/>
              <a:gd name="connsiteX5" fmla="*/ 0 w 8385464"/>
              <a:gd name="connsiteY5" fmla="*/ 0 h 6889173"/>
              <a:gd name="connsiteX0" fmla="*/ 0 w 8385464"/>
              <a:gd name="connsiteY0" fmla="*/ 0 h 6889173"/>
              <a:gd name="connsiteX1" fmla="*/ 8385464 w 8385464"/>
              <a:gd name="connsiteY1" fmla="*/ 0 h 6889173"/>
              <a:gd name="connsiteX2" fmla="*/ 6255328 w 8385464"/>
              <a:gd name="connsiteY2" fmla="*/ 5029200 h 6889173"/>
              <a:gd name="connsiteX3" fmla="*/ 6878783 w 8385464"/>
              <a:gd name="connsiteY3" fmla="*/ 6889173 h 6889173"/>
              <a:gd name="connsiteX4" fmla="*/ 0 w 8385464"/>
              <a:gd name="connsiteY4" fmla="*/ 6858000 h 6889173"/>
              <a:gd name="connsiteX5" fmla="*/ 0 w 8385464"/>
              <a:gd name="connsiteY5" fmla="*/ 0 h 6889173"/>
              <a:gd name="connsiteX0" fmla="*/ 0 w 8385464"/>
              <a:gd name="connsiteY0" fmla="*/ 0 h 6889173"/>
              <a:gd name="connsiteX1" fmla="*/ 8385464 w 8385464"/>
              <a:gd name="connsiteY1" fmla="*/ 0 h 6889173"/>
              <a:gd name="connsiteX2" fmla="*/ 6255328 w 8385464"/>
              <a:gd name="connsiteY2" fmla="*/ 5029200 h 6889173"/>
              <a:gd name="connsiteX3" fmla="*/ 6878783 w 8385464"/>
              <a:gd name="connsiteY3" fmla="*/ 6889173 h 6889173"/>
              <a:gd name="connsiteX4" fmla="*/ 0 w 8385464"/>
              <a:gd name="connsiteY4" fmla="*/ 6858000 h 6889173"/>
              <a:gd name="connsiteX5" fmla="*/ 0 w 8385464"/>
              <a:gd name="connsiteY5" fmla="*/ 0 h 6889173"/>
              <a:gd name="connsiteX0" fmla="*/ 0 w 8385464"/>
              <a:gd name="connsiteY0" fmla="*/ 0 h 6889173"/>
              <a:gd name="connsiteX1" fmla="*/ 8385464 w 8385464"/>
              <a:gd name="connsiteY1" fmla="*/ 0 h 6889173"/>
              <a:gd name="connsiteX2" fmla="*/ 6255328 w 8385464"/>
              <a:gd name="connsiteY2" fmla="*/ 5029200 h 6889173"/>
              <a:gd name="connsiteX3" fmla="*/ 6878783 w 8385464"/>
              <a:gd name="connsiteY3" fmla="*/ 6889173 h 6889173"/>
              <a:gd name="connsiteX4" fmla="*/ 0 w 8385464"/>
              <a:gd name="connsiteY4" fmla="*/ 6858000 h 6889173"/>
              <a:gd name="connsiteX5" fmla="*/ 0 w 8385464"/>
              <a:gd name="connsiteY5" fmla="*/ 0 h 6889173"/>
              <a:gd name="connsiteX0" fmla="*/ 0 w 8385464"/>
              <a:gd name="connsiteY0" fmla="*/ 0 h 6889173"/>
              <a:gd name="connsiteX1" fmla="*/ 8385464 w 8385464"/>
              <a:gd name="connsiteY1" fmla="*/ 0 h 6889173"/>
              <a:gd name="connsiteX2" fmla="*/ 6255328 w 8385464"/>
              <a:gd name="connsiteY2" fmla="*/ 5029200 h 6889173"/>
              <a:gd name="connsiteX3" fmla="*/ 6878783 w 8385464"/>
              <a:gd name="connsiteY3" fmla="*/ 6889173 h 6889173"/>
              <a:gd name="connsiteX4" fmla="*/ 0 w 8385464"/>
              <a:gd name="connsiteY4" fmla="*/ 6858000 h 6889173"/>
              <a:gd name="connsiteX5" fmla="*/ 0 w 8385464"/>
              <a:gd name="connsiteY5" fmla="*/ 0 h 6889173"/>
              <a:gd name="connsiteX0" fmla="*/ 0 w 8385464"/>
              <a:gd name="connsiteY0" fmla="*/ 0 h 6882245"/>
              <a:gd name="connsiteX1" fmla="*/ 8385464 w 8385464"/>
              <a:gd name="connsiteY1" fmla="*/ 0 h 6882245"/>
              <a:gd name="connsiteX2" fmla="*/ 6255328 w 8385464"/>
              <a:gd name="connsiteY2" fmla="*/ 5029200 h 6882245"/>
              <a:gd name="connsiteX3" fmla="*/ 6871856 w 8385464"/>
              <a:gd name="connsiteY3" fmla="*/ 6882245 h 6882245"/>
              <a:gd name="connsiteX4" fmla="*/ 0 w 8385464"/>
              <a:gd name="connsiteY4" fmla="*/ 6858000 h 6882245"/>
              <a:gd name="connsiteX5" fmla="*/ 0 w 8385464"/>
              <a:gd name="connsiteY5" fmla="*/ 0 h 6882245"/>
              <a:gd name="connsiteX0" fmla="*/ 0 w 8385464"/>
              <a:gd name="connsiteY0" fmla="*/ 0 h 6882245"/>
              <a:gd name="connsiteX1" fmla="*/ 8385464 w 8385464"/>
              <a:gd name="connsiteY1" fmla="*/ 0 h 6882245"/>
              <a:gd name="connsiteX2" fmla="*/ 6255328 w 8385464"/>
              <a:gd name="connsiteY2" fmla="*/ 5029200 h 6882245"/>
              <a:gd name="connsiteX3" fmla="*/ 6843503 w 8385464"/>
              <a:gd name="connsiteY3" fmla="*/ 6882245 h 6882245"/>
              <a:gd name="connsiteX4" fmla="*/ 0 w 8385464"/>
              <a:gd name="connsiteY4" fmla="*/ 6858000 h 6882245"/>
              <a:gd name="connsiteX5" fmla="*/ 0 w 8385464"/>
              <a:gd name="connsiteY5" fmla="*/ 0 h 6882245"/>
              <a:gd name="connsiteX0" fmla="*/ 0 w 8385464"/>
              <a:gd name="connsiteY0" fmla="*/ 0 h 6858000"/>
              <a:gd name="connsiteX1" fmla="*/ 8385464 w 8385464"/>
              <a:gd name="connsiteY1" fmla="*/ 0 h 6858000"/>
              <a:gd name="connsiteX2" fmla="*/ 6255328 w 8385464"/>
              <a:gd name="connsiteY2" fmla="*/ 5029200 h 6858000"/>
              <a:gd name="connsiteX3" fmla="*/ 6843503 w 8385464"/>
              <a:gd name="connsiteY3" fmla="*/ 6853891 h 6858000"/>
              <a:gd name="connsiteX4" fmla="*/ 0 w 8385464"/>
              <a:gd name="connsiteY4" fmla="*/ 6858000 h 6858000"/>
              <a:gd name="connsiteX5" fmla="*/ 0 w 8385464"/>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385464" h="6858000">
                <a:moveTo>
                  <a:pt x="0" y="0"/>
                </a:moveTo>
                <a:lnTo>
                  <a:pt x="8385464" y="0"/>
                </a:lnTo>
                <a:cubicBezTo>
                  <a:pt x="7879774" y="1572491"/>
                  <a:pt x="6951518" y="3158836"/>
                  <a:pt x="6255328" y="5029200"/>
                </a:cubicBezTo>
                <a:cubicBezTo>
                  <a:pt x="6698673" y="6345381"/>
                  <a:pt x="6317032" y="5402628"/>
                  <a:pt x="6843503" y="6853891"/>
                </a:cubicBezTo>
                <a:lnTo>
                  <a:pt x="0" y="6858000"/>
                </a:lnTo>
                <a:lnTo>
                  <a:pt x="0" y="0"/>
                </a:lnTo>
                <a:close/>
              </a:path>
            </a:pathLst>
          </a:custGeom>
          <a:solidFill>
            <a:srgbClr val="2E353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pic>
        <p:nvPicPr>
          <p:cNvPr id="16" name="Picture 15">
            <a:extLst>
              <a:ext uri="{FF2B5EF4-FFF2-40B4-BE49-F238E27FC236}">
                <a16:creationId xmlns:a16="http://schemas.microsoft.com/office/drawing/2014/main" id="{13EB79B0-1C65-4824-AE7E-4624F1BE363E}"/>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039046" y="4210541"/>
            <a:ext cx="3252063" cy="1265243"/>
          </a:xfrm>
          <a:prstGeom prst="rect">
            <a:avLst/>
          </a:prstGeom>
        </p:spPr>
      </p:pic>
      <p:grpSp>
        <p:nvGrpSpPr>
          <p:cNvPr id="17" name="Group 16">
            <a:extLst>
              <a:ext uri="{FF2B5EF4-FFF2-40B4-BE49-F238E27FC236}">
                <a16:creationId xmlns:a16="http://schemas.microsoft.com/office/drawing/2014/main" id="{2D99F2D6-A8E8-48C8-81DC-1B16354D0A70}"/>
              </a:ext>
            </a:extLst>
          </p:cNvPr>
          <p:cNvGrpSpPr/>
          <p:nvPr/>
        </p:nvGrpSpPr>
        <p:grpSpPr>
          <a:xfrm>
            <a:off x="4532198" y="-1714644"/>
            <a:ext cx="3827714" cy="9445752"/>
            <a:chOff x="4094048" y="-1695594"/>
            <a:chExt cx="3827714" cy="9445752"/>
          </a:xfrm>
        </p:grpSpPr>
        <p:sp>
          <p:nvSpPr>
            <p:cNvPr id="18" name="Freeform 4">
              <a:extLst>
                <a:ext uri="{FF2B5EF4-FFF2-40B4-BE49-F238E27FC236}">
                  <a16:creationId xmlns:a16="http://schemas.microsoft.com/office/drawing/2014/main" id="{EB2C8933-4D77-4DE0-A477-987E6E83C6AF}"/>
                </a:ext>
              </a:extLst>
            </p:cNvPr>
            <p:cNvSpPr/>
            <p:nvPr/>
          </p:nvSpPr>
          <p:spPr>
            <a:xfrm>
              <a:off x="4094048" y="4104058"/>
              <a:ext cx="2681459" cy="2788159"/>
            </a:xfrm>
            <a:custGeom>
              <a:avLst/>
              <a:gdLst>
                <a:gd name="connsiteX0" fmla="*/ 57150 w 1790700"/>
                <a:gd name="connsiteY0" fmla="*/ 0 h 3086100"/>
                <a:gd name="connsiteX1" fmla="*/ 1790700 w 1790700"/>
                <a:gd name="connsiteY1" fmla="*/ 3086100 h 3086100"/>
                <a:gd name="connsiteX2" fmla="*/ 0 w 1790700"/>
                <a:gd name="connsiteY2" fmla="*/ 3067050 h 3086100"/>
                <a:gd name="connsiteX3" fmla="*/ 0 w 1790700"/>
                <a:gd name="connsiteY3" fmla="*/ 0 h 3086100"/>
                <a:gd name="connsiteX4" fmla="*/ 19050 w 1790700"/>
                <a:gd name="connsiteY4" fmla="*/ 38100 h 3086100"/>
                <a:gd name="connsiteX5" fmla="*/ 19050 w 1790700"/>
                <a:gd name="connsiteY5" fmla="*/ 57150 h 3086100"/>
                <a:gd name="connsiteX0" fmla="*/ 57150 w 1790700"/>
                <a:gd name="connsiteY0" fmla="*/ 0 h 3086100"/>
                <a:gd name="connsiteX1" fmla="*/ 1790700 w 1790700"/>
                <a:gd name="connsiteY1" fmla="*/ 3086100 h 3086100"/>
                <a:gd name="connsiteX2" fmla="*/ 0 w 1790700"/>
                <a:gd name="connsiteY2" fmla="*/ 3067050 h 3086100"/>
                <a:gd name="connsiteX3" fmla="*/ 0 w 1790700"/>
                <a:gd name="connsiteY3" fmla="*/ 0 h 3086100"/>
                <a:gd name="connsiteX4" fmla="*/ 19050 w 1790700"/>
                <a:gd name="connsiteY4" fmla="*/ 38100 h 3086100"/>
                <a:gd name="connsiteX0" fmla="*/ 57150 w 1790700"/>
                <a:gd name="connsiteY0" fmla="*/ 0 h 3086100"/>
                <a:gd name="connsiteX1" fmla="*/ 1790700 w 1790700"/>
                <a:gd name="connsiteY1" fmla="*/ 3086100 h 3086100"/>
                <a:gd name="connsiteX2" fmla="*/ 0 w 1790700"/>
                <a:gd name="connsiteY2" fmla="*/ 3067050 h 3086100"/>
                <a:gd name="connsiteX3" fmla="*/ 0 w 1790700"/>
                <a:gd name="connsiteY3" fmla="*/ 0 h 3086100"/>
                <a:gd name="connsiteX0" fmla="*/ 57150 w 1790700"/>
                <a:gd name="connsiteY0" fmla="*/ 0 h 3086100"/>
                <a:gd name="connsiteX1" fmla="*/ 1790700 w 1790700"/>
                <a:gd name="connsiteY1" fmla="*/ 3086100 h 3086100"/>
                <a:gd name="connsiteX2" fmla="*/ 0 w 1790700"/>
                <a:gd name="connsiteY2" fmla="*/ 3067050 h 3086100"/>
                <a:gd name="connsiteX0" fmla="*/ 0 w 1733550"/>
                <a:gd name="connsiteY0" fmla="*/ 0 h 3086100"/>
                <a:gd name="connsiteX1" fmla="*/ 1733550 w 1733550"/>
                <a:gd name="connsiteY1" fmla="*/ 3086100 h 3086100"/>
                <a:gd name="connsiteX2" fmla="*/ 613087 w 1733550"/>
                <a:gd name="connsiteY2" fmla="*/ 3077523 h 3086100"/>
                <a:gd name="connsiteX0" fmla="*/ 245654 w 1120463"/>
                <a:gd name="connsiteY0" fmla="*/ 0 h 1525705"/>
                <a:gd name="connsiteX1" fmla="*/ 1120463 w 1120463"/>
                <a:gd name="connsiteY1" fmla="*/ 1525705 h 1525705"/>
                <a:gd name="connsiteX2" fmla="*/ 0 w 1120463"/>
                <a:gd name="connsiteY2" fmla="*/ 1517128 h 1525705"/>
                <a:gd name="connsiteX0" fmla="*/ 811167 w 1120463"/>
                <a:gd name="connsiteY0" fmla="*/ 0 h 1211531"/>
                <a:gd name="connsiteX1" fmla="*/ 1120463 w 1120463"/>
                <a:gd name="connsiteY1" fmla="*/ 1211531 h 1211531"/>
                <a:gd name="connsiteX2" fmla="*/ 0 w 1120463"/>
                <a:gd name="connsiteY2" fmla="*/ 1202954 h 1211531"/>
                <a:gd name="connsiteX0" fmla="*/ 874002 w 1183298"/>
                <a:gd name="connsiteY0" fmla="*/ 0 h 1213426"/>
                <a:gd name="connsiteX1" fmla="*/ 1183298 w 1183298"/>
                <a:gd name="connsiteY1" fmla="*/ 1211531 h 1213426"/>
                <a:gd name="connsiteX2" fmla="*/ 0 w 1183298"/>
                <a:gd name="connsiteY2" fmla="*/ 1213426 h 1213426"/>
                <a:gd name="connsiteX0" fmla="*/ 857693 w 1166989"/>
                <a:gd name="connsiteY0" fmla="*/ 0 h 1213426"/>
                <a:gd name="connsiteX1" fmla="*/ 1166989 w 1166989"/>
                <a:gd name="connsiteY1" fmla="*/ 1211531 h 1213426"/>
                <a:gd name="connsiteX2" fmla="*/ 0 w 1166989"/>
                <a:gd name="connsiteY2" fmla="*/ 1213426 h 1213426"/>
              </a:gdLst>
              <a:ahLst/>
              <a:cxnLst>
                <a:cxn ang="0">
                  <a:pos x="connsiteX0" y="connsiteY0"/>
                </a:cxn>
                <a:cxn ang="0">
                  <a:pos x="connsiteX1" y="connsiteY1"/>
                </a:cxn>
                <a:cxn ang="0">
                  <a:pos x="connsiteX2" y="connsiteY2"/>
                </a:cxn>
              </a:cxnLst>
              <a:rect l="l" t="t" r="r" b="b"/>
              <a:pathLst>
                <a:path w="1166989" h="1213426">
                  <a:moveTo>
                    <a:pt x="857693" y="0"/>
                  </a:moveTo>
                  <a:lnTo>
                    <a:pt x="1166989" y="1211531"/>
                  </a:lnTo>
                  <a:lnTo>
                    <a:pt x="0" y="1213426"/>
                  </a:lnTo>
                </a:path>
              </a:pathLst>
            </a:custGeom>
            <a:gradFill>
              <a:gsLst>
                <a:gs pos="2000">
                  <a:schemeClr val="bg2">
                    <a:lumMod val="50000"/>
                  </a:schemeClr>
                </a:gs>
                <a:gs pos="100000">
                  <a:schemeClr val="bg2"/>
                </a:gs>
              </a:gsLst>
              <a:lin ang="3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19" name="Isosceles Triangle 3">
              <a:extLst>
                <a:ext uri="{FF2B5EF4-FFF2-40B4-BE49-F238E27FC236}">
                  <a16:creationId xmlns:a16="http://schemas.microsoft.com/office/drawing/2014/main" id="{4F4EF7A4-035D-4172-AF61-5D3483B2916C}"/>
                </a:ext>
              </a:extLst>
            </p:cNvPr>
            <p:cNvSpPr/>
            <p:nvPr/>
          </p:nvSpPr>
          <p:spPr>
            <a:xfrm rot="13120470">
              <a:off x="5797893" y="-1695594"/>
              <a:ext cx="2123869" cy="9445752"/>
            </a:xfrm>
            <a:custGeom>
              <a:avLst/>
              <a:gdLst>
                <a:gd name="connsiteX0" fmla="*/ 0 w 1349298"/>
                <a:gd name="connsiteY0" fmla="*/ 5885253 h 5885253"/>
                <a:gd name="connsiteX1" fmla="*/ 674649 w 1349298"/>
                <a:gd name="connsiteY1" fmla="*/ 0 h 5885253"/>
                <a:gd name="connsiteX2" fmla="*/ 1349298 w 1349298"/>
                <a:gd name="connsiteY2" fmla="*/ 5885253 h 5885253"/>
                <a:gd name="connsiteX3" fmla="*/ 0 w 1349298"/>
                <a:gd name="connsiteY3" fmla="*/ 5885253 h 5885253"/>
                <a:gd name="connsiteX0" fmla="*/ 0 w 1304760"/>
                <a:gd name="connsiteY0" fmla="*/ 5885253 h 5885253"/>
                <a:gd name="connsiteX1" fmla="*/ 674649 w 1304760"/>
                <a:gd name="connsiteY1" fmla="*/ 0 h 5885253"/>
                <a:gd name="connsiteX2" fmla="*/ 1304760 w 1304760"/>
                <a:gd name="connsiteY2" fmla="*/ 5698299 h 5885253"/>
                <a:gd name="connsiteX3" fmla="*/ 0 w 1304760"/>
                <a:gd name="connsiteY3" fmla="*/ 5885253 h 5885253"/>
                <a:gd name="connsiteX0" fmla="*/ 0 w 1386992"/>
                <a:gd name="connsiteY0" fmla="*/ 5829786 h 5829786"/>
                <a:gd name="connsiteX1" fmla="*/ 756881 w 1386992"/>
                <a:gd name="connsiteY1" fmla="*/ 0 h 5829786"/>
                <a:gd name="connsiteX2" fmla="*/ 1386992 w 1386992"/>
                <a:gd name="connsiteY2" fmla="*/ 5698299 h 5829786"/>
                <a:gd name="connsiteX3" fmla="*/ 0 w 1386992"/>
                <a:gd name="connsiteY3" fmla="*/ 5829786 h 5829786"/>
                <a:gd name="connsiteX0" fmla="*/ 0 w 1613616"/>
                <a:gd name="connsiteY0" fmla="*/ 5273942 h 5698299"/>
                <a:gd name="connsiteX1" fmla="*/ 983505 w 1613616"/>
                <a:gd name="connsiteY1" fmla="*/ 0 h 5698299"/>
                <a:gd name="connsiteX2" fmla="*/ 1613616 w 1613616"/>
                <a:gd name="connsiteY2" fmla="*/ 5698299 h 5698299"/>
                <a:gd name="connsiteX3" fmla="*/ 0 w 1613616"/>
                <a:gd name="connsiteY3" fmla="*/ 5273942 h 5698299"/>
                <a:gd name="connsiteX0" fmla="*/ 0 w 2111499"/>
                <a:gd name="connsiteY0" fmla="*/ 5273942 h 5273942"/>
                <a:gd name="connsiteX1" fmla="*/ 983505 w 2111499"/>
                <a:gd name="connsiteY1" fmla="*/ 0 h 5273942"/>
                <a:gd name="connsiteX2" fmla="*/ 2111499 w 2111499"/>
                <a:gd name="connsiteY2" fmla="*/ 4721711 h 5273942"/>
                <a:gd name="connsiteX3" fmla="*/ 0 w 2111499"/>
                <a:gd name="connsiteY3" fmla="*/ 5273942 h 5273942"/>
                <a:gd name="connsiteX0" fmla="*/ 0 w 2111499"/>
                <a:gd name="connsiteY0" fmla="*/ 4717306 h 4717306"/>
                <a:gd name="connsiteX1" fmla="*/ 932758 w 2111499"/>
                <a:gd name="connsiteY1" fmla="*/ 0 h 4717306"/>
                <a:gd name="connsiteX2" fmla="*/ 2111499 w 2111499"/>
                <a:gd name="connsiteY2" fmla="*/ 4165075 h 4717306"/>
                <a:gd name="connsiteX3" fmla="*/ 0 w 2111499"/>
                <a:gd name="connsiteY3" fmla="*/ 4717306 h 4717306"/>
                <a:gd name="connsiteX0" fmla="*/ 0 w 3931298"/>
                <a:gd name="connsiteY0" fmla="*/ 4717306 h 4717306"/>
                <a:gd name="connsiteX1" fmla="*/ 932758 w 3931298"/>
                <a:gd name="connsiteY1" fmla="*/ 0 h 4717306"/>
                <a:gd name="connsiteX2" fmla="*/ 3931298 w 3931298"/>
                <a:gd name="connsiteY2" fmla="*/ 4480286 h 4717306"/>
                <a:gd name="connsiteX3" fmla="*/ 0 w 3931298"/>
                <a:gd name="connsiteY3" fmla="*/ 4717306 h 4717306"/>
                <a:gd name="connsiteX0" fmla="*/ 35679 w 2998540"/>
                <a:gd name="connsiteY0" fmla="*/ 5024381 h 5024381"/>
                <a:gd name="connsiteX1" fmla="*/ 0 w 2998540"/>
                <a:gd name="connsiteY1" fmla="*/ 0 h 5024381"/>
                <a:gd name="connsiteX2" fmla="*/ 2998540 w 2998540"/>
                <a:gd name="connsiteY2" fmla="*/ 4480286 h 5024381"/>
                <a:gd name="connsiteX3" fmla="*/ 35679 w 2998540"/>
                <a:gd name="connsiteY3" fmla="*/ 5024381 h 5024381"/>
                <a:gd name="connsiteX0" fmla="*/ 0 w 3359513"/>
                <a:gd name="connsiteY0" fmla="*/ 4923649 h 4923649"/>
                <a:gd name="connsiteX1" fmla="*/ 360973 w 3359513"/>
                <a:gd name="connsiteY1" fmla="*/ 0 h 4923649"/>
                <a:gd name="connsiteX2" fmla="*/ 3359513 w 3359513"/>
                <a:gd name="connsiteY2" fmla="*/ 4480286 h 4923649"/>
                <a:gd name="connsiteX3" fmla="*/ 0 w 3359513"/>
                <a:gd name="connsiteY3" fmla="*/ 4923649 h 4923649"/>
                <a:gd name="connsiteX0" fmla="*/ 0 w 3359513"/>
                <a:gd name="connsiteY0" fmla="*/ 4137435 h 4137435"/>
                <a:gd name="connsiteX1" fmla="*/ 1823306 w 3359513"/>
                <a:gd name="connsiteY1" fmla="*/ 0 h 4137435"/>
                <a:gd name="connsiteX2" fmla="*/ 3359513 w 3359513"/>
                <a:gd name="connsiteY2" fmla="*/ 3694072 h 4137435"/>
                <a:gd name="connsiteX3" fmla="*/ 0 w 3359513"/>
                <a:gd name="connsiteY3" fmla="*/ 4137435 h 4137435"/>
                <a:gd name="connsiteX0" fmla="*/ 0 w 3163954"/>
                <a:gd name="connsiteY0" fmla="*/ 4137435 h 4137435"/>
                <a:gd name="connsiteX1" fmla="*/ 1823306 w 3163954"/>
                <a:gd name="connsiteY1" fmla="*/ 0 h 4137435"/>
                <a:gd name="connsiteX2" fmla="*/ 3163954 w 3163954"/>
                <a:gd name="connsiteY2" fmla="*/ 3451242 h 4137435"/>
                <a:gd name="connsiteX3" fmla="*/ 0 w 3163954"/>
                <a:gd name="connsiteY3" fmla="*/ 4137435 h 4137435"/>
                <a:gd name="connsiteX0" fmla="*/ 0 w 2066613"/>
                <a:gd name="connsiteY0" fmla="*/ 4130703 h 4130703"/>
                <a:gd name="connsiteX1" fmla="*/ 725965 w 2066613"/>
                <a:gd name="connsiteY1" fmla="*/ 0 h 4130703"/>
                <a:gd name="connsiteX2" fmla="*/ 2066613 w 2066613"/>
                <a:gd name="connsiteY2" fmla="*/ 3451242 h 4130703"/>
                <a:gd name="connsiteX3" fmla="*/ 0 w 2066613"/>
                <a:gd name="connsiteY3" fmla="*/ 4130703 h 4130703"/>
                <a:gd name="connsiteX0" fmla="*/ 0 w 2119185"/>
                <a:gd name="connsiteY0" fmla="*/ 4203399 h 4203399"/>
                <a:gd name="connsiteX1" fmla="*/ 778537 w 2119185"/>
                <a:gd name="connsiteY1" fmla="*/ 0 h 4203399"/>
                <a:gd name="connsiteX2" fmla="*/ 2119185 w 2119185"/>
                <a:gd name="connsiteY2" fmla="*/ 3451242 h 4203399"/>
                <a:gd name="connsiteX3" fmla="*/ 0 w 2119185"/>
                <a:gd name="connsiteY3" fmla="*/ 4203399 h 4203399"/>
                <a:gd name="connsiteX0" fmla="*/ 0 w 2119185"/>
                <a:gd name="connsiteY0" fmla="*/ 4216619 h 4216619"/>
                <a:gd name="connsiteX1" fmla="*/ 816110 w 2119185"/>
                <a:gd name="connsiteY1" fmla="*/ 0 h 4216619"/>
                <a:gd name="connsiteX2" fmla="*/ 2119185 w 2119185"/>
                <a:gd name="connsiteY2" fmla="*/ 3464462 h 4216619"/>
                <a:gd name="connsiteX3" fmla="*/ 0 w 2119185"/>
                <a:gd name="connsiteY3" fmla="*/ 4216619 h 4216619"/>
                <a:gd name="connsiteX0" fmla="*/ 0 w 2119185"/>
                <a:gd name="connsiteY0" fmla="*/ 4184713 h 4184713"/>
                <a:gd name="connsiteX1" fmla="*/ 797400 w 2119185"/>
                <a:gd name="connsiteY1" fmla="*/ 0 h 4184713"/>
                <a:gd name="connsiteX2" fmla="*/ 2119185 w 2119185"/>
                <a:gd name="connsiteY2" fmla="*/ 3432556 h 4184713"/>
                <a:gd name="connsiteX3" fmla="*/ 0 w 2119185"/>
                <a:gd name="connsiteY3" fmla="*/ 4184713 h 4184713"/>
                <a:gd name="connsiteX0" fmla="*/ 0 w 2119185"/>
                <a:gd name="connsiteY0" fmla="*/ 4163102 h 4163102"/>
                <a:gd name="connsiteX1" fmla="*/ 807948 w 2119185"/>
                <a:gd name="connsiteY1" fmla="*/ 0 h 4163102"/>
                <a:gd name="connsiteX2" fmla="*/ 2119185 w 2119185"/>
                <a:gd name="connsiteY2" fmla="*/ 3410945 h 4163102"/>
                <a:gd name="connsiteX3" fmla="*/ 0 w 2119185"/>
                <a:gd name="connsiteY3" fmla="*/ 4163102 h 4163102"/>
                <a:gd name="connsiteX0" fmla="*/ 0 w 2123869"/>
                <a:gd name="connsiteY0" fmla="*/ 4163102 h 4163102"/>
                <a:gd name="connsiteX1" fmla="*/ 807948 w 2123869"/>
                <a:gd name="connsiteY1" fmla="*/ 0 h 4163102"/>
                <a:gd name="connsiteX2" fmla="*/ 2123869 w 2123869"/>
                <a:gd name="connsiteY2" fmla="*/ 3413517 h 4163102"/>
                <a:gd name="connsiteX3" fmla="*/ 0 w 2123869"/>
                <a:gd name="connsiteY3" fmla="*/ 4163102 h 4163102"/>
              </a:gdLst>
              <a:ahLst/>
              <a:cxnLst>
                <a:cxn ang="0">
                  <a:pos x="connsiteX0" y="connsiteY0"/>
                </a:cxn>
                <a:cxn ang="0">
                  <a:pos x="connsiteX1" y="connsiteY1"/>
                </a:cxn>
                <a:cxn ang="0">
                  <a:pos x="connsiteX2" y="connsiteY2"/>
                </a:cxn>
                <a:cxn ang="0">
                  <a:pos x="connsiteX3" y="connsiteY3"/>
                </a:cxn>
              </a:cxnLst>
              <a:rect l="l" t="t" r="r" b="b"/>
              <a:pathLst>
                <a:path w="2123869" h="4163102">
                  <a:moveTo>
                    <a:pt x="0" y="4163102"/>
                  </a:moveTo>
                  <a:lnTo>
                    <a:pt x="807948" y="0"/>
                  </a:lnTo>
                  <a:lnTo>
                    <a:pt x="2123869" y="3413517"/>
                  </a:lnTo>
                  <a:lnTo>
                    <a:pt x="0" y="4163102"/>
                  </a:lnTo>
                  <a:close/>
                </a:path>
              </a:pathLst>
            </a:custGeom>
            <a:gradFill>
              <a:gsLst>
                <a:gs pos="2000">
                  <a:schemeClr val="bg2">
                    <a:lumMod val="75000"/>
                  </a:schemeClr>
                </a:gs>
                <a:gs pos="100000">
                  <a:schemeClr val="bg2"/>
                </a:gs>
              </a:gsLst>
              <a:lin ang="12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grpSp>
      <p:sp>
        <p:nvSpPr>
          <p:cNvPr id="2" name="Title 1"/>
          <p:cNvSpPr>
            <a:spLocks noGrp="1"/>
          </p:cNvSpPr>
          <p:nvPr>
            <p:ph type="ctrTitle" hasCustomPrompt="1"/>
          </p:nvPr>
        </p:nvSpPr>
        <p:spPr bwMode="ltGray">
          <a:xfrm>
            <a:off x="427701" y="1463040"/>
            <a:ext cx="5669280" cy="1935933"/>
          </a:xfrm>
        </p:spPr>
        <p:txBody>
          <a:bodyPr wrap="square" tIns="91440" anchor="ctr" anchorCtr="0">
            <a:noAutofit/>
          </a:bodyPr>
          <a:lstStyle>
            <a:lvl1pPr>
              <a:lnSpc>
                <a:spcPct val="80000"/>
              </a:lnSpc>
              <a:defRPr sz="5400" b="0" cap="all" baseline="0">
                <a:solidFill>
                  <a:schemeClr val="bg2"/>
                </a:solidFill>
                <a:effectLst/>
                <a:latin typeface="+mj-lt"/>
              </a:defRPr>
            </a:lvl1pPr>
          </a:lstStyle>
          <a:p>
            <a:r>
              <a:rPr lang="en-US" dirty="0"/>
              <a:t>Click to Add Presentation Title</a:t>
            </a:r>
          </a:p>
        </p:txBody>
      </p:sp>
      <p:sp>
        <p:nvSpPr>
          <p:cNvPr id="3" name="Subtitle 2"/>
          <p:cNvSpPr>
            <a:spLocks noGrp="1"/>
          </p:cNvSpPr>
          <p:nvPr>
            <p:ph type="subTitle" idx="1" hasCustomPrompt="1"/>
          </p:nvPr>
        </p:nvSpPr>
        <p:spPr bwMode="gray">
          <a:xfrm>
            <a:off x="427702" y="4962602"/>
            <a:ext cx="4754880" cy="276999"/>
          </a:xfrm>
        </p:spPr>
        <p:txBody>
          <a:bodyPr wrap="square" anchor="b">
            <a:noAutofit/>
          </a:bodyPr>
          <a:lstStyle>
            <a:lvl1pPr marL="0" indent="0" algn="l">
              <a:spcBef>
                <a:spcPts val="0"/>
              </a:spcBef>
              <a:buNone/>
              <a:defRPr sz="2000" b="0">
                <a:solidFill>
                  <a:schemeClr val="bg1"/>
                </a:solidFill>
                <a:effectLst/>
                <a:latin typeface="+mn-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Add Presenter’s Name</a:t>
            </a:r>
          </a:p>
        </p:txBody>
      </p:sp>
      <p:sp>
        <p:nvSpPr>
          <p:cNvPr id="8" name="Text Placeholder 7"/>
          <p:cNvSpPr>
            <a:spLocks noGrp="1"/>
          </p:cNvSpPr>
          <p:nvPr>
            <p:ph type="body" sz="quarter" idx="10" hasCustomPrompt="1"/>
          </p:nvPr>
        </p:nvSpPr>
        <p:spPr bwMode="gray">
          <a:xfrm>
            <a:off x="427702" y="5274168"/>
            <a:ext cx="4572000" cy="221599"/>
          </a:xfrm>
        </p:spPr>
        <p:txBody>
          <a:bodyPr>
            <a:noAutofit/>
          </a:bodyPr>
          <a:lstStyle>
            <a:lvl1pPr marL="0" indent="0" algn="l">
              <a:spcBef>
                <a:spcPts val="0"/>
              </a:spcBef>
              <a:buNone/>
              <a:defRPr sz="1600">
                <a:solidFill>
                  <a:schemeClr val="bg1"/>
                </a:solidFill>
                <a:effectLst/>
                <a:latin typeface="+mn-lt"/>
              </a:defRPr>
            </a:lvl1pPr>
            <a:lvl2pPr marL="455613" indent="0">
              <a:buNone/>
              <a:defRPr>
                <a:solidFill>
                  <a:schemeClr val="bg1"/>
                </a:solidFill>
              </a:defRPr>
            </a:lvl2pPr>
            <a:lvl3pPr marL="914400" indent="0">
              <a:buNone/>
              <a:defRPr>
                <a:solidFill>
                  <a:schemeClr val="bg1"/>
                </a:solidFill>
              </a:defRPr>
            </a:lvl3pPr>
            <a:lvl4pPr marL="1371600" indent="0">
              <a:buNone/>
              <a:defRPr>
                <a:solidFill>
                  <a:schemeClr val="bg1"/>
                </a:solidFill>
              </a:defRPr>
            </a:lvl4pPr>
            <a:lvl5pPr marL="1828800" indent="0">
              <a:buNone/>
              <a:defRPr>
                <a:solidFill>
                  <a:schemeClr val="bg1"/>
                </a:solidFill>
              </a:defRPr>
            </a:lvl5pPr>
          </a:lstStyle>
          <a:p>
            <a:pPr lvl="0"/>
            <a:r>
              <a:rPr lang="en-US" dirty="0"/>
              <a:t>Click to Add Presenter’s Title</a:t>
            </a:r>
          </a:p>
        </p:txBody>
      </p:sp>
      <p:sp>
        <p:nvSpPr>
          <p:cNvPr id="10" name="Text Placeholder 9"/>
          <p:cNvSpPr>
            <a:spLocks noGrp="1"/>
          </p:cNvSpPr>
          <p:nvPr>
            <p:ph type="body" sz="quarter" idx="12" hasCustomPrompt="1"/>
          </p:nvPr>
        </p:nvSpPr>
        <p:spPr bwMode="gray">
          <a:xfrm>
            <a:off x="427702" y="6268953"/>
            <a:ext cx="3749040" cy="193899"/>
          </a:xfrm>
        </p:spPr>
        <p:txBody>
          <a:bodyPr anchor="b" anchorCtr="0">
            <a:noAutofit/>
          </a:bodyPr>
          <a:lstStyle>
            <a:lvl1pPr marL="0" indent="0" algn="l">
              <a:spcBef>
                <a:spcPts val="0"/>
              </a:spcBef>
              <a:buFontTx/>
              <a:buNone/>
              <a:defRPr sz="1400">
                <a:solidFill>
                  <a:schemeClr val="bg1"/>
                </a:solidFill>
                <a:effectLst/>
                <a:latin typeface="+mn-lt"/>
              </a:defRPr>
            </a:lvl1pPr>
            <a:lvl2pPr marL="455613" indent="0">
              <a:buFontTx/>
              <a:buNone/>
              <a:defRPr sz="1500">
                <a:solidFill>
                  <a:schemeClr val="bg1"/>
                </a:solidFill>
                <a:latin typeface="Arial Narrow" pitchFamily="34" charset="0"/>
              </a:defRPr>
            </a:lvl2pPr>
            <a:lvl3pPr marL="914400" indent="0">
              <a:buFontTx/>
              <a:buNone/>
              <a:defRPr sz="1500">
                <a:solidFill>
                  <a:schemeClr val="bg1"/>
                </a:solidFill>
                <a:latin typeface="Arial Narrow" pitchFamily="34" charset="0"/>
              </a:defRPr>
            </a:lvl3pPr>
            <a:lvl4pPr marL="1371600" indent="0">
              <a:buFontTx/>
              <a:buNone/>
              <a:defRPr sz="1500">
                <a:solidFill>
                  <a:schemeClr val="bg1"/>
                </a:solidFill>
                <a:latin typeface="Arial Narrow" pitchFamily="34" charset="0"/>
              </a:defRPr>
            </a:lvl4pPr>
            <a:lvl5pPr marL="1828800" indent="0">
              <a:buFontTx/>
              <a:buNone/>
              <a:defRPr sz="1500">
                <a:solidFill>
                  <a:schemeClr val="bg1"/>
                </a:solidFill>
                <a:latin typeface="Arial Narrow" pitchFamily="34" charset="0"/>
              </a:defRPr>
            </a:lvl5pPr>
          </a:lstStyle>
          <a:p>
            <a:pPr lvl="0"/>
            <a:r>
              <a:rPr lang="en-US" dirty="0"/>
              <a:t>Click to Add Date</a:t>
            </a:r>
          </a:p>
        </p:txBody>
      </p:sp>
    </p:spTree>
    <p:extLst>
      <p:ext uri="{BB962C8B-B14F-4D97-AF65-F5344CB8AC3E}">
        <p14:creationId xmlns:p14="http://schemas.microsoft.com/office/powerpoint/2010/main" val="53217016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0"/>
    </mc:Choice>
    <mc:Fallback xmlns="">
      <p:transition/>
    </mc:Fallback>
  </mc:AlternateContent>
  <p:hf sldNum="0" hdr="0" dt="0"/>
</p:sldLayout>
</file>

<file path=ppt/slideLayouts/slideLayout53.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3FA98A-A8B0-4699-9FBF-9A5BFAC358F5}"/>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9AFCD1C8-93FC-413A-9218-F40B292C2858}"/>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DB2CAA10-BEA6-4759-8F2C-990D43073E5E}"/>
              </a:ext>
            </a:extLst>
          </p:cNvPr>
          <p:cNvSpPr>
            <a:spLocks noGrp="1"/>
          </p:cNvSpPr>
          <p:nvPr>
            <p:ph type="dt" sz="half" idx="10"/>
          </p:nvPr>
        </p:nvSpPr>
        <p:spPr/>
        <p:txBody>
          <a:bodyPr/>
          <a:lstStyle/>
          <a:p>
            <a:fld id="{DBFBCD2D-C235-4F1E-B78C-E4BDF3D41333}" type="datetimeFigureOut">
              <a:rPr lang="en-US" smtClean="0"/>
              <a:t>1/8/2024</a:t>
            </a:fld>
            <a:endParaRPr lang="en-US" dirty="0"/>
          </a:p>
        </p:txBody>
      </p:sp>
      <p:sp>
        <p:nvSpPr>
          <p:cNvPr id="5" name="Footer Placeholder 4">
            <a:extLst>
              <a:ext uri="{FF2B5EF4-FFF2-40B4-BE49-F238E27FC236}">
                <a16:creationId xmlns:a16="http://schemas.microsoft.com/office/drawing/2014/main" id="{492EF987-70C8-4FAC-867A-BC856FAF7C12}"/>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00F26344-E65E-49E3-815F-436EB8067C63}"/>
              </a:ext>
            </a:extLst>
          </p:cNvPr>
          <p:cNvSpPr>
            <a:spLocks noGrp="1"/>
          </p:cNvSpPr>
          <p:nvPr>
            <p:ph type="sldNum" sz="quarter" idx="12"/>
          </p:nvPr>
        </p:nvSpPr>
        <p:spPr/>
        <p:txBody>
          <a:bodyPr/>
          <a:lstStyle/>
          <a:p>
            <a:fld id="{8914ABE7-E9EE-40C1-8128-7C2931D0A7E2}" type="slidenum">
              <a:rPr lang="en-US" smtClean="0"/>
              <a:t>‹#›</a:t>
            </a:fld>
            <a:endParaRPr lang="en-US" dirty="0"/>
          </a:p>
        </p:txBody>
      </p:sp>
    </p:spTree>
    <p:extLst>
      <p:ext uri="{BB962C8B-B14F-4D97-AF65-F5344CB8AC3E}">
        <p14:creationId xmlns:p14="http://schemas.microsoft.com/office/powerpoint/2010/main" val="1742925089"/>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Image &amp; Content">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E1C446A1-265A-4DAE-946F-92FDA59633AB}"/>
              </a:ext>
            </a:extLst>
          </p:cNvPr>
          <p:cNvSpPr>
            <a:spLocks noGrp="1"/>
          </p:cNvSpPr>
          <p:nvPr>
            <p:ph type="pic" sz="quarter" idx="10" hasCustomPrompt="1"/>
          </p:nvPr>
        </p:nvSpPr>
        <p:spPr>
          <a:xfrm>
            <a:off x="568325" y="1514887"/>
            <a:ext cx="3557588" cy="4700016"/>
          </a:xfrm>
          <a:ln>
            <a:solidFill>
              <a:schemeClr val="bg2"/>
            </a:solidFill>
          </a:ln>
        </p:spPr>
        <p:txBody>
          <a:bodyPr bIns="731520" anchor="ctr" anchorCtr="0"/>
          <a:lstStyle>
            <a:lvl1pPr marL="0" indent="0" algn="ctr">
              <a:buFontTx/>
              <a:buNone/>
              <a:defRPr sz="1800"/>
            </a:lvl1pPr>
          </a:lstStyle>
          <a:p>
            <a:r>
              <a:rPr lang="en-US" dirty="0"/>
              <a:t>Insert picture</a:t>
            </a:r>
          </a:p>
        </p:txBody>
      </p:sp>
      <p:sp>
        <p:nvSpPr>
          <p:cNvPr id="14" name="Rectangle 13">
            <a:extLst>
              <a:ext uri="{FF2B5EF4-FFF2-40B4-BE49-F238E27FC236}">
                <a16:creationId xmlns:a16="http://schemas.microsoft.com/office/drawing/2014/main" id="{91DFB4FC-DBF3-4C25-B966-AEA10F97ECFF}"/>
              </a:ext>
            </a:extLst>
          </p:cNvPr>
          <p:cNvSpPr/>
          <p:nvPr userDrawn="1"/>
        </p:nvSpPr>
        <p:spPr>
          <a:xfrm>
            <a:off x="0" y="1509331"/>
            <a:ext cx="511478" cy="471112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Bef>
                <a:spcPts val="800"/>
              </a:spcBef>
            </a:pPr>
            <a:endParaRPr lang="es-PE">
              <a:solidFill>
                <a:schemeClr val="bg1"/>
              </a:solidFill>
            </a:endParaRPr>
          </a:p>
        </p:txBody>
      </p:sp>
      <p:sp>
        <p:nvSpPr>
          <p:cNvPr id="3" name="Content Placeholder 2"/>
          <p:cNvSpPr>
            <a:spLocks noGrp="1"/>
          </p:cNvSpPr>
          <p:nvPr userDrawn="1">
            <p:ph idx="1" hasCustomPrompt="1"/>
          </p:nvPr>
        </p:nvSpPr>
        <p:spPr>
          <a:xfrm>
            <a:off x="4588160" y="1514887"/>
            <a:ext cx="7068947" cy="4700016"/>
          </a:xfrm>
        </p:spPr>
        <p:txBody>
          <a:bodyPr vert="horz" lIns="0" tIns="0" rIns="0" bIns="0" rtlCol="0">
            <a:noAutofit/>
          </a:bodyPr>
          <a:lstStyle>
            <a:lvl1pPr>
              <a:defRPr lang="en-US" dirty="0"/>
            </a:lvl1pPr>
            <a:lvl2pPr>
              <a:defRPr lang="en-US" b="0" dirty="0"/>
            </a:lvl2pPr>
            <a:lvl3pPr>
              <a:defRPr lang="en-US" b="0" dirty="0"/>
            </a:lvl3pPr>
            <a:lvl4pPr>
              <a:defRPr lang="en-US" b="0" dirty="0"/>
            </a:lvl4pPr>
            <a:lvl5pPr>
              <a:defRPr lang="en-US" b="0" dirty="0"/>
            </a:lvl5pPr>
          </a:lstStyle>
          <a:p>
            <a:pPr lvl="0"/>
            <a:r>
              <a:rPr lang="en-US" dirty="0"/>
              <a:t>Add text</a:t>
            </a:r>
          </a:p>
          <a:p>
            <a:pPr marL="658368" lvl="1" indent="-271694"/>
            <a:r>
              <a:rPr lang="en-US" dirty="0"/>
              <a:t>Second level</a:t>
            </a:r>
          </a:p>
          <a:p>
            <a:pPr marL="914400" lvl="2" indent="-210312"/>
            <a:r>
              <a:rPr lang="en-US" dirty="0"/>
              <a:t>Third level</a:t>
            </a:r>
          </a:p>
          <a:p>
            <a:pPr marL="1197864" lvl="3" indent="-210312"/>
            <a:r>
              <a:rPr lang="en-US" dirty="0"/>
              <a:t>Fourth level</a:t>
            </a:r>
          </a:p>
          <a:p>
            <a:pPr marL="1444752" lvl="4" indent="-182880"/>
            <a:r>
              <a:rPr lang="en-US" dirty="0"/>
              <a:t>Fifth level</a:t>
            </a:r>
          </a:p>
        </p:txBody>
      </p:sp>
      <p:sp>
        <p:nvSpPr>
          <p:cNvPr id="12" name="Title 11"/>
          <p:cNvSpPr>
            <a:spLocks noGrp="1"/>
          </p:cNvSpPr>
          <p:nvPr userDrawn="1">
            <p:ph type="title" hasCustomPrompt="1"/>
          </p:nvPr>
        </p:nvSpPr>
        <p:spPr/>
        <p:txBody>
          <a:bodyPr anchor="ctr" anchorCtr="0"/>
          <a:lstStyle>
            <a:lvl1pPr>
              <a:defRPr/>
            </a:lvl1pPr>
          </a:lstStyle>
          <a:p>
            <a:r>
              <a:rPr lang="en-US" dirty="0"/>
              <a:t>add title – keep it brief</a:t>
            </a:r>
          </a:p>
        </p:txBody>
      </p:sp>
      <p:sp>
        <p:nvSpPr>
          <p:cNvPr id="74" name="Freeform: Shape 73">
            <a:extLst>
              <a:ext uri="{FF2B5EF4-FFF2-40B4-BE49-F238E27FC236}">
                <a16:creationId xmlns:a16="http://schemas.microsoft.com/office/drawing/2014/main" id="{4C10FBDB-41E4-496C-8570-6220B8FEEEEC}"/>
              </a:ext>
            </a:extLst>
          </p:cNvPr>
          <p:cNvSpPr/>
          <p:nvPr userDrawn="1"/>
        </p:nvSpPr>
        <p:spPr>
          <a:xfrm flipH="1" flipV="1">
            <a:off x="4290848" y="1775505"/>
            <a:ext cx="192186" cy="198707"/>
          </a:xfrm>
          <a:custGeom>
            <a:avLst/>
            <a:gdLst>
              <a:gd name="connsiteX0" fmla="*/ 184242 w 192186"/>
              <a:gd name="connsiteY0" fmla="*/ 198707 h 198707"/>
              <a:gd name="connsiteX1" fmla="*/ 0 w 192186"/>
              <a:gd name="connsiteY1" fmla="*/ 198707 h 198707"/>
              <a:gd name="connsiteX2" fmla="*/ 192186 w 192186"/>
              <a:gd name="connsiteY2" fmla="*/ 0 h 198707"/>
              <a:gd name="connsiteX3" fmla="*/ 192186 w 192186"/>
              <a:gd name="connsiteY3" fmla="*/ 190494 h 198707"/>
              <a:gd name="connsiteX4" fmla="*/ 184242 w 192186"/>
              <a:gd name="connsiteY4" fmla="*/ 198707 h 1987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2186" h="198707">
                <a:moveTo>
                  <a:pt x="184242" y="198707"/>
                </a:moveTo>
                <a:lnTo>
                  <a:pt x="0" y="198707"/>
                </a:lnTo>
                <a:lnTo>
                  <a:pt x="192186" y="0"/>
                </a:lnTo>
                <a:lnTo>
                  <a:pt x="192186" y="190494"/>
                </a:lnTo>
                <a:lnTo>
                  <a:pt x="184242" y="198707"/>
                </a:lnTo>
                <a:close/>
              </a:path>
            </a:pathLst>
          </a:custGeom>
          <a:solidFill>
            <a:schemeClr val="bg1">
              <a:alpha val="40000"/>
            </a:schemeClr>
          </a:solidFill>
          <a:ln w="9525" cap="flat">
            <a:noFill/>
            <a:prstDash val="solid"/>
            <a:miter/>
          </a:ln>
        </p:spPr>
        <p:txBody>
          <a:bodyPr wrap="square" rtlCol="0" anchor="ctr">
            <a:noAutofit/>
          </a:bodyPr>
          <a:lstStyle/>
          <a:p>
            <a:endParaRPr lang="en-US"/>
          </a:p>
        </p:txBody>
      </p:sp>
      <p:grpSp>
        <p:nvGrpSpPr>
          <p:cNvPr id="18" name="Group 17">
            <a:extLst>
              <a:ext uri="{FF2B5EF4-FFF2-40B4-BE49-F238E27FC236}">
                <a16:creationId xmlns:a16="http://schemas.microsoft.com/office/drawing/2014/main" id="{0F9AA358-93D1-4A98-8192-5C6848FF5637}"/>
              </a:ext>
            </a:extLst>
          </p:cNvPr>
          <p:cNvGrpSpPr/>
          <p:nvPr userDrawn="1"/>
        </p:nvGrpSpPr>
        <p:grpSpPr>
          <a:xfrm flipH="1" flipV="1">
            <a:off x="4188115" y="2267344"/>
            <a:ext cx="152274" cy="3960685"/>
            <a:chOff x="5814441" y="100216"/>
            <a:chExt cx="152274" cy="3960685"/>
          </a:xfrm>
        </p:grpSpPr>
        <p:sp>
          <p:nvSpPr>
            <p:cNvPr id="20" name="Freeform: Shape 19">
              <a:extLst>
                <a:ext uri="{FF2B5EF4-FFF2-40B4-BE49-F238E27FC236}">
                  <a16:creationId xmlns:a16="http://schemas.microsoft.com/office/drawing/2014/main" id="{8500F9B5-D11A-42C7-A085-B7347EFF12EA}"/>
                </a:ext>
              </a:extLst>
            </p:cNvPr>
            <p:cNvSpPr/>
            <p:nvPr userDrawn="1"/>
          </p:nvSpPr>
          <p:spPr>
            <a:xfrm rot="5400000" flipH="1">
              <a:off x="4300442" y="1617453"/>
              <a:ext cx="3168650" cy="140652"/>
            </a:xfrm>
            <a:custGeom>
              <a:avLst/>
              <a:gdLst>
                <a:gd name="connsiteX0" fmla="*/ 0 w 3168650"/>
                <a:gd name="connsiteY0" fmla="*/ 140653 h 140652"/>
                <a:gd name="connsiteX1" fmla="*/ 143446 w 3168650"/>
                <a:gd name="connsiteY1" fmla="*/ 0 h 140652"/>
                <a:gd name="connsiteX2" fmla="*/ 3168650 w 3168650"/>
                <a:gd name="connsiteY2" fmla="*/ 0 h 140652"/>
              </a:gdLst>
              <a:ahLst/>
              <a:cxnLst>
                <a:cxn ang="0">
                  <a:pos x="connsiteX0" y="connsiteY0"/>
                </a:cxn>
                <a:cxn ang="0">
                  <a:pos x="connsiteX1" y="connsiteY1"/>
                </a:cxn>
                <a:cxn ang="0">
                  <a:pos x="connsiteX2" y="connsiteY2"/>
                </a:cxn>
              </a:cxnLst>
              <a:rect l="l" t="t" r="r" b="b"/>
              <a:pathLst>
                <a:path w="3168650" h="140652">
                  <a:moveTo>
                    <a:pt x="0" y="140653"/>
                  </a:moveTo>
                  <a:lnTo>
                    <a:pt x="143446" y="0"/>
                  </a:lnTo>
                  <a:lnTo>
                    <a:pt x="3168650" y="0"/>
                  </a:lnTo>
                </a:path>
              </a:pathLst>
            </a:custGeom>
            <a:noFill/>
            <a:ln w="3175" cap="flat">
              <a:solidFill>
                <a:schemeClr val="tx2"/>
              </a:solid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22" name="Freeform: Shape 21">
              <a:extLst>
                <a:ext uri="{FF2B5EF4-FFF2-40B4-BE49-F238E27FC236}">
                  <a16:creationId xmlns:a16="http://schemas.microsoft.com/office/drawing/2014/main" id="{0DEC9204-FD4F-4CE8-91AF-DE8DF44443BF}"/>
                </a:ext>
              </a:extLst>
            </p:cNvPr>
            <p:cNvSpPr/>
            <p:nvPr userDrawn="1"/>
          </p:nvSpPr>
          <p:spPr>
            <a:xfrm rot="5400000" flipH="1">
              <a:off x="5894038" y="42209"/>
              <a:ext cx="6350" cy="122364"/>
            </a:xfrm>
            <a:custGeom>
              <a:avLst/>
              <a:gdLst>
                <a:gd name="connsiteX0" fmla="*/ 0 w 6350"/>
                <a:gd name="connsiteY0" fmla="*/ 122364 h 122364"/>
                <a:gd name="connsiteX1" fmla="*/ 0 w 6350"/>
                <a:gd name="connsiteY1" fmla="*/ 0 h 122364"/>
              </a:gdLst>
              <a:ahLst/>
              <a:cxnLst>
                <a:cxn ang="0">
                  <a:pos x="connsiteX0" y="connsiteY0"/>
                </a:cxn>
                <a:cxn ang="0">
                  <a:pos x="connsiteX1" y="connsiteY1"/>
                </a:cxn>
              </a:cxnLst>
              <a:rect l="l" t="t" r="r" b="b"/>
              <a:pathLst>
                <a:path w="6350" h="122364">
                  <a:moveTo>
                    <a:pt x="0" y="122364"/>
                  </a:moveTo>
                  <a:lnTo>
                    <a:pt x="0" y="0"/>
                  </a:lnTo>
                </a:path>
              </a:pathLst>
            </a:custGeom>
            <a:ln w="19050" cap="flat">
              <a:solidFill>
                <a:srgbClr val="6FBE4A"/>
              </a:solid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23" name="Freeform: Shape 22">
              <a:extLst>
                <a:ext uri="{FF2B5EF4-FFF2-40B4-BE49-F238E27FC236}">
                  <a16:creationId xmlns:a16="http://schemas.microsoft.com/office/drawing/2014/main" id="{C62B22EF-7194-4330-9499-C535CE0BFFB9}"/>
                </a:ext>
              </a:extLst>
            </p:cNvPr>
            <p:cNvSpPr/>
            <p:nvPr userDrawn="1"/>
          </p:nvSpPr>
          <p:spPr>
            <a:xfrm rot="5400000" flipH="1">
              <a:off x="5839080" y="187847"/>
              <a:ext cx="43688" cy="43687"/>
            </a:xfrm>
            <a:custGeom>
              <a:avLst/>
              <a:gdLst>
                <a:gd name="connsiteX0" fmla="*/ 0 w 43688"/>
                <a:gd name="connsiteY0" fmla="*/ 0 h 43687"/>
                <a:gd name="connsiteX1" fmla="*/ 43688 w 43688"/>
                <a:gd name="connsiteY1" fmla="*/ 0 h 43687"/>
                <a:gd name="connsiteX2" fmla="*/ 43688 w 43688"/>
                <a:gd name="connsiteY2" fmla="*/ 43688 h 43687"/>
                <a:gd name="connsiteX3" fmla="*/ 0 w 43688"/>
                <a:gd name="connsiteY3" fmla="*/ 43688 h 43687"/>
              </a:gdLst>
              <a:ahLst/>
              <a:cxnLst>
                <a:cxn ang="0">
                  <a:pos x="connsiteX0" y="connsiteY0"/>
                </a:cxn>
                <a:cxn ang="0">
                  <a:pos x="connsiteX1" y="connsiteY1"/>
                </a:cxn>
                <a:cxn ang="0">
                  <a:pos x="connsiteX2" y="connsiteY2"/>
                </a:cxn>
                <a:cxn ang="0">
                  <a:pos x="connsiteX3" y="connsiteY3"/>
                </a:cxn>
              </a:cxnLst>
              <a:rect l="l" t="t" r="r" b="b"/>
              <a:pathLst>
                <a:path w="43688" h="43687">
                  <a:moveTo>
                    <a:pt x="0" y="0"/>
                  </a:moveTo>
                  <a:lnTo>
                    <a:pt x="43688" y="0"/>
                  </a:lnTo>
                  <a:lnTo>
                    <a:pt x="43688" y="43688"/>
                  </a:lnTo>
                  <a:lnTo>
                    <a:pt x="0" y="43688"/>
                  </a:lnTo>
                  <a:close/>
                </a:path>
              </a:pathLst>
            </a:custGeom>
            <a:noFill/>
            <a:ln w="3175" cap="flat">
              <a:solidFill>
                <a:srgbClr val="B3B3B3"/>
              </a:solid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24" name="Freeform: Shape 23">
              <a:extLst>
                <a:ext uri="{FF2B5EF4-FFF2-40B4-BE49-F238E27FC236}">
                  <a16:creationId xmlns:a16="http://schemas.microsoft.com/office/drawing/2014/main" id="{351B48D0-28E6-4566-AC8C-8BCA46B8EB71}"/>
                </a:ext>
              </a:extLst>
            </p:cNvPr>
            <p:cNvSpPr/>
            <p:nvPr userDrawn="1"/>
          </p:nvSpPr>
          <p:spPr>
            <a:xfrm rot="5400000" flipH="1">
              <a:off x="5824887" y="232582"/>
              <a:ext cx="254063" cy="6350"/>
            </a:xfrm>
            <a:custGeom>
              <a:avLst/>
              <a:gdLst>
                <a:gd name="connsiteX0" fmla="*/ 0 w 254063"/>
                <a:gd name="connsiteY0" fmla="*/ 0 h 6350"/>
                <a:gd name="connsiteX1" fmla="*/ 254064 w 254063"/>
                <a:gd name="connsiteY1" fmla="*/ 0 h 6350"/>
              </a:gdLst>
              <a:ahLst/>
              <a:cxnLst>
                <a:cxn ang="0">
                  <a:pos x="connsiteX0" y="connsiteY0"/>
                </a:cxn>
                <a:cxn ang="0">
                  <a:pos x="connsiteX1" y="connsiteY1"/>
                </a:cxn>
              </a:cxnLst>
              <a:rect l="l" t="t" r="r" b="b"/>
              <a:pathLst>
                <a:path w="254063" h="6350">
                  <a:moveTo>
                    <a:pt x="0" y="0"/>
                  </a:moveTo>
                  <a:lnTo>
                    <a:pt x="254064" y="0"/>
                  </a:lnTo>
                </a:path>
              </a:pathLst>
            </a:custGeom>
            <a:ln w="19050" cap="flat">
              <a:solidFill>
                <a:srgbClr val="6FBE4A"/>
              </a:solid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grpSp>
          <p:nvGrpSpPr>
            <p:cNvPr id="25" name="Graphic 42">
              <a:extLst>
                <a:ext uri="{FF2B5EF4-FFF2-40B4-BE49-F238E27FC236}">
                  <a16:creationId xmlns:a16="http://schemas.microsoft.com/office/drawing/2014/main" id="{C6B1C5CA-41F1-4426-98F4-3E4AF7A60900}"/>
                </a:ext>
              </a:extLst>
            </p:cNvPr>
            <p:cNvGrpSpPr/>
            <p:nvPr userDrawn="1"/>
          </p:nvGrpSpPr>
          <p:grpSpPr>
            <a:xfrm rot="5400000" flipH="1">
              <a:off x="5485925" y="3580111"/>
              <a:ext cx="895032" cy="66548"/>
              <a:chOff x="7926578" y="441451"/>
              <a:chExt cx="895032" cy="66548"/>
            </a:xfrm>
            <a:solidFill>
              <a:srgbClr val="75BF43">
                <a:alpha val="57000"/>
              </a:srgbClr>
            </a:solidFill>
          </p:grpSpPr>
          <p:sp>
            <p:nvSpPr>
              <p:cNvPr id="34" name="Freeform: Shape 33">
                <a:extLst>
                  <a:ext uri="{FF2B5EF4-FFF2-40B4-BE49-F238E27FC236}">
                    <a16:creationId xmlns:a16="http://schemas.microsoft.com/office/drawing/2014/main" id="{3315CD34-8FD2-4C9B-AC92-65F0686FC794}"/>
                  </a:ext>
                </a:extLst>
              </p:cNvPr>
              <p:cNvSpPr/>
              <p:nvPr/>
            </p:nvSpPr>
            <p:spPr>
              <a:xfrm>
                <a:off x="8479726"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35" name="Freeform: Shape 34">
                <a:extLst>
                  <a:ext uri="{FF2B5EF4-FFF2-40B4-BE49-F238E27FC236}">
                    <a16:creationId xmlns:a16="http://schemas.microsoft.com/office/drawing/2014/main" id="{DBB9E60F-7FEA-4986-9593-FE7C2A7A0BEE}"/>
                  </a:ext>
                </a:extLst>
              </p:cNvPr>
              <p:cNvSpPr/>
              <p:nvPr/>
            </p:nvSpPr>
            <p:spPr>
              <a:xfrm>
                <a:off x="8437181"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5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5"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36" name="Freeform: Shape 35">
                <a:extLst>
                  <a:ext uri="{FF2B5EF4-FFF2-40B4-BE49-F238E27FC236}">
                    <a16:creationId xmlns:a16="http://schemas.microsoft.com/office/drawing/2014/main" id="{4CF87503-2F47-4241-B16F-609CDF979EF7}"/>
                  </a:ext>
                </a:extLst>
              </p:cNvPr>
              <p:cNvSpPr/>
              <p:nvPr/>
            </p:nvSpPr>
            <p:spPr>
              <a:xfrm>
                <a:off x="8394636" y="441451"/>
                <a:ext cx="89281" cy="66548"/>
              </a:xfrm>
              <a:custGeom>
                <a:avLst/>
                <a:gdLst>
                  <a:gd name="connsiteX0" fmla="*/ 68707 w 89281"/>
                  <a:gd name="connsiteY0" fmla="*/ 0 h 66548"/>
                  <a:gd name="connsiteX1" fmla="*/ 0 w 89281"/>
                  <a:gd name="connsiteY1" fmla="*/ 66548 h 66548"/>
                  <a:gd name="connsiteX2" fmla="*/ 20574 w 89281"/>
                  <a:gd name="connsiteY2" fmla="*/ 66548 h 66548"/>
                  <a:gd name="connsiteX3" fmla="*/ 89281 w 89281"/>
                  <a:gd name="connsiteY3" fmla="*/ 0 h 66548"/>
                </a:gdLst>
                <a:ahLst/>
                <a:cxnLst>
                  <a:cxn ang="0">
                    <a:pos x="connsiteX0" y="connsiteY0"/>
                  </a:cxn>
                  <a:cxn ang="0">
                    <a:pos x="connsiteX1" y="connsiteY1"/>
                  </a:cxn>
                  <a:cxn ang="0">
                    <a:pos x="connsiteX2" y="connsiteY2"/>
                  </a:cxn>
                  <a:cxn ang="0">
                    <a:pos x="connsiteX3" y="connsiteY3"/>
                  </a:cxn>
                </a:cxnLst>
                <a:rect l="l" t="t" r="r" b="b"/>
                <a:pathLst>
                  <a:path w="89281" h="66548">
                    <a:moveTo>
                      <a:pt x="68707" y="0"/>
                    </a:moveTo>
                    <a:lnTo>
                      <a:pt x="0" y="66548"/>
                    </a:lnTo>
                    <a:lnTo>
                      <a:pt x="20574" y="66548"/>
                    </a:lnTo>
                    <a:lnTo>
                      <a:pt x="89281"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37" name="Freeform: Shape 36">
                <a:extLst>
                  <a:ext uri="{FF2B5EF4-FFF2-40B4-BE49-F238E27FC236}">
                    <a16:creationId xmlns:a16="http://schemas.microsoft.com/office/drawing/2014/main" id="{D31AE9E1-0D40-477D-B828-7B485AA8FEBE}"/>
                  </a:ext>
                </a:extLst>
              </p:cNvPr>
              <p:cNvSpPr/>
              <p:nvPr/>
            </p:nvSpPr>
            <p:spPr>
              <a:xfrm>
                <a:off x="8352091" y="441451"/>
                <a:ext cx="89280" cy="66548"/>
              </a:xfrm>
              <a:custGeom>
                <a:avLst/>
                <a:gdLst>
                  <a:gd name="connsiteX0" fmla="*/ 68707 w 89280"/>
                  <a:gd name="connsiteY0" fmla="*/ 0 h 66548"/>
                  <a:gd name="connsiteX1" fmla="*/ 0 w 89280"/>
                  <a:gd name="connsiteY1" fmla="*/ 66548 h 66548"/>
                  <a:gd name="connsiteX2" fmla="*/ 20574 w 89280"/>
                  <a:gd name="connsiteY2" fmla="*/ 66548 h 66548"/>
                  <a:gd name="connsiteX3" fmla="*/ 89281 w 89280"/>
                  <a:gd name="connsiteY3" fmla="*/ 0 h 66548"/>
                </a:gdLst>
                <a:ahLst/>
                <a:cxnLst>
                  <a:cxn ang="0">
                    <a:pos x="connsiteX0" y="connsiteY0"/>
                  </a:cxn>
                  <a:cxn ang="0">
                    <a:pos x="connsiteX1" y="connsiteY1"/>
                  </a:cxn>
                  <a:cxn ang="0">
                    <a:pos x="connsiteX2" y="connsiteY2"/>
                  </a:cxn>
                  <a:cxn ang="0">
                    <a:pos x="connsiteX3" y="connsiteY3"/>
                  </a:cxn>
                </a:cxnLst>
                <a:rect l="l" t="t" r="r" b="b"/>
                <a:pathLst>
                  <a:path w="89280" h="66548">
                    <a:moveTo>
                      <a:pt x="68707" y="0"/>
                    </a:moveTo>
                    <a:lnTo>
                      <a:pt x="0" y="66548"/>
                    </a:lnTo>
                    <a:lnTo>
                      <a:pt x="20574" y="66548"/>
                    </a:lnTo>
                    <a:lnTo>
                      <a:pt x="89281"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38" name="Freeform: Shape 37">
                <a:extLst>
                  <a:ext uri="{FF2B5EF4-FFF2-40B4-BE49-F238E27FC236}">
                    <a16:creationId xmlns:a16="http://schemas.microsoft.com/office/drawing/2014/main" id="{2525459E-750F-4BD8-80DD-701FC6FAF98D}"/>
                  </a:ext>
                </a:extLst>
              </p:cNvPr>
              <p:cNvSpPr/>
              <p:nvPr/>
            </p:nvSpPr>
            <p:spPr>
              <a:xfrm>
                <a:off x="8139303"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39" name="Freeform: Shape 38">
                <a:extLst>
                  <a:ext uri="{FF2B5EF4-FFF2-40B4-BE49-F238E27FC236}">
                    <a16:creationId xmlns:a16="http://schemas.microsoft.com/office/drawing/2014/main" id="{895DC87E-6E80-4FCF-AA30-E2B8D5E5BDC7}"/>
                  </a:ext>
                </a:extLst>
              </p:cNvPr>
              <p:cNvSpPr/>
              <p:nvPr/>
            </p:nvSpPr>
            <p:spPr>
              <a:xfrm>
                <a:off x="8181847"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5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5"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40" name="Freeform: Shape 39">
                <a:extLst>
                  <a:ext uri="{FF2B5EF4-FFF2-40B4-BE49-F238E27FC236}">
                    <a16:creationId xmlns:a16="http://schemas.microsoft.com/office/drawing/2014/main" id="{39B0C054-0F13-42F8-B62B-6829F5EB2EE0}"/>
                  </a:ext>
                </a:extLst>
              </p:cNvPr>
              <p:cNvSpPr/>
              <p:nvPr/>
            </p:nvSpPr>
            <p:spPr>
              <a:xfrm>
                <a:off x="8267001" y="441451"/>
                <a:ext cx="89280" cy="66548"/>
              </a:xfrm>
              <a:custGeom>
                <a:avLst/>
                <a:gdLst>
                  <a:gd name="connsiteX0" fmla="*/ 68643 w 89280"/>
                  <a:gd name="connsiteY0" fmla="*/ 0 h 66548"/>
                  <a:gd name="connsiteX1" fmla="*/ 0 w 89280"/>
                  <a:gd name="connsiteY1" fmla="*/ 66548 h 66548"/>
                  <a:gd name="connsiteX2" fmla="*/ 20574 w 89280"/>
                  <a:gd name="connsiteY2" fmla="*/ 66548 h 66548"/>
                  <a:gd name="connsiteX3" fmla="*/ 89281 w 89280"/>
                  <a:gd name="connsiteY3" fmla="*/ 0 h 66548"/>
                </a:gdLst>
                <a:ahLst/>
                <a:cxnLst>
                  <a:cxn ang="0">
                    <a:pos x="connsiteX0" y="connsiteY0"/>
                  </a:cxn>
                  <a:cxn ang="0">
                    <a:pos x="connsiteX1" y="connsiteY1"/>
                  </a:cxn>
                  <a:cxn ang="0">
                    <a:pos x="connsiteX2" y="connsiteY2"/>
                  </a:cxn>
                  <a:cxn ang="0">
                    <a:pos x="connsiteX3" y="connsiteY3"/>
                  </a:cxn>
                </a:cxnLst>
                <a:rect l="l" t="t" r="r" b="b"/>
                <a:pathLst>
                  <a:path w="89280" h="66548">
                    <a:moveTo>
                      <a:pt x="68643" y="0"/>
                    </a:moveTo>
                    <a:lnTo>
                      <a:pt x="0" y="66548"/>
                    </a:lnTo>
                    <a:lnTo>
                      <a:pt x="20574" y="66548"/>
                    </a:lnTo>
                    <a:lnTo>
                      <a:pt x="89281"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41" name="Freeform: Shape 40">
                <a:extLst>
                  <a:ext uri="{FF2B5EF4-FFF2-40B4-BE49-F238E27FC236}">
                    <a16:creationId xmlns:a16="http://schemas.microsoft.com/office/drawing/2014/main" id="{E6FDE56B-60ED-4977-ADE4-AE90854852A3}"/>
                  </a:ext>
                </a:extLst>
              </p:cNvPr>
              <p:cNvSpPr/>
              <p:nvPr/>
            </p:nvSpPr>
            <p:spPr>
              <a:xfrm>
                <a:off x="8224393"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42" name="Freeform: Shape 41">
                <a:extLst>
                  <a:ext uri="{FF2B5EF4-FFF2-40B4-BE49-F238E27FC236}">
                    <a16:creationId xmlns:a16="http://schemas.microsoft.com/office/drawing/2014/main" id="{77ACBB9B-018A-456B-BEA2-D1E41A2F0C44}"/>
                  </a:ext>
                </a:extLst>
              </p:cNvPr>
              <p:cNvSpPr/>
              <p:nvPr/>
            </p:nvSpPr>
            <p:spPr>
              <a:xfrm>
                <a:off x="8309546" y="441451"/>
                <a:ext cx="89281" cy="66548"/>
              </a:xfrm>
              <a:custGeom>
                <a:avLst/>
                <a:gdLst>
                  <a:gd name="connsiteX0" fmla="*/ 68644 w 89281"/>
                  <a:gd name="connsiteY0" fmla="*/ 0 h 66548"/>
                  <a:gd name="connsiteX1" fmla="*/ 0 w 89281"/>
                  <a:gd name="connsiteY1" fmla="*/ 66548 h 66548"/>
                  <a:gd name="connsiteX2" fmla="*/ 20574 w 89281"/>
                  <a:gd name="connsiteY2" fmla="*/ 66548 h 66548"/>
                  <a:gd name="connsiteX3" fmla="*/ 89281 w 89281"/>
                  <a:gd name="connsiteY3" fmla="*/ 0 h 66548"/>
                </a:gdLst>
                <a:ahLst/>
                <a:cxnLst>
                  <a:cxn ang="0">
                    <a:pos x="connsiteX0" y="connsiteY0"/>
                  </a:cxn>
                  <a:cxn ang="0">
                    <a:pos x="connsiteX1" y="connsiteY1"/>
                  </a:cxn>
                  <a:cxn ang="0">
                    <a:pos x="connsiteX2" y="connsiteY2"/>
                  </a:cxn>
                  <a:cxn ang="0">
                    <a:pos x="connsiteX3" y="connsiteY3"/>
                  </a:cxn>
                </a:cxnLst>
                <a:rect l="l" t="t" r="r" b="b"/>
                <a:pathLst>
                  <a:path w="89281" h="66548">
                    <a:moveTo>
                      <a:pt x="68644" y="0"/>
                    </a:moveTo>
                    <a:lnTo>
                      <a:pt x="0" y="66548"/>
                    </a:lnTo>
                    <a:lnTo>
                      <a:pt x="20574" y="66548"/>
                    </a:lnTo>
                    <a:lnTo>
                      <a:pt x="89281"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43" name="Freeform: Shape 42">
                <a:extLst>
                  <a:ext uri="{FF2B5EF4-FFF2-40B4-BE49-F238E27FC236}">
                    <a16:creationId xmlns:a16="http://schemas.microsoft.com/office/drawing/2014/main" id="{E3826E36-AE13-46DA-ABCB-5DC29475648A}"/>
                  </a:ext>
                </a:extLst>
              </p:cNvPr>
              <p:cNvSpPr/>
              <p:nvPr/>
            </p:nvSpPr>
            <p:spPr>
              <a:xfrm>
                <a:off x="8522271"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5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5"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44" name="Freeform: Shape 43">
                <a:extLst>
                  <a:ext uri="{FF2B5EF4-FFF2-40B4-BE49-F238E27FC236}">
                    <a16:creationId xmlns:a16="http://schemas.microsoft.com/office/drawing/2014/main" id="{FEFF066B-7A01-426B-A324-435302C07BE3}"/>
                  </a:ext>
                </a:extLst>
              </p:cNvPr>
              <p:cNvSpPr/>
              <p:nvPr/>
            </p:nvSpPr>
            <p:spPr>
              <a:xfrm>
                <a:off x="8693975"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45" name="Freeform: Shape 44">
                <a:extLst>
                  <a:ext uri="{FF2B5EF4-FFF2-40B4-BE49-F238E27FC236}">
                    <a16:creationId xmlns:a16="http://schemas.microsoft.com/office/drawing/2014/main" id="{80782F6E-0DE5-4FC5-BD2E-E587B5DBB2E0}"/>
                  </a:ext>
                </a:extLst>
              </p:cNvPr>
              <p:cNvSpPr/>
              <p:nvPr/>
            </p:nvSpPr>
            <p:spPr>
              <a:xfrm>
                <a:off x="8821610" y="508000"/>
                <a:ext cx="6350" cy="6350"/>
              </a:xfrm>
              <a:custGeom>
                <a:avLst/>
                <a:gdLst>
                  <a:gd name="connsiteX0" fmla="*/ 0 w 6350"/>
                  <a:gd name="connsiteY0" fmla="*/ 0 h 6350"/>
                  <a:gd name="connsiteX1" fmla="*/ 0 w 6350"/>
                  <a:gd name="connsiteY1" fmla="*/ 0 h 6350"/>
                  <a:gd name="connsiteX2" fmla="*/ 0 w 6350"/>
                  <a:gd name="connsiteY2" fmla="*/ 0 h 6350"/>
                </a:gdLst>
                <a:ahLst/>
                <a:cxnLst>
                  <a:cxn ang="0">
                    <a:pos x="connsiteX0" y="connsiteY0"/>
                  </a:cxn>
                  <a:cxn ang="0">
                    <a:pos x="connsiteX1" y="connsiteY1"/>
                  </a:cxn>
                  <a:cxn ang="0">
                    <a:pos x="connsiteX2" y="connsiteY2"/>
                  </a:cxn>
                </a:cxnLst>
                <a:rect l="l" t="t" r="r" b="b"/>
                <a:pathLst>
                  <a:path w="6350" h="6350">
                    <a:moveTo>
                      <a:pt x="0" y="0"/>
                    </a:moveTo>
                    <a:lnTo>
                      <a:pt x="0" y="0"/>
                    </a:lnTo>
                    <a:lnTo>
                      <a:pt x="0"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46" name="Freeform: Shape 45">
                <a:extLst>
                  <a:ext uri="{FF2B5EF4-FFF2-40B4-BE49-F238E27FC236}">
                    <a16:creationId xmlns:a16="http://schemas.microsoft.com/office/drawing/2014/main" id="{EC70567F-3B3C-42DF-9F9B-415E4945ACF5}"/>
                  </a:ext>
                </a:extLst>
              </p:cNvPr>
              <p:cNvSpPr/>
              <p:nvPr/>
            </p:nvSpPr>
            <p:spPr>
              <a:xfrm>
                <a:off x="8564816" y="441451"/>
                <a:ext cx="90868" cy="66548"/>
              </a:xfrm>
              <a:custGeom>
                <a:avLst/>
                <a:gdLst>
                  <a:gd name="connsiteX0" fmla="*/ 68707 w 90868"/>
                  <a:gd name="connsiteY0" fmla="*/ 0 h 66548"/>
                  <a:gd name="connsiteX1" fmla="*/ 0 w 90868"/>
                  <a:gd name="connsiteY1" fmla="*/ 66548 h 66548"/>
                  <a:gd name="connsiteX2" fmla="*/ 22161 w 90868"/>
                  <a:gd name="connsiteY2" fmla="*/ 66548 h 66548"/>
                  <a:gd name="connsiteX3" fmla="*/ 90868 w 90868"/>
                  <a:gd name="connsiteY3" fmla="*/ 0 h 66548"/>
                </a:gdLst>
                <a:ahLst/>
                <a:cxnLst>
                  <a:cxn ang="0">
                    <a:pos x="connsiteX0" y="connsiteY0"/>
                  </a:cxn>
                  <a:cxn ang="0">
                    <a:pos x="connsiteX1" y="connsiteY1"/>
                  </a:cxn>
                  <a:cxn ang="0">
                    <a:pos x="connsiteX2" y="connsiteY2"/>
                  </a:cxn>
                  <a:cxn ang="0">
                    <a:pos x="connsiteX3" y="connsiteY3"/>
                  </a:cxn>
                </a:cxnLst>
                <a:rect l="l" t="t" r="r" b="b"/>
                <a:pathLst>
                  <a:path w="90868" h="66548">
                    <a:moveTo>
                      <a:pt x="68707" y="0"/>
                    </a:moveTo>
                    <a:lnTo>
                      <a:pt x="0" y="66548"/>
                    </a:lnTo>
                    <a:lnTo>
                      <a:pt x="22161" y="66548"/>
                    </a:lnTo>
                    <a:lnTo>
                      <a:pt x="90868"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47" name="Freeform: Shape 46">
                <a:extLst>
                  <a:ext uri="{FF2B5EF4-FFF2-40B4-BE49-F238E27FC236}">
                    <a16:creationId xmlns:a16="http://schemas.microsoft.com/office/drawing/2014/main" id="{AD2A115A-5233-4F62-9130-0679A53ABA91}"/>
                  </a:ext>
                </a:extLst>
              </p:cNvPr>
              <p:cNvSpPr/>
              <p:nvPr/>
            </p:nvSpPr>
            <p:spPr>
              <a:xfrm>
                <a:off x="8651430"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48" name="Freeform: Shape 47">
                <a:extLst>
                  <a:ext uri="{FF2B5EF4-FFF2-40B4-BE49-F238E27FC236}">
                    <a16:creationId xmlns:a16="http://schemas.microsoft.com/office/drawing/2014/main" id="{A2B36BAB-71C7-4750-B5B9-39A588F94C17}"/>
                  </a:ext>
                </a:extLst>
              </p:cNvPr>
              <p:cNvSpPr/>
              <p:nvPr/>
            </p:nvSpPr>
            <p:spPr>
              <a:xfrm>
                <a:off x="8608885"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5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5"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49" name="Freeform: Shape 48">
                <a:extLst>
                  <a:ext uri="{FF2B5EF4-FFF2-40B4-BE49-F238E27FC236}">
                    <a16:creationId xmlns:a16="http://schemas.microsoft.com/office/drawing/2014/main" id="{A61E9087-FAFB-4444-93B1-99E04D96852A}"/>
                  </a:ext>
                </a:extLst>
              </p:cNvPr>
              <p:cNvSpPr/>
              <p:nvPr/>
            </p:nvSpPr>
            <p:spPr>
              <a:xfrm>
                <a:off x="8096757"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5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5"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50" name="Freeform: Shape 49">
                <a:extLst>
                  <a:ext uri="{FF2B5EF4-FFF2-40B4-BE49-F238E27FC236}">
                    <a16:creationId xmlns:a16="http://schemas.microsoft.com/office/drawing/2014/main" id="{4AD44082-91D8-4352-A90C-215687FA9652}"/>
                  </a:ext>
                </a:extLst>
              </p:cNvPr>
              <p:cNvSpPr/>
              <p:nvPr/>
            </p:nvSpPr>
            <p:spPr>
              <a:xfrm>
                <a:off x="8011668"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51" name="Freeform: Shape 50">
                <a:extLst>
                  <a:ext uri="{FF2B5EF4-FFF2-40B4-BE49-F238E27FC236}">
                    <a16:creationId xmlns:a16="http://schemas.microsoft.com/office/drawing/2014/main" id="{FB01ADED-A270-4CBD-900F-79F3858BD477}"/>
                  </a:ext>
                </a:extLst>
              </p:cNvPr>
              <p:cNvSpPr/>
              <p:nvPr/>
            </p:nvSpPr>
            <p:spPr>
              <a:xfrm>
                <a:off x="8054213"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52" name="Freeform: Shape 51">
                <a:extLst>
                  <a:ext uri="{FF2B5EF4-FFF2-40B4-BE49-F238E27FC236}">
                    <a16:creationId xmlns:a16="http://schemas.microsoft.com/office/drawing/2014/main" id="{A6C86AFB-B5D4-48B9-8578-B6AFFB9D45F5}"/>
                  </a:ext>
                </a:extLst>
              </p:cNvPr>
              <p:cNvSpPr/>
              <p:nvPr/>
            </p:nvSpPr>
            <p:spPr>
              <a:xfrm>
                <a:off x="7969122"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5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5"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53" name="Freeform: Shape 52">
                <a:extLst>
                  <a:ext uri="{FF2B5EF4-FFF2-40B4-BE49-F238E27FC236}">
                    <a16:creationId xmlns:a16="http://schemas.microsoft.com/office/drawing/2014/main" id="{B01788A0-8803-419B-9D37-17A354FFA10D}"/>
                  </a:ext>
                </a:extLst>
              </p:cNvPr>
              <p:cNvSpPr/>
              <p:nvPr/>
            </p:nvSpPr>
            <p:spPr>
              <a:xfrm>
                <a:off x="7926578" y="441451"/>
                <a:ext cx="89344" cy="66548"/>
              </a:xfrm>
              <a:custGeom>
                <a:avLst/>
                <a:gdLst>
                  <a:gd name="connsiteX0" fmla="*/ 68707 w 89344"/>
                  <a:gd name="connsiteY0" fmla="*/ 0 h 66548"/>
                  <a:gd name="connsiteX1" fmla="*/ 0 w 89344"/>
                  <a:gd name="connsiteY1" fmla="*/ 66548 h 66548"/>
                  <a:gd name="connsiteX2" fmla="*/ 20638 w 89344"/>
                  <a:gd name="connsiteY2" fmla="*/ 66548 h 66548"/>
                  <a:gd name="connsiteX3" fmla="*/ 89344 w 89344"/>
                  <a:gd name="connsiteY3" fmla="*/ 0 h 66548"/>
                </a:gdLst>
                <a:ahLst/>
                <a:cxnLst>
                  <a:cxn ang="0">
                    <a:pos x="connsiteX0" y="connsiteY0"/>
                  </a:cxn>
                  <a:cxn ang="0">
                    <a:pos x="connsiteX1" y="connsiteY1"/>
                  </a:cxn>
                  <a:cxn ang="0">
                    <a:pos x="connsiteX2" y="connsiteY2"/>
                  </a:cxn>
                  <a:cxn ang="0">
                    <a:pos x="connsiteX3" y="connsiteY3"/>
                  </a:cxn>
                </a:cxnLst>
                <a:rect l="l" t="t" r="r" b="b"/>
                <a:pathLst>
                  <a:path w="89344" h="66548">
                    <a:moveTo>
                      <a:pt x="68707" y="0"/>
                    </a:moveTo>
                    <a:lnTo>
                      <a:pt x="0" y="66548"/>
                    </a:lnTo>
                    <a:lnTo>
                      <a:pt x="20638" y="66548"/>
                    </a:lnTo>
                    <a:lnTo>
                      <a:pt x="89344" y="0"/>
                    </a:lnTo>
                    <a:close/>
                  </a:path>
                </a:pathLst>
              </a:custGeom>
              <a:grp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grpSp>
        <p:grpSp>
          <p:nvGrpSpPr>
            <p:cNvPr id="26" name="Group 25">
              <a:extLst>
                <a:ext uri="{FF2B5EF4-FFF2-40B4-BE49-F238E27FC236}">
                  <a16:creationId xmlns:a16="http://schemas.microsoft.com/office/drawing/2014/main" id="{1349DB3F-FFFC-48F7-8713-8057BC16BE9D}"/>
                </a:ext>
              </a:extLst>
            </p:cNvPr>
            <p:cNvGrpSpPr/>
            <p:nvPr userDrawn="1"/>
          </p:nvGrpSpPr>
          <p:grpSpPr>
            <a:xfrm rot="10800000">
              <a:off x="5862067" y="2566874"/>
              <a:ext cx="73151" cy="522033"/>
              <a:chOff x="5390750" y="3681616"/>
              <a:chExt cx="73151" cy="522033"/>
            </a:xfrm>
          </p:grpSpPr>
          <p:sp>
            <p:nvSpPr>
              <p:cNvPr id="27" name="Freeform: Shape 26">
                <a:extLst>
                  <a:ext uri="{FF2B5EF4-FFF2-40B4-BE49-F238E27FC236}">
                    <a16:creationId xmlns:a16="http://schemas.microsoft.com/office/drawing/2014/main" id="{4ED48782-641A-408A-8DE2-B0CAC39562A6}"/>
                  </a:ext>
                </a:extLst>
              </p:cNvPr>
              <p:cNvSpPr/>
              <p:nvPr/>
            </p:nvSpPr>
            <p:spPr>
              <a:xfrm rot="16200000" flipH="1">
                <a:off x="5405100" y="3681616"/>
                <a:ext cx="43688" cy="43687"/>
              </a:xfrm>
              <a:custGeom>
                <a:avLst/>
                <a:gdLst>
                  <a:gd name="connsiteX0" fmla="*/ 0 w 43688"/>
                  <a:gd name="connsiteY0" fmla="*/ 0 h 43687"/>
                  <a:gd name="connsiteX1" fmla="*/ 43688 w 43688"/>
                  <a:gd name="connsiteY1" fmla="*/ 0 h 43687"/>
                  <a:gd name="connsiteX2" fmla="*/ 43688 w 43688"/>
                  <a:gd name="connsiteY2" fmla="*/ 43688 h 43687"/>
                  <a:gd name="connsiteX3" fmla="*/ 0 w 43688"/>
                  <a:gd name="connsiteY3" fmla="*/ 43688 h 43687"/>
                </a:gdLst>
                <a:ahLst/>
                <a:cxnLst>
                  <a:cxn ang="0">
                    <a:pos x="connsiteX0" y="connsiteY0"/>
                  </a:cxn>
                  <a:cxn ang="0">
                    <a:pos x="connsiteX1" y="connsiteY1"/>
                  </a:cxn>
                  <a:cxn ang="0">
                    <a:pos x="connsiteX2" y="connsiteY2"/>
                  </a:cxn>
                  <a:cxn ang="0">
                    <a:pos x="connsiteX3" y="connsiteY3"/>
                  </a:cxn>
                </a:cxnLst>
                <a:rect l="l" t="t" r="r" b="b"/>
                <a:pathLst>
                  <a:path w="43688" h="43687">
                    <a:moveTo>
                      <a:pt x="0" y="0"/>
                    </a:moveTo>
                    <a:lnTo>
                      <a:pt x="43688" y="0"/>
                    </a:lnTo>
                    <a:lnTo>
                      <a:pt x="43688" y="43688"/>
                    </a:lnTo>
                    <a:lnTo>
                      <a:pt x="0" y="43688"/>
                    </a:lnTo>
                    <a:close/>
                  </a:path>
                </a:pathLst>
              </a:custGeom>
              <a:noFill/>
              <a:ln w="3175" cap="flat">
                <a:solidFill>
                  <a:schemeClr val="bg1">
                    <a:lumMod val="50000"/>
                  </a:schemeClr>
                </a:solid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28" name="Freeform: Shape 27">
                <a:extLst>
                  <a:ext uri="{FF2B5EF4-FFF2-40B4-BE49-F238E27FC236}">
                    <a16:creationId xmlns:a16="http://schemas.microsoft.com/office/drawing/2014/main" id="{D2296E5C-5725-47EA-95EF-53CE28B8AC9D}"/>
                  </a:ext>
                </a:extLst>
              </p:cNvPr>
              <p:cNvSpPr/>
              <p:nvPr/>
            </p:nvSpPr>
            <p:spPr>
              <a:xfrm rot="16200000" flipH="1">
                <a:off x="5426469" y="4081062"/>
                <a:ext cx="4381" cy="41656"/>
              </a:xfrm>
              <a:custGeom>
                <a:avLst/>
                <a:gdLst>
                  <a:gd name="connsiteX0" fmla="*/ 0 w 4381"/>
                  <a:gd name="connsiteY0" fmla="*/ 0 h 41656"/>
                  <a:gd name="connsiteX1" fmla="*/ 4381 w 4381"/>
                  <a:gd name="connsiteY1" fmla="*/ 0 h 41656"/>
                  <a:gd name="connsiteX2" fmla="*/ 4381 w 4381"/>
                  <a:gd name="connsiteY2" fmla="*/ 41656 h 41656"/>
                  <a:gd name="connsiteX3" fmla="*/ 0 w 4381"/>
                  <a:gd name="connsiteY3" fmla="*/ 41656 h 41656"/>
                </a:gdLst>
                <a:ahLst/>
                <a:cxnLst>
                  <a:cxn ang="0">
                    <a:pos x="connsiteX0" y="connsiteY0"/>
                  </a:cxn>
                  <a:cxn ang="0">
                    <a:pos x="connsiteX1" y="connsiteY1"/>
                  </a:cxn>
                  <a:cxn ang="0">
                    <a:pos x="connsiteX2" y="connsiteY2"/>
                  </a:cxn>
                  <a:cxn ang="0">
                    <a:pos x="connsiteX3" y="connsiteY3"/>
                  </a:cxn>
                </a:cxnLst>
                <a:rect l="l" t="t" r="r" b="b"/>
                <a:pathLst>
                  <a:path w="4381" h="41656">
                    <a:moveTo>
                      <a:pt x="0" y="0"/>
                    </a:moveTo>
                    <a:lnTo>
                      <a:pt x="4381" y="0"/>
                    </a:lnTo>
                    <a:lnTo>
                      <a:pt x="4381" y="41656"/>
                    </a:lnTo>
                    <a:lnTo>
                      <a:pt x="0" y="41656"/>
                    </a:lnTo>
                    <a:close/>
                  </a:path>
                </a:pathLst>
              </a:custGeom>
              <a:solidFill>
                <a:schemeClr val="bg1">
                  <a:lumMod val="50000"/>
                </a:schemeClr>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29" name="Freeform: Shape 28">
                <a:extLst>
                  <a:ext uri="{FF2B5EF4-FFF2-40B4-BE49-F238E27FC236}">
                    <a16:creationId xmlns:a16="http://schemas.microsoft.com/office/drawing/2014/main" id="{888F26FF-F2CB-4C73-A5BB-6288378DD8DA}"/>
                  </a:ext>
                </a:extLst>
              </p:cNvPr>
              <p:cNvSpPr/>
              <p:nvPr/>
            </p:nvSpPr>
            <p:spPr>
              <a:xfrm rot="16200000" flipH="1">
                <a:off x="5426469" y="4021394"/>
                <a:ext cx="4381" cy="41656"/>
              </a:xfrm>
              <a:custGeom>
                <a:avLst/>
                <a:gdLst>
                  <a:gd name="connsiteX0" fmla="*/ 0 w 4381"/>
                  <a:gd name="connsiteY0" fmla="*/ 0 h 41656"/>
                  <a:gd name="connsiteX1" fmla="*/ 4381 w 4381"/>
                  <a:gd name="connsiteY1" fmla="*/ 0 h 41656"/>
                  <a:gd name="connsiteX2" fmla="*/ 4381 w 4381"/>
                  <a:gd name="connsiteY2" fmla="*/ 41656 h 41656"/>
                  <a:gd name="connsiteX3" fmla="*/ 0 w 4381"/>
                  <a:gd name="connsiteY3" fmla="*/ 41656 h 41656"/>
                </a:gdLst>
                <a:ahLst/>
                <a:cxnLst>
                  <a:cxn ang="0">
                    <a:pos x="connsiteX0" y="connsiteY0"/>
                  </a:cxn>
                  <a:cxn ang="0">
                    <a:pos x="connsiteX1" y="connsiteY1"/>
                  </a:cxn>
                  <a:cxn ang="0">
                    <a:pos x="connsiteX2" y="connsiteY2"/>
                  </a:cxn>
                  <a:cxn ang="0">
                    <a:pos x="connsiteX3" y="connsiteY3"/>
                  </a:cxn>
                </a:cxnLst>
                <a:rect l="l" t="t" r="r" b="b"/>
                <a:pathLst>
                  <a:path w="4381" h="41656">
                    <a:moveTo>
                      <a:pt x="0" y="0"/>
                    </a:moveTo>
                    <a:lnTo>
                      <a:pt x="4381" y="0"/>
                    </a:lnTo>
                    <a:lnTo>
                      <a:pt x="4381" y="41656"/>
                    </a:lnTo>
                    <a:lnTo>
                      <a:pt x="0" y="41656"/>
                    </a:lnTo>
                    <a:close/>
                  </a:path>
                </a:pathLst>
              </a:custGeom>
              <a:solidFill>
                <a:schemeClr val="bg1">
                  <a:lumMod val="50000"/>
                </a:schemeClr>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30" name="Freeform: Shape 29">
                <a:extLst>
                  <a:ext uri="{FF2B5EF4-FFF2-40B4-BE49-F238E27FC236}">
                    <a16:creationId xmlns:a16="http://schemas.microsoft.com/office/drawing/2014/main" id="{A97F1D36-F238-49A7-9CEB-04D36BD61F6F}"/>
                  </a:ext>
                </a:extLst>
              </p:cNvPr>
              <p:cNvSpPr/>
              <p:nvPr/>
            </p:nvSpPr>
            <p:spPr>
              <a:xfrm rot="16200000" flipH="1">
                <a:off x="5426469" y="3902056"/>
                <a:ext cx="4381" cy="41656"/>
              </a:xfrm>
              <a:custGeom>
                <a:avLst/>
                <a:gdLst>
                  <a:gd name="connsiteX0" fmla="*/ 0 w 4381"/>
                  <a:gd name="connsiteY0" fmla="*/ 0 h 41656"/>
                  <a:gd name="connsiteX1" fmla="*/ 4381 w 4381"/>
                  <a:gd name="connsiteY1" fmla="*/ 0 h 41656"/>
                  <a:gd name="connsiteX2" fmla="*/ 4381 w 4381"/>
                  <a:gd name="connsiteY2" fmla="*/ 41656 h 41656"/>
                  <a:gd name="connsiteX3" fmla="*/ 0 w 4381"/>
                  <a:gd name="connsiteY3" fmla="*/ 41656 h 41656"/>
                </a:gdLst>
                <a:ahLst/>
                <a:cxnLst>
                  <a:cxn ang="0">
                    <a:pos x="connsiteX0" y="connsiteY0"/>
                  </a:cxn>
                  <a:cxn ang="0">
                    <a:pos x="connsiteX1" y="connsiteY1"/>
                  </a:cxn>
                  <a:cxn ang="0">
                    <a:pos x="connsiteX2" y="connsiteY2"/>
                  </a:cxn>
                  <a:cxn ang="0">
                    <a:pos x="connsiteX3" y="connsiteY3"/>
                  </a:cxn>
                </a:cxnLst>
                <a:rect l="l" t="t" r="r" b="b"/>
                <a:pathLst>
                  <a:path w="4381" h="41656">
                    <a:moveTo>
                      <a:pt x="0" y="0"/>
                    </a:moveTo>
                    <a:lnTo>
                      <a:pt x="4381" y="0"/>
                    </a:lnTo>
                    <a:lnTo>
                      <a:pt x="4381" y="41656"/>
                    </a:lnTo>
                    <a:lnTo>
                      <a:pt x="0" y="41656"/>
                    </a:lnTo>
                    <a:close/>
                  </a:path>
                </a:pathLst>
              </a:custGeom>
              <a:solidFill>
                <a:schemeClr val="bg1">
                  <a:lumMod val="50000"/>
                </a:schemeClr>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31" name="Freeform: Shape 30">
                <a:extLst>
                  <a:ext uri="{FF2B5EF4-FFF2-40B4-BE49-F238E27FC236}">
                    <a16:creationId xmlns:a16="http://schemas.microsoft.com/office/drawing/2014/main" id="{B6A3E284-85B8-4CAC-B5A8-833FEAD26319}"/>
                  </a:ext>
                </a:extLst>
              </p:cNvPr>
              <p:cNvSpPr/>
              <p:nvPr/>
            </p:nvSpPr>
            <p:spPr>
              <a:xfrm rot="10800000" flipH="1">
                <a:off x="5407069" y="4165549"/>
                <a:ext cx="42418" cy="38100"/>
              </a:xfrm>
              <a:custGeom>
                <a:avLst/>
                <a:gdLst>
                  <a:gd name="connsiteX0" fmla="*/ 0 w 42418"/>
                  <a:gd name="connsiteY0" fmla="*/ 0 h 38100"/>
                  <a:gd name="connsiteX1" fmla="*/ 42418 w 42418"/>
                  <a:gd name="connsiteY1" fmla="*/ 0 h 38100"/>
                  <a:gd name="connsiteX2" fmla="*/ 42418 w 42418"/>
                  <a:gd name="connsiteY2" fmla="*/ 38100 h 38100"/>
                  <a:gd name="connsiteX3" fmla="*/ 0 w 42418"/>
                  <a:gd name="connsiteY3" fmla="*/ 38100 h 38100"/>
                </a:gdLst>
                <a:ahLst/>
                <a:cxnLst>
                  <a:cxn ang="0">
                    <a:pos x="connsiteX0" y="connsiteY0"/>
                  </a:cxn>
                  <a:cxn ang="0">
                    <a:pos x="connsiteX1" y="connsiteY1"/>
                  </a:cxn>
                  <a:cxn ang="0">
                    <a:pos x="connsiteX2" y="connsiteY2"/>
                  </a:cxn>
                  <a:cxn ang="0">
                    <a:pos x="connsiteX3" y="connsiteY3"/>
                  </a:cxn>
                </a:cxnLst>
                <a:rect l="l" t="t" r="r" b="b"/>
                <a:pathLst>
                  <a:path w="42418" h="38100">
                    <a:moveTo>
                      <a:pt x="0" y="0"/>
                    </a:moveTo>
                    <a:lnTo>
                      <a:pt x="42418" y="0"/>
                    </a:lnTo>
                    <a:lnTo>
                      <a:pt x="42418" y="38100"/>
                    </a:lnTo>
                    <a:lnTo>
                      <a:pt x="0" y="38100"/>
                    </a:lnTo>
                    <a:close/>
                  </a:path>
                </a:pathLst>
              </a:custGeom>
              <a:solidFill>
                <a:schemeClr val="bg1">
                  <a:lumMod val="50000"/>
                </a:schemeClr>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32" name="Freeform: Shape 31">
                <a:extLst>
                  <a:ext uri="{FF2B5EF4-FFF2-40B4-BE49-F238E27FC236}">
                    <a16:creationId xmlns:a16="http://schemas.microsoft.com/office/drawing/2014/main" id="{4EAD30CB-938D-43F4-BBFA-1452FA304135}"/>
                  </a:ext>
                </a:extLst>
              </p:cNvPr>
              <p:cNvSpPr/>
              <p:nvPr/>
            </p:nvSpPr>
            <p:spPr>
              <a:xfrm rot="16200000" flipH="1">
                <a:off x="5407387" y="3776295"/>
                <a:ext cx="39878" cy="73151"/>
              </a:xfrm>
              <a:custGeom>
                <a:avLst/>
                <a:gdLst>
                  <a:gd name="connsiteX0" fmla="*/ 39878 w 39878"/>
                  <a:gd name="connsiteY0" fmla="*/ 38671 h 73151"/>
                  <a:gd name="connsiteX1" fmla="*/ 2413 w 39878"/>
                  <a:gd name="connsiteY1" fmla="*/ 73152 h 73151"/>
                  <a:gd name="connsiteX2" fmla="*/ 0 w 39878"/>
                  <a:gd name="connsiteY2" fmla="*/ 69913 h 73151"/>
                  <a:gd name="connsiteX3" fmla="*/ 36131 w 39878"/>
                  <a:gd name="connsiteY3" fmla="*/ 36576 h 73151"/>
                  <a:gd name="connsiteX4" fmla="*/ 0 w 39878"/>
                  <a:gd name="connsiteY4" fmla="*/ 3238 h 73151"/>
                  <a:gd name="connsiteX5" fmla="*/ 2413 w 39878"/>
                  <a:gd name="connsiteY5" fmla="*/ 0 h 73151"/>
                  <a:gd name="connsiteX6" fmla="*/ 39878 w 39878"/>
                  <a:gd name="connsiteY6" fmla="*/ 34481 h 73151"/>
                  <a:gd name="connsiteX7" fmla="*/ 39878 w 39878"/>
                  <a:gd name="connsiteY7" fmla="*/ 38671 h 731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9878" h="73151">
                    <a:moveTo>
                      <a:pt x="39878" y="38671"/>
                    </a:moveTo>
                    <a:lnTo>
                      <a:pt x="2413" y="73152"/>
                    </a:lnTo>
                    <a:lnTo>
                      <a:pt x="0" y="69913"/>
                    </a:lnTo>
                    <a:lnTo>
                      <a:pt x="36131" y="36576"/>
                    </a:lnTo>
                    <a:lnTo>
                      <a:pt x="0" y="3238"/>
                    </a:lnTo>
                    <a:lnTo>
                      <a:pt x="2413" y="0"/>
                    </a:lnTo>
                    <a:lnTo>
                      <a:pt x="39878" y="34481"/>
                    </a:lnTo>
                    <a:lnTo>
                      <a:pt x="39878" y="38671"/>
                    </a:lnTo>
                    <a:close/>
                  </a:path>
                </a:pathLst>
              </a:custGeom>
              <a:solidFill>
                <a:schemeClr val="bg1">
                  <a:lumMod val="50000"/>
                </a:schemeClr>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sp>
            <p:nvSpPr>
              <p:cNvPr id="33" name="Freeform: Shape 32">
                <a:extLst>
                  <a:ext uri="{FF2B5EF4-FFF2-40B4-BE49-F238E27FC236}">
                    <a16:creationId xmlns:a16="http://schemas.microsoft.com/office/drawing/2014/main" id="{72E63A2A-7DB1-4637-9233-D1EFAF23EF3A}"/>
                  </a:ext>
                </a:extLst>
              </p:cNvPr>
              <p:cNvSpPr/>
              <p:nvPr/>
            </p:nvSpPr>
            <p:spPr>
              <a:xfrm rot="16200000" flipH="1">
                <a:off x="5426469" y="3961725"/>
                <a:ext cx="4381" cy="41656"/>
              </a:xfrm>
              <a:custGeom>
                <a:avLst/>
                <a:gdLst>
                  <a:gd name="connsiteX0" fmla="*/ 0 w 4381"/>
                  <a:gd name="connsiteY0" fmla="*/ 0 h 41656"/>
                  <a:gd name="connsiteX1" fmla="*/ 4381 w 4381"/>
                  <a:gd name="connsiteY1" fmla="*/ 0 h 41656"/>
                  <a:gd name="connsiteX2" fmla="*/ 4381 w 4381"/>
                  <a:gd name="connsiteY2" fmla="*/ 41656 h 41656"/>
                  <a:gd name="connsiteX3" fmla="*/ 0 w 4381"/>
                  <a:gd name="connsiteY3" fmla="*/ 41656 h 41656"/>
                </a:gdLst>
                <a:ahLst/>
                <a:cxnLst>
                  <a:cxn ang="0">
                    <a:pos x="connsiteX0" y="connsiteY0"/>
                  </a:cxn>
                  <a:cxn ang="0">
                    <a:pos x="connsiteX1" y="connsiteY1"/>
                  </a:cxn>
                  <a:cxn ang="0">
                    <a:pos x="connsiteX2" y="connsiteY2"/>
                  </a:cxn>
                  <a:cxn ang="0">
                    <a:pos x="connsiteX3" y="connsiteY3"/>
                  </a:cxn>
                </a:cxnLst>
                <a:rect l="l" t="t" r="r" b="b"/>
                <a:pathLst>
                  <a:path w="4381" h="41656">
                    <a:moveTo>
                      <a:pt x="0" y="0"/>
                    </a:moveTo>
                    <a:lnTo>
                      <a:pt x="4381" y="0"/>
                    </a:lnTo>
                    <a:lnTo>
                      <a:pt x="4381" y="41656"/>
                    </a:lnTo>
                    <a:lnTo>
                      <a:pt x="0" y="41656"/>
                    </a:lnTo>
                    <a:close/>
                  </a:path>
                </a:pathLst>
              </a:custGeom>
              <a:solidFill>
                <a:schemeClr val="bg1">
                  <a:lumMod val="50000"/>
                </a:schemeClr>
              </a:solidFill>
              <a:ln w="6350" cap="flat">
                <a:noFill/>
                <a:prstDash val="solid"/>
                <a:miter/>
              </a:ln>
            </p:spPr>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grpSp>
      </p:grpSp>
    </p:spTree>
    <p:extLst>
      <p:ext uri="{BB962C8B-B14F-4D97-AF65-F5344CB8AC3E}">
        <p14:creationId xmlns:p14="http://schemas.microsoft.com/office/powerpoint/2010/main" val="10728530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490760" y="1713756"/>
            <a:ext cx="10789920" cy="4481310"/>
          </a:xfrm>
        </p:spPr>
        <p:txBody>
          <a:bodyPr vert="horz" lIns="0" tIns="0" rIns="0" bIns="0" rtlCol="0">
            <a:noAutofit/>
          </a:bodyPr>
          <a:lstStyle>
            <a:lvl1pPr>
              <a:defRPr lang="en-US" noProof="0" dirty="0" smtClean="0"/>
            </a:lvl1pPr>
            <a:lvl2pPr>
              <a:defRPr lang="en-US" noProof="0" dirty="0" smtClean="0"/>
            </a:lvl2pPr>
            <a:lvl3pPr>
              <a:defRPr lang="en-US" noProof="0" dirty="0" smtClean="0"/>
            </a:lvl3pPr>
            <a:lvl4pPr>
              <a:defRPr lang="en-US" noProof="0" dirty="0" smtClean="0"/>
            </a:lvl4pPr>
            <a:lvl5pPr>
              <a:defRPr lang="en-US" noProof="0" dirty="0"/>
            </a:lvl5pPr>
          </a:lstStyle>
          <a:p>
            <a:pPr lvl="0"/>
            <a:r>
              <a:rPr kumimoji="0" lang="en-US" sz="2400" b="0" i="0" u="none" strike="noStrike" kern="1200" cap="none" spc="0" normalizeH="0" baseline="0" noProof="0" dirty="0">
                <a:ln>
                  <a:noFill/>
                </a:ln>
                <a:solidFill>
                  <a:srgbClr val="3D4647"/>
                </a:solidFill>
                <a:effectLst/>
                <a:uLnTx/>
                <a:uFillTx/>
                <a:latin typeface="PTCRaleway"/>
                <a:ea typeface="+mn-ea"/>
                <a:cs typeface="+mn-cs"/>
              </a:rPr>
              <a:t>Add text</a:t>
            </a:r>
          </a:p>
          <a:p>
            <a:pPr lvl="1"/>
            <a:r>
              <a:rPr kumimoji="0" lang="en-US" sz="2000" b="0" i="0" u="none" strike="noStrike" kern="1200" cap="none" spc="0" normalizeH="0" baseline="0" noProof="0" dirty="0">
                <a:ln>
                  <a:noFill/>
                </a:ln>
                <a:solidFill>
                  <a:srgbClr val="3D4647"/>
                </a:solidFill>
                <a:effectLst/>
                <a:uLnTx/>
                <a:uFillTx/>
                <a:latin typeface="PTCRaleway"/>
                <a:ea typeface="+mn-ea"/>
                <a:cs typeface="+mn-cs"/>
              </a:rPr>
              <a:t>Second level</a:t>
            </a:r>
          </a:p>
          <a:p>
            <a:pPr lvl="2"/>
            <a:r>
              <a:rPr kumimoji="0" lang="en-US" sz="1800" b="0" i="0" u="none" strike="noStrike" kern="1200" cap="none" spc="0" normalizeH="0" baseline="0" noProof="0" dirty="0">
                <a:ln>
                  <a:noFill/>
                </a:ln>
                <a:solidFill>
                  <a:srgbClr val="3D4647"/>
                </a:solidFill>
                <a:effectLst/>
                <a:uLnTx/>
                <a:uFillTx/>
                <a:latin typeface="PTCRaleway"/>
                <a:ea typeface="+mn-ea"/>
                <a:cs typeface="+mn-cs"/>
              </a:rPr>
              <a:t>Third level</a:t>
            </a:r>
          </a:p>
          <a:p>
            <a:pPr lvl="3"/>
            <a:r>
              <a:rPr kumimoji="0" lang="en-US" sz="1600" b="0" i="0" u="none" strike="noStrike" kern="1200" cap="none" spc="0" normalizeH="0" baseline="0" noProof="0" dirty="0">
                <a:ln>
                  <a:noFill/>
                </a:ln>
                <a:solidFill>
                  <a:srgbClr val="3D4647"/>
                </a:solidFill>
                <a:effectLst/>
                <a:uLnTx/>
                <a:uFillTx/>
                <a:latin typeface="PTCRaleway"/>
                <a:ea typeface="+mn-ea"/>
                <a:cs typeface="+mn-cs"/>
              </a:rPr>
              <a:t>Fourth level</a:t>
            </a:r>
          </a:p>
          <a:p>
            <a:pPr lvl="4"/>
            <a:r>
              <a:rPr kumimoji="0" lang="en-US" sz="1400" b="0" i="0" u="none" strike="noStrike" kern="1200" cap="none" spc="0" normalizeH="0" baseline="0" noProof="0" dirty="0">
                <a:ln>
                  <a:noFill/>
                </a:ln>
                <a:solidFill>
                  <a:srgbClr val="3D4647"/>
                </a:solidFill>
                <a:effectLst/>
                <a:uLnTx/>
                <a:uFillTx/>
                <a:latin typeface="PTCRaleway"/>
                <a:ea typeface="+mn-ea"/>
                <a:cs typeface="+mn-cs"/>
              </a:rPr>
              <a:t>Fifth level</a:t>
            </a:r>
          </a:p>
        </p:txBody>
      </p:sp>
      <p:sp>
        <p:nvSpPr>
          <p:cNvPr id="4" name="Title 3">
            <a:extLst>
              <a:ext uri="{FF2B5EF4-FFF2-40B4-BE49-F238E27FC236}">
                <a16:creationId xmlns:a16="http://schemas.microsoft.com/office/drawing/2014/main" id="{C14A7928-2068-42B4-AB1B-DA77806D13C2}"/>
              </a:ext>
            </a:extLst>
          </p:cNvPr>
          <p:cNvSpPr>
            <a:spLocks noGrp="1"/>
          </p:cNvSpPr>
          <p:nvPr>
            <p:ph type="title" hasCustomPrompt="1"/>
          </p:nvPr>
        </p:nvSpPr>
        <p:spPr>
          <a:xfrm>
            <a:off x="490760" y="678174"/>
            <a:ext cx="10789920" cy="369332"/>
          </a:xfrm>
        </p:spPr>
        <p:txBody>
          <a:bodyPr/>
          <a:lstStyle>
            <a:lvl1pPr>
              <a:defRPr/>
            </a:lvl1pPr>
          </a:lstStyle>
          <a:p>
            <a:r>
              <a:rPr lang="en-US" dirty="0"/>
              <a:t>add title – keep it brief</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wo Content">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490760" y="1711084"/>
            <a:ext cx="5430358" cy="4297680"/>
          </a:xfrm>
        </p:spPr>
        <p:txBody>
          <a:bodyPr vert="horz" lIns="0" tIns="0" rIns="0" bIns="0" rtlCol="0">
            <a:noAutofit/>
          </a:bodyPr>
          <a:lstStyle>
            <a:lvl1pPr>
              <a:defRPr lang="en-US" dirty="0"/>
            </a:lvl1pPr>
            <a:lvl2pPr>
              <a:defRPr lang="en-US" dirty="0"/>
            </a:lvl2pPr>
            <a:lvl3pPr>
              <a:defRPr lang="en-US" dirty="0"/>
            </a:lvl3pPr>
            <a:lvl4pPr>
              <a:defRPr lang="en-US" dirty="0"/>
            </a:lvl4pPr>
            <a:lvl5pPr>
              <a:defRPr lang="en-US" dirty="0"/>
            </a:lvl5pPr>
          </a:lstStyle>
          <a:p>
            <a:pPr lvl="0"/>
            <a:r>
              <a:rPr lang="en-US" dirty="0"/>
              <a:t>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hasCustomPrompt="1"/>
          </p:nvPr>
        </p:nvSpPr>
        <p:spPr>
          <a:xfrm>
            <a:off x="6480336" y="1711084"/>
            <a:ext cx="5359241" cy="4297680"/>
          </a:xfrm>
        </p:spPr>
        <p:txBody>
          <a:bodyPr vert="horz" lIns="0" tIns="0" rIns="0" bIns="0" rtlCol="0">
            <a:noAutofit/>
          </a:bodyPr>
          <a:lstStyle>
            <a:lvl1pPr>
              <a:defRPr kumimoji="0" lang="en-US" b="0" i="0" u="none" strike="noStrike" cap="none" spc="0" normalizeH="0" baseline="0" dirty="0" smtClean="0">
                <a:ln>
                  <a:noFill/>
                </a:ln>
                <a:solidFill>
                  <a:srgbClr val="3D4647"/>
                </a:solidFill>
                <a:effectLst/>
                <a:uLnTx/>
                <a:uFillTx/>
                <a:latin typeface="PTCRaleway"/>
              </a:defRPr>
            </a:lvl1pPr>
            <a:lvl2pPr>
              <a:defRPr kumimoji="0" lang="en-US" b="0" i="0" u="none" strike="noStrike" cap="none" spc="0" normalizeH="0" baseline="0" dirty="0" smtClean="0">
                <a:ln>
                  <a:noFill/>
                </a:ln>
                <a:solidFill>
                  <a:srgbClr val="3D4647"/>
                </a:solidFill>
                <a:effectLst/>
                <a:uLnTx/>
                <a:uFillTx/>
                <a:latin typeface="PTCRaleway"/>
              </a:defRPr>
            </a:lvl2pPr>
            <a:lvl3pPr>
              <a:defRPr kumimoji="0" lang="en-US" b="0" i="0" u="none" strike="noStrike" cap="none" spc="0" normalizeH="0" baseline="0" dirty="0" smtClean="0">
                <a:ln>
                  <a:noFill/>
                </a:ln>
                <a:solidFill>
                  <a:srgbClr val="3D4647"/>
                </a:solidFill>
                <a:effectLst/>
                <a:uLnTx/>
                <a:uFillTx/>
                <a:latin typeface="PTCRaleway"/>
              </a:defRPr>
            </a:lvl3pPr>
            <a:lvl4pPr>
              <a:defRPr kumimoji="0" lang="en-US" b="0" i="0" u="none" strike="noStrike" cap="none" spc="0" normalizeH="0" dirty="0" smtClean="0">
                <a:ln>
                  <a:noFill/>
                </a:ln>
                <a:solidFill>
                  <a:srgbClr val="3D4647"/>
                </a:solidFill>
                <a:effectLst/>
                <a:uLnTx/>
                <a:uFillTx/>
                <a:latin typeface="PTCRaleway"/>
              </a:defRPr>
            </a:lvl4pPr>
            <a:lvl5pPr>
              <a:defRPr kumimoji="0" lang="en-US" b="0" i="0" u="none" strike="noStrike" cap="none" spc="0" normalizeH="0" dirty="0">
                <a:ln>
                  <a:noFill/>
                </a:ln>
                <a:solidFill>
                  <a:srgbClr val="3D4647"/>
                </a:solidFill>
                <a:effectLst/>
                <a:uLnTx/>
                <a:uFillTx/>
                <a:latin typeface="PTCRaleway"/>
              </a:defRPr>
            </a:lvl5pPr>
          </a:lstStyle>
          <a:p>
            <a:pPr lvl="0"/>
            <a:r>
              <a:rPr lang="en-US" dirty="0"/>
              <a:t>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a:extLst>
              <a:ext uri="{FF2B5EF4-FFF2-40B4-BE49-F238E27FC236}">
                <a16:creationId xmlns:a16="http://schemas.microsoft.com/office/drawing/2014/main" id="{F6E69CCC-D78C-4592-9155-75F363BF7096}"/>
              </a:ext>
            </a:extLst>
          </p:cNvPr>
          <p:cNvSpPr>
            <a:spLocks noGrp="1"/>
          </p:cNvSpPr>
          <p:nvPr>
            <p:ph type="title" hasCustomPrompt="1"/>
          </p:nvPr>
        </p:nvSpPr>
        <p:spPr>
          <a:xfrm>
            <a:off x="490760" y="678174"/>
            <a:ext cx="10789920" cy="369332"/>
          </a:xfrm>
        </p:spPr>
        <p:txBody>
          <a:bodyPr/>
          <a:lstStyle>
            <a:lvl1pPr>
              <a:defRPr/>
            </a:lvl1pPr>
          </a:lstStyle>
          <a:p>
            <a:r>
              <a:rPr lang="en-US" dirty="0"/>
              <a:t>add title – keep it brief</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sp>
        <p:nvSpPr>
          <p:cNvPr id="4" name="Content Placeholder 3"/>
          <p:cNvSpPr>
            <a:spLocks noGrp="1"/>
          </p:cNvSpPr>
          <p:nvPr>
            <p:ph sz="half" idx="2" hasCustomPrompt="1"/>
          </p:nvPr>
        </p:nvSpPr>
        <p:spPr>
          <a:xfrm>
            <a:off x="490759" y="1713756"/>
            <a:ext cx="3383280" cy="4297680"/>
          </a:xfrm>
        </p:spPr>
        <p:txBody>
          <a:bodyPr vert="horz" lIns="0" tIns="0" rIns="0" bIns="0" rtlCol="0">
            <a:noAutofit/>
          </a:bodyPr>
          <a:lstStyle>
            <a:lvl1pPr>
              <a:defRPr lang="en-US" dirty="0"/>
            </a:lvl1pPr>
            <a:lvl2pPr>
              <a:defRPr lang="en-US" dirty="0"/>
            </a:lvl2pPr>
            <a:lvl3pPr>
              <a:defRPr lang="en-US" dirty="0"/>
            </a:lvl3pPr>
            <a:lvl4pPr>
              <a:defRPr lang="en-US" dirty="0"/>
            </a:lvl4pPr>
            <a:lvl5pPr>
              <a:defRPr lang="en-US" dirty="0"/>
            </a:lvl5pPr>
          </a:lstStyle>
          <a:p>
            <a:pPr lvl="0"/>
            <a:r>
              <a:rPr lang="en-US" dirty="0"/>
              <a:t>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Content Placeholder 19"/>
          <p:cNvSpPr>
            <a:spLocks noGrp="1"/>
          </p:cNvSpPr>
          <p:nvPr>
            <p:ph sz="quarter" idx="15" hasCustomPrompt="1"/>
          </p:nvPr>
        </p:nvSpPr>
        <p:spPr>
          <a:xfrm>
            <a:off x="4404630" y="1713756"/>
            <a:ext cx="3383280" cy="4332170"/>
          </a:xfrm>
        </p:spPr>
        <p:txBody>
          <a:bodyPr vert="horz" lIns="0" tIns="0" rIns="0" bIns="0" rtlCol="0">
            <a:noAutofit/>
          </a:bodyPr>
          <a:lstStyle>
            <a:lvl1pPr>
              <a:defRPr lang="en-US" dirty="0"/>
            </a:lvl1pPr>
            <a:lvl2pPr>
              <a:defRPr lang="en-US" dirty="0"/>
            </a:lvl2pPr>
            <a:lvl3pPr>
              <a:defRPr lang="en-US" dirty="0"/>
            </a:lvl3pPr>
            <a:lvl4pPr>
              <a:defRPr lang="en-US" dirty="0"/>
            </a:lvl4pPr>
            <a:lvl5pPr>
              <a:defRPr lang="en-US" dirty="0"/>
            </a:lvl5pPr>
          </a:lstStyle>
          <a:p>
            <a:pPr lvl="0"/>
            <a:r>
              <a:rPr lang="en-US" dirty="0"/>
              <a:t>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Content Placeholder 21"/>
          <p:cNvSpPr>
            <a:spLocks noGrp="1"/>
          </p:cNvSpPr>
          <p:nvPr>
            <p:ph sz="quarter" idx="16" hasCustomPrompt="1"/>
          </p:nvPr>
        </p:nvSpPr>
        <p:spPr>
          <a:xfrm>
            <a:off x="8318500" y="1713756"/>
            <a:ext cx="3383280" cy="4332170"/>
          </a:xfrm>
        </p:spPr>
        <p:txBody>
          <a:bodyPr vert="horz" lIns="0" tIns="0" rIns="0" bIns="0" rtlCol="0">
            <a:noAutofit/>
          </a:bodyPr>
          <a:lstStyle>
            <a:lvl1pPr>
              <a:defRPr lang="en-US" dirty="0"/>
            </a:lvl1pPr>
            <a:lvl2pPr>
              <a:defRPr lang="en-US" dirty="0"/>
            </a:lvl2pPr>
            <a:lvl3pPr>
              <a:defRPr lang="en-US" dirty="0"/>
            </a:lvl3pPr>
            <a:lvl4pPr>
              <a:defRPr lang="en-US" dirty="0"/>
            </a:lvl4pPr>
            <a:lvl5pPr>
              <a:defRPr lang="en-US" dirty="0"/>
            </a:lvl5pPr>
          </a:lstStyle>
          <a:p>
            <a:pPr lvl="0"/>
            <a:r>
              <a:rPr lang="en-US" dirty="0"/>
              <a:t>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a:extLst>
              <a:ext uri="{FF2B5EF4-FFF2-40B4-BE49-F238E27FC236}">
                <a16:creationId xmlns:a16="http://schemas.microsoft.com/office/drawing/2014/main" id="{058233AF-2ADF-4388-AEFC-06C737873A42}"/>
              </a:ext>
            </a:extLst>
          </p:cNvPr>
          <p:cNvSpPr>
            <a:spLocks noGrp="1"/>
          </p:cNvSpPr>
          <p:nvPr>
            <p:ph type="title" hasCustomPrompt="1"/>
          </p:nvPr>
        </p:nvSpPr>
        <p:spPr>
          <a:xfrm>
            <a:off x="490760" y="678174"/>
            <a:ext cx="10789920" cy="369332"/>
          </a:xfrm>
        </p:spPr>
        <p:txBody>
          <a:bodyPr/>
          <a:lstStyle>
            <a:lvl1pPr>
              <a:defRPr/>
            </a:lvl1pPr>
          </a:lstStyle>
          <a:p>
            <a:r>
              <a:rPr lang="en-US" dirty="0"/>
              <a:t>add title – keep it brief</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7A4D7EE-4EB9-47BD-B3ED-30248208721D}"/>
              </a:ext>
            </a:extLst>
          </p:cNvPr>
          <p:cNvSpPr>
            <a:spLocks noGrp="1"/>
          </p:cNvSpPr>
          <p:nvPr>
            <p:ph type="title" hasCustomPrompt="1"/>
          </p:nvPr>
        </p:nvSpPr>
        <p:spPr/>
        <p:txBody>
          <a:bodyPr/>
          <a:lstStyle>
            <a:lvl1pPr>
              <a:defRPr/>
            </a:lvl1pPr>
          </a:lstStyle>
          <a:p>
            <a:r>
              <a:rPr lang="en-US" dirty="0"/>
              <a:t>add title – keep it brief</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image" Target="../media/image8.png"/><Relationship Id="rId21" Type="http://schemas.openxmlformats.org/officeDocument/2006/relationships/slideLayout" Target="../slideLayouts/slideLayout21.xml"/><Relationship Id="rId34" Type="http://schemas.openxmlformats.org/officeDocument/2006/relationships/image" Target="../media/image5.sv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image" Target="../media/image4.png"/><Relationship Id="rId38" Type="http://schemas.openxmlformats.org/officeDocument/2006/relationships/image" Target="../media/image7.pn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tags" Target="../tags/tag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image" Target="../media/image3.emf"/><Relationship Id="rId37" Type="http://schemas.openxmlformats.org/officeDocument/2006/relationships/image" Target="../media/image6.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theme" Target="../theme/theme1.xml"/><Relationship Id="rId36" Type="http://schemas.openxmlformats.org/officeDocument/2006/relationships/image" Target="../media/image2.svg"/><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tags" Target="../tags/tag2.xml"/><Relationship Id="rId35" Type="http://schemas.openxmlformats.org/officeDocument/2006/relationships/image" Target="../media/image1.png"/><Relationship Id="rId8" Type="http://schemas.openxmlformats.org/officeDocument/2006/relationships/slideLayout" Target="../slideLayouts/slideLayout8.xml"/><Relationship Id="rId3" Type="http://schemas.openxmlformats.org/officeDocument/2006/relationships/slideLayout" Target="../slideLayouts/slideLayout3.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40.xml"/><Relationship Id="rId18" Type="http://schemas.openxmlformats.org/officeDocument/2006/relationships/slideLayout" Target="../slideLayouts/slideLayout45.xml"/><Relationship Id="rId26" Type="http://schemas.openxmlformats.org/officeDocument/2006/relationships/slideLayout" Target="../slideLayouts/slideLayout53.xml"/><Relationship Id="rId39" Type="http://schemas.openxmlformats.org/officeDocument/2006/relationships/image" Target="../media/image8.png"/><Relationship Id="rId21" Type="http://schemas.openxmlformats.org/officeDocument/2006/relationships/slideLayout" Target="../slideLayouts/slideLayout48.xml"/><Relationship Id="rId34" Type="http://schemas.openxmlformats.org/officeDocument/2006/relationships/image" Target="../media/image5.svg"/><Relationship Id="rId7" Type="http://schemas.openxmlformats.org/officeDocument/2006/relationships/slideLayout" Target="../slideLayouts/slideLayout34.xml"/><Relationship Id="rId12" Type="http://schemas.openxmlformats.org/officeDocument/2006/relationships/slideLayout" Target="../slideLayouts/slideLayout39.xml"/><Relationship Id="rId17" Type="http://schemas.openxmlformats.org/officeDocument/2006/relationships/slideLayout" Target="../slideLayouts/slideLayout44.xml"/><Relationship Id="rId25" Type="http://schemas.openxmlformats.org/officeDocument/2006/relationships/slideLayout" Target="../slideLayouts/slideLayout52.xml"/><Relationship Id="rId33" Type="http://schemas.openxmlformats.org/officeDocument/2006/relationships/image" Target="../media/image4.png"/><Relationship Id="rId38" Type="http://schemas.openxmlformats.org/officeDocument/2006/relationships/image" Target="../media/image7.png"/><Relationship Id="rId2" Type="http://schemas.openxmlformats.org/officeDocument/2006/relationships/slideLayout" Target="../slideLayouts/slideLayout29.xml"/><Relationship Id="rId16" Type="http://schemas.openxmlformats.org/officeDocument/2006/relationships/slideLayout" Target="../slideLayouts/slideLayout43.xml"/><Relationship Id="rId20" Type="http://schemas.openxmlformats.org/officeDocument/2006/relationships/slideLayout" Target="../slideLayouts/slideLayout47.xml"/><Relationship Id="rId29" Type="http://schemas.openxmlformats.org/officeDocument/2006/relationships/tags" Target="../tags/tag9.xml"/><Relationship Id="rId1" Type="http://schemas.openxmlformats.org/officeDocument/2006/relationships/slideLayout" Target="../slideLayouts/slideLayout28.xml"/><Relationship Id="rId6" Type="http://schemas.openxmlformats.org/officeDocument/2006/relationships/slideLayout" Target="../slideLayouts/slideLayout33.xml"/><Relationship Id="rId11" Type="http://schemas.openxmlformats.org/officeDocument/2006/relationships/slideLayout" Target="../slideLayouts/slideLayout38.xml"/><Relationship Id="rId24" Type="http://schemas.openxmlformats.org/officeDocument/2006/relationships/slideLayout" Target="../slideLayouts/slideLayout51.xml"/><Relationship Id="rId32" Type="http://schemas.openxmlformats.org/officeDocument/2006/relationships/image" Target="../media/image3.emf"/><Relationship Id="rId37" Type="http://schemas.openxmlformats.org/officeDocument/2006/relationships/image" Target="../media/image6.png"/><Relationship Id="rId5" Type="http://schemas.openxmlformats.org/officeDocument/2006/relationships/slideLayout" Target="../slideLayouts/slideLayout32.xml"/><Relationship Id="rId15" Type="http://schemas.openxmlformats.org/officeDocument/2006/relationships/slideLayout" Target="../slideLayouts/slideLayout42.xml"/><Relationship Id="rId23" Type="http://schemas.openxmlformats.org/officeDocument/2006/relationships/slideLayout" Target="../slideLayouts/slideLayout50.xml"/><Relationship Id="rId28" Type="http://schemas.openxmlformats.org/officeDocument/2006/relationships/theme" Target="../theme/theme2.xml"/><Relationship Id="rId36" Type="http://schemas.openxmlformats.org/officeDocument/2006/relationships/image" Target="../media/image2.svg"/><Relationship Id="rId10" Type="http://schemas.openxmlformats.org/officeDocument/2006/relationships/slideLayout" Target="../slideLayouts/slideLayout37.xml"/><Relationship Id="rId19" Type="http://schemas.openxmlformats.org/officeDocument/2006/relationships/slideLayout" Target="../slideLayouts/slideLayout46.xml"/><Relationship Id="rId31" Type="http://schemas.openxmlformats.org/officeDocument/2006/relationships/oleObject" Target="../embeddings/oleObject5.bin"/><Relationship Id="rId4" Type="http://schemas.openxmlformats.org/officeDocument/2006/relationships/slideLayout" Target="../slideLayouts/slideLayout31.xml"/><Relationship Id="rId9" Type="http://schemas.openxmlformats.org/officeDocument/2006/relationships/slideLayout" Target="../slideLayouts/slideLayout36.xml"/><Relationship Id="rId14" Type="http://schemas.openxmlformats.org/officeDocument/2006/relationships/slideLayout" Target="../slideLayouts/slideLayout41.xml"/><Relationship Id="rId22" Type="http://schemas.openxmlformats.org/officeDocument/2006/relationships/slideLayout" Target="../slideLayouts/slideLayout49.xml"/><Relationship Id="rId27" Type="http://schemas.openxmlformats.org/officeDocument/2006/relationships/slideLayout" Target="../slideLayouts/slideLayout54.xml"/><Relationship Id="rId30" Type="http://schemas.openxmlformats.org/officeDocument/2006/relationships/tags" Target="../tags/tag10.xml"/><Relationship Id="rId35" Type="http://schemas.openxmlformats.org/officeDocument/2006/relationships/image" Target="../media/image1.png"/><Relationship Id="rId8" Type="http://schemas.openxmlformats.org/officeDocument/2006/relationships/slideLayout" Target="../slideLayouts/slideLayout35.xml"/><Relationship Id="rId3" Type="http://schemas.openxmlformats.org/officeDocument/2006/relationships/slideLayout" Target="../slideLayouts/slideLayout3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790734D-BEF5-41A5-9F49-51E157572097}"/>
              </a:ext>
            </a:extLst>
          </p:cNvPr>
          <p:cNvGraphicFramePr>
            <a:graphicFrameLocks noChangeAspect="1"/>
          </p:cNvGraphicFramePr>
          <p:nvPr>
            <p:custDataLst>
              <p:tags r:id="rId29"/>
            </p:custDataLst>
            <p:extLst>
              <p:ext uri="{D42A27DB-BD31-4B8C-83A1-F6EECF244321}">
                <p14:modId xmlns:p14="http://schemas.microsoft.com/office/powerpoint/2010/main" val="35326163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1" imgW="383" imgH="384" progId="TCLayout.ActiveDocument.1">
                  <p:embed/>
                </p:oleObj>
              </mc:Choice>
              <mc:Fallback>
                <p:oleObj name="think-cell Slide" r:id="rId31" imgW="383" imgH="384" progId="TCLayout.ActiveDocument.1">
                  <p:embed/>
                  <p:pic>
                    <p:nvPicPr>
                      <p:cNvPr id="5" name="Object 4" hidden="1">
                        <a:extLst>
                          <a:ext uri="{FF2B5EF4-FFF2-40B4-BE49-F238E27FC236}">
                            <a16:creationId xmlns:a16="http://schemas.microsoft.com/office/drawing/2014/main" id="{E790734D-BEF5-41A5-9F49-51E157572097}"/>
                          </a:ext>
                        </a:extLst>
                      </p:cNvPr>
                      <p:cNvPicPr/>
                      <p:nvPr/>
                    </p:nvPicPr>
                    <p:blipFill>
                      <a:blip r:embed="rId3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FBF71598-268F-4340-989F-8086D0EE7691}"/>
              </a:ext>
            </a:extLst>
          </p:cNvPr>
          <p:cNvSpPr/>
          <p:nvPr>
            <p:custDataLst>
              <p:tags r:id="rId30"/>
            </p:custDataLst>
          </p:nvPr>
        </p:nvSpPr>
        <p:spPr>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lnSpc>
                <a:spcPct val="90000"/>
              </a:lnSpc>
              <a:spcBef>
                <a:spcPts val="800"/>
              </a:spcBef>
            </a:pPr>
            <a:endParaRPr lang="en-US" sz="3200" b="0" i="0" baseline="0" dirty="0">
              <a:solidFill>
                <a:schemeClr val="bg1"/>
              </a:solidFill>
              <a:latin typeface="PTCRaleway" panose="020B0503030101060003" pitchFamily="34" charset="0"/>
              <a:ea typeface="+mj-ea"/>
              <a:cs typeface="+mj-cs"/>
              <a:sym typeface="Century Gothic" panose="020B0502020202020204" pitchFamily="34" charset="0"/>
            </a:endParaRPr>
          </a:p>
        </p:txBody>
      </p:sp>
      <p:sp>
        <p:nvSpPr>
          <p:cNvPr id="2" name="Title Placeholder 1"/>
          <p:cNvSpPr>
            <a:spLocks noGrp="1"/>
          </p:cNvSpPr>
          <p:nvPr>
            <p:ph type="title"/>
          </p:nvPr>
        </p:nvSpPr>
        <p:spPr>
          <a:xfrm>
            <a:off x="490760" y="678174"/>
            <a:ext cx="10789920" cy="369332"/>
          </a:xfrm>
          <a:prstGeom prst="rect">
            <a:avLst/>
          </a:prstGeom>
        </p:spPr>
        <p:txBody>
          <a:bodyPr vert="horz" lIns="0" tIns="0" rIns="0" bIns="0" rtlCol="0" anchor="t" anchorCtr="0">
            <a:spAutoFit/>
          </a:bodyPr>
          <a:lstStyle/>
          <a:p>
            <a:r>
              <a:rPr lang="en-US" dirty="0"/>
              <a:t>add title – keep it brief</a:t>
            </a:r>
          </a:p>
        </p:txBody>
      </p:sp>
      <p:sp>
        <p:nvSpPr>
          <p:cNvPr id="3" name="Text Placeholder 2"/>
          <p:cNvSpPr>
            <a:spLocks noGrp="1"/>
          </p:cNvSpPr>
          <p:nvPr>
            <p:ph type="body" idx="1"/>
          </p:nvPr>
        </p:nvSpPr>
        <p:spPr>
          <a:xfrm>
            <a:off x="496648" y="1630680"/>
            <a:ext cx="10789919" cy="4572000"/>
          </a:xfrm>
          <a:prstGeom prst="rect">
            <a:avLst/>
          </a:prstGeom>
        </p:spPr>
        <p:txBody>
          <a:bodyPr vert="horz" lIns="0" tIns="0" rIns="0" bIns="0" rtlCol="0">
            <a:noAutofit/>
          </a:bodyPr>
          <a:lstStyle/>
          <a:p>
            <a:pPr lvl="0"/>
            <a:r>
              <a:rPr lang="en-US" dirty="0"/>
              <a:t>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Rectangle 18">
            <a:extLst>
              <a:ext uri="{FF2B5EF4-FFF2-40B4-BE49-F238E27FC236}">
                <a16:creationId xmlns:a16="http://schemas.microsoft.com/office/drawing/2014/main" id="{16FE1755-5705-4A27-8F5C-B2D6D4D1E477}"/>
              </a:ext>
            </a:extLst>
          </p:cNvPr>
          <p:cNvSpPr/>
          <p:nvPr userDrawn="1"/>
        </p:nvSpPr>
        <p:spPr>
          <a:xfrm>
            <a:off x="496649" y="389410"/>
            <a:ext cx="955563" cy="45719"/>
          </a:xfrm>
          <a:prstGeom prst="rect">
            <a:avLst/>
          </a:prstGeom>
          <a:solidFill>
            <a:srgbClr val="5AB73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p>
        </p:txBody>
      </p:sp>
      <p:pic>
        <p:nvPicPr>
          <p:cNvPr id="73" name="Graphic 72">
            <a:extLst>
              <a:ext uri="{FF2B5EF4-FFF2-40B4-BE49-F238E27FC236}">
                <a16:creationId xmlns:a16="http://schemas.microsoft.com/office/drawing/2014/main" id="{03CC0558-A5CC-41DA-B025-39B57BA2FE65}"/>
              </a:ext>
            </a:extLst>
          </p:cNvPr>
          <p:cNvPicPr>
            <a:picLocks noChangeAspect="1"/>
          </p:cNvPicPr>
          <p:nvPr userDrawn="1"/>
        </p:nvPicPr>
        <p:blipFill>
          <a:blip r:embed="rId33">
            <a:extLst>
              <a:ext uri="{96DAC541-7B7A-43D3-8B79-37D633B846F1}">
                <asvg:svgBlip xmlns:asvg="http://schemas.microsoft.com/office/drawing/2016/SVG/main" r:embed="rId34"/>
              </a:ext>
            </a:extLst>
          </a:blip>
          <a:stretch>
            <a:fillRect/>
          </a:stretch>
        </p:blipFill>
        <p:spPr>
          <a:xfrm>
            <a:off x="45443" y="4871963"/>
            <a:ext cx="58992" cy="1828800"/>
          </a:xfrm>
          <a:prstGeom prst="rect">
            <a:avLst/>
          </a:prstGeom>
        </p:spPr>
      </p:pic>
      <p:grpSp>
        <p:nvGrpSpPr>
          <p:cNvPr id="6" name="Group 5">
            <a:extLst>
              <a:ext uri="{FF2B5EF4-FFF2-40B4-BE49-F238E27FC236}">
                <a16:creationId xmlns:a16="http://schemas.microsoft.com/office/drawing/2014/main" id="{CD2F2950-7537-4E6F-B33D-35A19B1AB26A}"/>
              </a:ext>
            </a:extLst>
          </p:cNvPr>
          <p:cNvGrpSpPr/>
          <p:nvPr userDrawn="1"/>
        </p:nvGrpSpPr>
        <p:grpSpPr>
          <a:xfrm>
            <a:off x="0" y="6620256"/>
            <a:ext cx="12188952" cy="237744"/>
            <a:chOff x="0" y="6620256"/>
            <a:chExt cx="12188952" cy="237744"/>
          </a:xfrm>
        </p:grpSpPr>
        <p:sp>
          <p:nvSpPr>
            <p:cNvPr id="75" name="Freeform: Shape 74">
              <a:extLst>
                <a:ext uri="{FF2B5EF4-FFF2-40B4-BE49-F238E27FC236}">
                  <a16:creationId xmlns:a16="http://schemas.microsoft.com/office/drawing/2014/main" id="{CFD1D920-036D-4BCE-A963-9A109BD6E299}"/>
                </a:ext>
              </a:extLst>
            </p:cNvPr>
            <p:cNvSpPr/>
            <p:nvPr userDrawn="1"/>
          </p:nvSpPr>
          <p:spPr>
            <a:xfrm>
              <a:off x="0" y="6624535"/>
              <a:ext cx="12188952" cy="233465"/>
            </a:xfrm>
            <a:custGeom>
              <a:avLst/>
              <a:gdLst>
                <a:gd name="connsiteX0" fmla="*/ 8949770 w 11969877"/>
                <a:gd name="connsiteY0" fmla="*/ 0 h 233465"/>
                <a:gd name="connsiteX1" fmla="*/ 11969877 w 11969877"/>
                <a:gd name="connsiteY1" fmla="*/ 0 h 233465"/>
                <a:gd name="connsiteX2" fmla="*/ 11969877 w 11969877"/>
                <a:gd name="connsiteY2" fmla="*/ 233465 h 233465"/>
                <a:gd name="connsiteX3" fmla="*/ 9027859 w 11969877"/>
                <a:gd name="connsiteY3" fmla="*/ 233465 h 233465"/>
                <a:gd name="connsiteX4" fmla="*/ 1048596 w 11969877"/>
                <a:gd name="connsiteY4" fmla="*/ 233465 h 233465"/>
                <a:gd name="connsiteX5" fmla="*/ 33436 w 11969877"/>
                <a:gd name="connsiteY5" fmla="*/ 233465 h 233465"/>
                <a:gd name="connsiteX6" fmla="*/ 0 w 11969877"/>
                <a:gd name="connsiteY6" fmla="*/ 233465 h 233465"/>
                <a:gd name="connsiteX7" fmla="*/ 0 w 11969877"/>
                <a:gd name="connsiteY7" fmla="*/ 169375 h 233465"/>
                <a:gd name="connsiteX8" fmla="*/ 0 w 11969877"/>
                <a:gd name="connsiteY8" fmla="*/ 126232 h 233465"/>
                <a:gd name="connsiteX9" fmla="*/ 0 w 11969877"/>
                <a:gd name="connsiteY9" fmla="*/ 109891 h 233465"/>
                <a:gd name="connsiteX10" fmla="*/ 8695556 w 11969877"/>
                <a:gd name="connsiteY10" fmla="*/ 109891 h 233465"/>
                <a:gd name="connsiteX11" fmla="*/ 8949770 w 11969877"/>
                <a:gd name="connsiteY11" fmla="*/ 0 h 233465"/>
                <a:gd name="connsiteX0" fmla="*/ 8949770 w 11969877"/>
                <a:gd name="connsiteY0" fmla="*/ 0 h 233465"/>
                <a:gd name="connsiteX1" fmla="*/ 11969877 w 11969877"/>
                <a:gd name="connsiteY1" fmla="*/ 0 h 233465"/>
                <a:gd name="connsiteX2" fmla="*/ 11969877 w 11969877"/>
                <a:gd name="connsiteY2" fmla="*/ 233465 h 233465"/>
                <a:gd name="connsiteX3" fmla="*/ 9027859 w 11969877"/>
                <a:gd name="connsiteY3" fmla="*/ 233465 h 233465"/>
                <a:gd name="connsiteX4" fmla="*/ 1048596 w 11969877"/>
                <a:gd name="connsiteY4" fmla="*/ 233465 h 233465"/>
                <a:gd name="connsiteX5" fmla="*/ 33436 w 11969877"/>
                <a:gd name="connsiteY5" fmla="*/ 233465 h 233465"/>
                <a:gd name="connsiteX6" fmla="*/ 0 w 11969877"/>
                <a:gd name="connsiteY6" fmla="*/ 233465 h 233465"/>
                <a:gd name="connsiteX7" fmla="*/ 0 w 11969877"/>
                <a:gd name="connsiteY7" fmla="*/ 169375 h 233465"/>
                <a:gd name="connsiteX8" fmla="*/ 0 w 11969877"/>
                <a:gd name="connsiteY8" fmla="*/ 126232 h 233465"/>
                <a:gd name="connsiteX9" fmla="*/ 0 w 11969877"/>
                <a:gd name="connsiteY9" fmla="*/ 109891 h 233465"/>
                <a:gd name="connsiteX10" fmla="*/ 8708028 w 11969877"/>
                <a:gd name="connsiteY10" fmla="*/ 141641 h 233465"/>
                <a:gd name="connsiteX11" fmla="*/ 8949770 w 11969877"/>
                <a:gd name="connsiteY11" fmla="*/ 0 h 2334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969877" h="233465">
                  <a:moveTo>
                    <a:pt x="8949770" y="0"/>
                  </a:moveTo>
                  <a:lnTo>
                    <a:pt x="11969877" y="0"/>
                  </a:lnTo>
                  <a:lnTo>
                    <a:pt x="11969877" y="233465"/>
                  </a:lnTo>
                  <a:lnTo>
                    <a:pt x="9027859" y="233465"/>
                  </a:lnTo>
                  <a:lnTo>
                    <a:pt x="1048596" y="233465"/>
                  </a:lnTo>
                  <a:lnTo>
                    <a:pt x="33436" y="233465"/>
                  </a:lnTo>
                  <a:lnTo>
                    <a:pt x="0" y="233465"/>
                  </a:lnTo>
                  <a:lnTo>
                    <a:pt x="0" y="169375"/>
                  </a:lnTo>
                  <a:lnTo>
                    <a:pt x="0" y="126232"/>
                  </a:lnTo>
                  <a:lnTo>
                    <a:pt x="0" y="109891"/>
                  </a:lnTo>
                  <a:lnTo>
                    <a:pt x="8708028" y="141641"/>
                  </a:lnTo>
                  <a:lnTo>
                    <a:pt x="8949770" y="0"/>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Bef>
                  <a:spcPts val="800"/>
                </a:spcBef>
              </a:pPr>
              <a:endParaRPr lang="en-US" sz="1800" dirty="0">
                <a:solidFill>
                  <a:schemeClr val="bg1"/>
                </a:solidFill>
              </a:endParaRPr>
            </a:p>
          </p:txBody>
        </p:sp>
        <p:sp>
          <p:nvSpPr>
            <p:cNvPr id="42" name="Freeform 4">
              <a:extLst>
                <a:ext uri="{FF2B5EF4-FFF2-40B4-BE49-F238E27FC236}">
                  <a16:creationId xmlns:a16="http://schemas.microsoft.com/office/drawing/2014/main" id="{13DF9A9F-26BE-4073-8E1D-B518CB89266F}"/>
                </a:ext>
              </a:extLst>
            </p:cNvPr>
            <p:cNvSpPr>
              <a:spLocks noChangeAspect="1"/>
            </p:cNvSpPr>
            <p:nvPr userDrawn="1"/>
          </p:nvSpPr>
          <p:spPr>
            <a:xfrm>
              <a:off x="8585655" y="6620256"/>
              <a:ext cx="545655" cy="237744"/>
            </a:xfrm>
            <a:custGeom>
              <a:avLst/>
              <a:gdLst>
                <a:gd name="connsiteX0" fmla="*/ 57150 w 1790700"/>
                <a:gd name="connsiteY0" fmla="*/ 0 h 3086100"/>
                <a:gd name="connsiteX1" fmla="*/ 1790700 w 1790700"/>
                <a:gd name="connsiteY1" fmla="*/ 3086100 h 3086100"/>
                <a:gd name="connsiteX2" fmla="*/ 0 w 1790700"/>
                <a:gd name="connsiteY2" fmla="*/ 3067050 h 3086100"/>
                <a:gd name="connsiteX3" fmla="*/ 0 w 1790700"/>
                <a:gd name="connsiteY3" fmla="*/ 0 h 3086100"/>
                <a:gd name="connsiteX4" fmla="*/ 19050 w 1790700"/>
                <a:gd name="connsiteY4" fmla="*/ 38100 h 3086100"/>
                <a:gd name="connsiteX5" fmla="*/ 19050 w 1790700"/>
                <a:gd name="connsiteY5" fmla="*/ 57150 h 3086100"/>
                <a:gd name="connsiteX0" fmla="*/ 57150 w 1790700"/>
                <a:gd name="connsiteY0" fmla="*/ 0 h 3086100"/>
                <a:gd name="connsiteX1" fmla="*/ 1790700 w 1790700"/>
                <a:gd name="connsiteY1" fmla="*/ 3086100 h 3086100"/>
                <a:gd name="connsiteX2" fmla="*/ 0 w 1790700"/>
                <a:gd name="connsiteY2" fmla="*/ 3067050 h 3086100"/>
                <a:gd name="connsiteX3" fmla="*/ 0 w 1790700"/>
                <a:gd name="connsiteY3" fmla="*/ 0 h 3086100"/>
                <a:gd name="connsiteX4" fmla="*/ 19050 w 1790700"/>
                <a:gd name="connsiteY4" fmla="*/ 38100 h 3086100"/>
                <a:gd name="connsiteX0" fmla="*/ 57150 w 1790700"/>
                <a:gd name="connsiteY0" fmla="*/ 0 h 3086100"/>
                <a:gd name="connsiteX1" fmla="*/ 1790700 w 1790700"/>
                <a:gd name="connsiteY1" fmla="*/ 3086100 h 3086100"/>
                <a:gd name="connsiteX2" fmla="*/ 0 w 1790700"/>
                <a:gd name="connsiteY2" fmla="*/ 3067050 h 3086100"/>
                <a:gd name="connsiteX3" fmla="*/ 0 w 1790700"/>
                <a:gd name="connsiteY3" fmla="*/ 0 h 3086100"/>
                <a:gd name="connsiteX0" fmla="*/ 57150 w 1790700"/>
                <a:gd name="connsiteY0" fmla="*/ 0 h 3086100"/>
                <a:gd name="connsiteX1" fmla="*/ 1790700 w 1790700"/>
                <a:gd name="connsiteY1" fmla="*/ 3086100 h 3086100"/>
                <a:gd name="connsiteX2" fmla="*/ 0 w 1790700"/>
                <a:gd name="connsiteY2" fmla="*/ 3067050 h 3086100"/>
                <a:gd name="connsiteX0" fmla="*/ 0 w 1733550"/>
                <a:gd name="connsiteY0" fmla="*/ 0 h 3086100"/>
                <a:gd name="connsiteX1" fmla="*/ 1733550 w 1733550"/>
                <a:gd name="connsiteY1" fmla="*/ 3086100 h 3086100"/>
                <a:gd name="connsiteX2" fmla="*/ 613087 w 1733550"/>
                <a:gd name="connsiteY2" fmla="*/ 3077523 h 3086100"/>
                <a:gd name="connsiteX0" fmla="*/ 245654 w 1120463"/>
                <a:gd name="connsiteY0" fmla="*/ 0 h 1525705"/>
                <a:gd name="connsiteX1" fmla="*/ 1120463 w 1120463"/>
                <a:gd name="connsiteY1" fmla="*/ 1525705 h 1525705"/>
                <a:gd name="connsiteX2" fmla="*/ 0 w 1120463"/>
                <a:gd name="connsiteY2" fmla="*/ 1517128 h 1525705"/>
                <a:gd name="connsiteX0" fmla="*/ 811167 w 1120463"/>
                <a:gd name="connsiteY0" fmla="*/ 0 h 1211531"/>
                <a:gd name="connsiteX1" fmla="*/ 1120463 w 1120463"/>
                <a:gd name="connsiteY1" fmla="*/ 1211531 h 1211531"/>
                <a:gd name="connsiteX2" fmla="*/ 0 w 1120463"/>
                <a:gd name="connsiteY2" fmla="*/ 1202954 h 1211531"/>
                <a:gd name="connsiteX0" fmla="*/ 874002 w 1183298"/>
                <a:gd name="connsiteY0" fmla="*/ 0 h 1213426"/>
                <a:gd name="connsiteX1" fmla="*/ 1183298 w 1183298"/>
                <a:gd name="connsiteY1" fmla="*/ 1211531 h 1213426"/>
                <a:gd name="connsiteX2" fmla="*/ 0 w 1183298"/>
                <a:gd name="connsiteY2" fmla="*/ 1213426 h 1213426"/>
                <a:gd name="connsiteX0" fmla="*/ 857693 w 1166989"/>
                <a:gd name="connsiteY0" fmla="*/ 0 h 1213426"/>
                <a:gd name="connsiteX1" fmla="*/ 1166989 w 1166989"/>
                <a:gd name="connsiteY1" fmla="*/ 1211531 h 1213426"/>
                <a:gd name="connsiteX2" fmla="*/ 0 w 1166989"/>
                <a:gd name="connsiteY2" fmla="*/ 1213426 h 1213426"/>
                <a:gd name="connsiteX0" fmla="*/ 1062735 w 1166989"/>
                <a:gd name="connsiteY0" fmla="*/ 0 h 857667"/>
                <a:gd name="connsiteX1" fmla="*/ 1166989 w 1166989"/>
                <a:gd name="connsiteY1" fmla="*/ 855772 h 857667"/>
                <a:gd name="connsiteX2" fmla="*/ 0 w 1166989"/>
                <a:gd name="connsiteY2" fmla="*/ 857667 h 857667"/>
                <a:gd name="connsiteX0" fmla="*/ 1037104 w 1166989"/>
                <a:gd name="connsiteY0" fmla="*/ 0 h 928818"/>
                <a:gd name="connsiteX1" fmla="*/ 1166989 w 1166989"/>
                <a:gd name="connsiteY1" fmla="*/ 926923 h 928818"/>
                <a:gd name="connsiteX2" fmla="*/ 0 w 1166989"/>
                <a:gd name="connsiteY2" fmla="*/ 928818 h 928818"/>
                <a:gd name="connsiteX0" fmla="*/ 1037104 w 1037104"/>
                <a:gd name="connsiteY0" fmla="*/ 0 h 962499"/>
                <a:gd name="connsiteX1" fmla="*/ 791077 w 1037104"/>
                <a:gd name="connsiteY1" fmla="*/ 962499 h 962499"/>
                <a:gd name="connsiteX2" fmla="*/ 0 w 1037104"/>
                <a:gd name="connsiteY2" fmla="*/ 928818 h 962499"/>
                <a:gd name="connsiteX0" fmla="*/ 1037104 w 1037104"/>
                <a:gd name="connsiteY0" fmla="*/ 0 h 962499"/>
                <a:gd name="connsiteX1" fmla="*/ 791077 w 1037104"/>
                <a:gd name="connsiteY1" fmla="*/ 962499 h 962499"/>
                <a:gd name="connsiteX2" fmla="*/ 0 w 1037104"/>
                <a:gd name="connsiteY2" fmla="*/ 955031 h 962499"/>
                <a:gd name="connsiteX0" fmla="*/ 1046547 w 1046547"/>
                <a:gd name="connsiteY0" fmla="*/ 0 h 949391"/>
                <a:gd name="connsiteX1" fmla="*/ 791077 w 1046547"/>
                <a:gd name="connsiteY1" fmla="*/ 949391 h 949391"/>
                <a:gd name="connsiteX2" fmla="*/ 0 w 1046547"/>
                <a:gd name="connsiteY2" fmla="*/ 941923 h 949391"/>
              </a:gdLst>
              <a:ahLst/>
              <a:cxnLst>
                <a:cxn ang="0">
                  <a:pos x="connsiteX0" y="connsiteY0"/>
                </a:cxn>
                <a:cxn ang="0">
                  <a:pos x="connsiteX1" y="connsiteY1"/>
                </a:cxn>
                <a:cxn ang="0">
                  <a:pos x="connsiteX2" y="connsiteY2"/>
                </a:cxn>
              </a:cxnLst>
              <a:rect l="l" t="t" r="r" b="b"/>
              <a:pathLst>
                <a:path w="1046547" h="949391">
                  <a:moveTo>
                    <a:pt x="1046547" y="0"/>
                  </a:moveTo>
                  <a:lnTo>
                    <a:pt x="791077" y="949391"/>
                  </a:lnTo>
                  <a:lnTo>
                    <a:pt x="0" y="941923"/>
                  </a:lnTo>
                </a:path>
              </a:pathLst>
            </a:custGeom>
            <a:gradFill>
              <a:gsLst>
                <a:gs pos="35000">
                  <a:srgbClr val="6CC04A"/>
                </a:gs>
                <a:gs pos="100000">
                  <a:schemeClr val="bg2">
                    <a:lumMod val="60000"/>
                    <a:lumOff val="4000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FFFFFF"/>
                </a:solidFill>
                <a:effectLst/>
                <a:uLnTx/>
                <a:uFillTx/>
                <a:latin typeface="PTCRaleway" panose="020B0503030101060003" pitchFamily="34" charset="0"/>
                <a:ea typeface="+mn-ea"/>
                <a:cs typeface="+mn-cs"/>
              </a:endParaRPr>
            </a:p>
          </p:txBody>
        </p:sp>
      </p:grpSp>
      <p:sp>
        <p:nvSpPr>
          <p:cNvPr id="117" name="Freeform: Shape 116">
            <a:extLst>
              <a:ext uri="{FF2B5EF4-FFF2-40B4-BE49-F238E27FC236}">
                <a16:creationId xmlns:a16="http://schemas.microsoft.com/office/drawing/2014/main" id="{E24A4945-5D5C-4CE3-AF46-3DACE44E9514}"/>
              </a:ext>
            </a:extLst>
          </p:cNvPr>
          <p:cNvSpPr/>
          <p:nvPr userDrawn="1"/>
        </p:nvSpPr>
        <p:spPr>
          <a:xfrm>
            <a:off x="10100761" y="2762"/>
            <a:ext cx="702181" cy="675861"/>
          </a:xfrm>
          <a:custGeom>
            <a:avLst/>
            <a:gdLst>
              <a:gd name="connsiteX0" fmla="*/ 219875 w 702181"/>
              <a:gd name="connsiteY0" fmla="*/ 0 h 675861"/>
              <a:gd name="connsiteX1" fmla="*/ 570965 w 702181"/>
              <a:gd name="connsiteY1" fmla="*/ 0 h 675861"/>
              <a:gd name="connsiteX2" fmla="*/ 702181 w 702181"/>
              <a:gd name="connsiteY2" fmla="*/ 183874 h 675861"/>
              <a:gd name="connsiteX3" fmla="*/ 351091 w 702181"/>
              <a:gd name="connsiteY3" fmla="*/ 675861 h 675861"/>
              <a:gd name="connsiteX4" fmla="*/ 0 w 702181"/>
              <a:gd name="connsiteY4" fmla="*/ 675861 h 675861"/>
              <a:gd name="connsiteX5" fmla="*/ 351091 w 702181"/>
              <a:gd name="connsiteY5" fmla="*/ 183874 h 675861"/>
              <a:gd name="connsiteX6" fmla="*/ 219875 w 702181"/>
              <a:gd name="connsiteY6" fmla="*/ 0 h 6758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02181" h="675861">
                <a:moveTo>
                  <a:pt x="219875" y="0"/>
                </a:moveTo>
                <a:lnTo>
                  <a:pt x="570965" y="0"/>
                </a:lnTo>
                <a:lnTo>
                  <a:pt x="702181" y="183874"/>
                </a:lnTo>
                <a:lnTo>
                  <a:pt x="351091" y="675861"/>
                </a:lnTo>
                <a:lnTo>
                  <a:pt x="0" y="675861"/>
                </a:lnTo>
                <a:lnTo>
                  <a:pt x="351091" y="183874"/>
                </a:lnTo>
                <a:lnTo>
                  <a:pt x="219875" y="0"/>
                </a:lnTo>
                <a:close/>
              </a:path>
            </a:pathLst>
          </a:custGeom>
          <a:solidFill>
            <a:srgbClr val="C8C9C7">
              <a:alpha val="9000"/>
            </a:srgbClr>
          </a:solid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90000"/>
              </a:lnSpc>
              <a:spcBef>
                <a:spcPts val="80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PTCRaleway"/>
              <a:ea typeface="+mn-ea"/>
              <a:cs typeface="+mn-cs"/>
            </a:endParaRPr>
          </a:p>
        </p:txBody>
      </p:sp>
      <p:sp>
        <p:nvSpPr>
          <p:cNvPr id="119" name="Freeform: Shape 118">
            <a:extLst>
              <a:ext uri="{FF2B5EF4-FFF2-40B4-BE49-F238E27FC236}">
                <a16:creationId xmlns:a16="http://schemas.microsoft.com/office/drawing/2014/main" id="{A4C4021E-2657-42B7-B4E3-54880BAF86D1}"/>
              </a:ext>
            </a:extLst>
          </p:cNvPr>
          <p:cNvSpPr/>
          <p:nvPr userDrawn="1"/>
        </p:nvSpPr>
        <p:spPr>
          <a:xfrm>
            <a:off x="10586568" y="2762"/>
            <a:ext cx="702181" cy="675861"/>
          </a:xfrm>
          <a:custGeom>
            <a:avLst/>
            <a:gdLst>
              <a:gd name="connsiteX0" fmla="*/ 219875 w 702181"/>
              <a:gd name="connsiteY0" fmla="*/ 0 h 675861"/>
              <a:gd name="connsiteX1" fmla="*/ 570965 w 702181"/>
              <a:gd name="connsiteY1" fmla="*/ 0 h 675861"/>
              <a:gd name="connsiteX2" fmla="*/ 702181 w 702181"/>
              <a:gd name="connsiteY2" fmla="*/ 183874 h 675861"/>
              <a:gd name="connsiteX3" fmla="*/ 351091 w 702181"/>
              <a:gd name="connsiteY3" fmla="*/ 675861 h 675861"/>
              <a:gd name="connsiteX4" fmla="*/ 0 w 702181"/>
              <a:gd name="connsiteY4" fmla="*/ 675861 h 675861"/>
              <a:gd name="connsiteX5" fmla="*/ 351091 w 702181"/>
              <a:gd name="connsiteY5" fmla="*/ 183874 h 675861"/>
              <a:gd name="connsiteX6" fmla="*/ 219875 w 702181"/>
              <a:gd name="connsiteY6" fmla="*/ 0 h 6758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02181" h="675861">
                <a:moveTo>
                  <a:pt x="219875" y="0"/>
                </a:moveTo>
                <a:lnTo>
                  <a:pt x="570965" y="0"/>
                </a:lnTo>
                <a:lnTo>
                  <a:pt x="702181" y="183874"/>
                </a:lnTo>
                <a:lnTo>
                  <a:pt x="351091" y="675861"/>
                </a:lnTo>
                <a:lnTo>
                  <a:pt x="0" y="675861"/>
                </a:lnTo>
                <a:lnTo>
                  <a:pt x="351091" y="183874"/>
                </a:lnTo>
                <a:lnTo>
                  <a:pt x="219875" y="0"/>
                </a:lnTo>
                <a:close/>
              </a:path>
            </a:pathLst>
          </a:custGeom>
          <a:solidFill>
            <a:srgbClr val="C8C9C7">
              <a:alpha val="14000"/>
            </a:srgbClr>
          </a:solid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90000"/>
              </a:lnSpc>
              <a:spcBef>
                <a:spcPts val="80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PTCRaleway"/>
              <a:ea typeface="+mn-ea"/>
              <a:cs typeface="+mn-cs"/>
            </a:endParaRPr>
          </a:p>
        </p:txBody>
      </p:sp>
      <p:sp>
        <p:nvSpPr>
          <p:cNvPr id="120" name="Freeform: Shape 119">
            <a:extLst>
              <a:ext uri="{FF2B5EF4-FFF2-40B4-BE49-F238E27FC236}">
                <a16:creationId xmlns:a16="http://schemas.microsoft.com/office/drawing/2014/main" id="{B002BFEA-4620-4793-90D3-45DBE94C2925}"/>
              </a:ext>
            </a:extLst>
          </p:cNvPr>
          <p:cNvSpPr/>
          <p:nvPr userDrawn="1"/>
        </p:nvSpPr>
        <p:spPr>
          <a:xfrm>
            <a:off x="11072375" y="2762"/>
            <a:ext cx="702181" cy="675861"/>
          </a:xfrm>
          <a:custGeom>
            <a:avLst/>
            <a:gdLst>
              <a:gd name="connsiteX0" fmla="*/ 219875 w 702181"/>
              <a:gd name="connsiteY0" fmla="*/ 0 h 675861"/>
              <a:gd name="connsiteX1" fmla="*/ 570965 w 702181"/>
              <a:gd name="connsiteY1" fmla="*/ 0 h 675861"/>
              <a:gd name="connsiteX2" fmla="*/ 702181 w 702181"/>
              <a:gd name="connsiteY2" fmla="*/ 183874 h 675861"/>
              <a:gd name="connsiteX3" fmla="*/ 351091 w 702181"/>
              <a:gd name="connsiteY3" fmla="*/ 675861 h 675861"/>
              <a:gd name="connsiteX4" fmla="*/ 0 w 702181"/>
              <a:gd name="connsiteY4" fmla="*/ 675861 h 675861"/>
              <a:gd name="connsiteX5" fmla="*/ 351091 w 702181"/>
              <a:gd name="connsiteY5" fmla="*/ 183874 h 675861"/>
              <a:gd name="connsiteX6" fmla="*/ 219875 w 702181"/>
              <a:gd name="connsiteY6" fmla="*/ 0 h 6758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02181" h="675861">
                <a:moveTo>
                  <a:pt x="219875" y="0"/>
                </a:moveTo>
                <a:lnTo>
                  <a:pt x="570965" y="0"/>
                </a:lnTo>
                <a:lnTo>
                  <a:pt x="702181" y="183874"/>
                </a:lnTo>
                <a:lnTo>
                  <a:pt x="351091" y="675861"/>
                </a:lnTo>
                <a:lnTo>
                  <a:pt x="0" y="675861"/>
                </a:lnTo>
                <a:lnTo>
                  <a:pt x="351091" y="183874"/>
                </a:lnTo>
                <a:lnTo>
                  <a:pt x="219875" y="0"/>
                </a:lnTo>
                <a:close/>
              </a:path>
            </a:pathLst>
          </a:custGeom>
          <a:solidFill>
            <a:srgbClr val="C8C9C7">
              <a:alpha val="20000"/>
            </a:srgbClr>
          </a:solid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90000"/>
              </a:lnSpc>
              <a:spcBef>
                <a:spcPts val="80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PTCRaleway"/>
              <a:ea typeface="+mn-ea"/>
              <a:cs typeface="+mn-cs"/>
            </a:endParaRPr>
          </a:p>
        </p:txBody>
      </p:sp>
      <p:grpSp>
        <p:nvGrpSpPr>
          <p:cNvPr id="123" name="Graphic 42">
            <a:extLst>
              <a:ext uri="{FF2B5EF4-FFF2-40B4-BE49-F238E27FC236}">
                <a16:creationId xmlns:a16="http://schemas.microsoft.com/office/drawing/2014/main" id="{C9CE943F-D82F-4669-9376-BFAC04830ABD}"/>
              </a:ext>
            </a:extLst>
          </p:cNvPr>
          <p:cNvGrpSpPr/>
          <p:nvPr userDrawn="1"/>
        </p:nvGrpSpPr>
        <p:grpSpPr>
          <a:xfrm flipV="1">
            <a:off x="11042268" y="241617"/>
            <a:ext cx="907034" cy="112903"/>
            <a:chOff x="10978768" y="6357873"/>
            <a:chExt cx="907034" cy="112903"/>
          </a:xfrm>
          <a:solidFill>
            <a:srgbClr val="B8B7B9"/>
          </a:solidFill>
        </p:grpSpPr>
        <p:sp>
          <p:nvSpPr>
            <p:cNvPr id="133" name="Freeform: Shape 132">
              <a:extLst>
                <a:ext uri="{FF2B5EF4-FFF2-40B4-BE49-F238E27FC236}">
                  <a16:creationId xmlns:a16="http://schemas.microsoft.com/office/drawing/2014/main" id="{453F8F07-CF6E-45C8-AC20-6B8B79C580CF}"/>
                </a:ext>
              </a:extLst>
            </p:cNvPr>
            <p:cNvSpPr/>
            <p:nvPr/>
          </p:nvSpPr>
          <p:spPr>
            <a:xfrm>
              <a:off x="10978768" y="6393878"/>
              <a:ext cx="16447" cy="76898"/>
            </a:xfrm>
            <a:custGeom>
              <a:avLst/>
              <a:gdLst>
                <a:gd name="connsiteX0" fmla="*/ 0 w 16447"/>
                <a:gd name="connsiteY0" fmla="*/ 76899 h 76898"/>
                <a:gd name="connsiteX1" fmla="*/ 0 w 16447"/>
                <a:gd name="connsiteY1" fmla="*/ 0 h 76898"/>
                <a:gd name="connsiteX2" fmla="*/ 16447 w 16447"/>
                <a:gd name="connsiteY2" fmla="*/ 0 h 76898"/>
                <a:gd name="connsiteX3" fmla="*/ 16447 w 16447"/>
                <a:gd name="connsiteY3" fmla="*/ 76899 h 76898"/>
                <a:gd name="connsiteX4" fmla="*/ 0 w 16447"/>
                <a:gd name="connsiteY4" fmla="*/ 76899 h 768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447" h="76898">
                  <a:moveTo>
                    <a:pt x="0" y="76899"/>
                  </a:moveTo>
                  <a:lnTo>
                    <a:pt x="0" y="0"/>
                  </a:lnTo>
                  <a:lnTo>
                    <a:pt x="16447" y="0"/>
                  </a:lnTo>
                  <a:lnTo>
                    <a:pt x="16447" y="76899"/>
                  </a:lnTo>
                  <a:lnTo>
                    <a:pt x="0" y="76899"/>
                  </a:lnTo>
                  <a:close/>
                </a:path>
              </a:pathLst>
            </a:custGeom>
            <a:solidFill>
              <a:srgbClr val="B8B7B9"/>
            </a:solidFill>
            <a:ln w="6350"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D4647"/>
                </a:solidFill>
                <a:effectLst/>
                <a:uLnTx/>
                <a:uFillTx/>
              </a:endParaRPr>
            </a:p>
          </p:txBody>
        </p:sp>
        <p:sp>
          <p:nvSpPr>
            <p:cNvPr id="134" name="Freeform: Shape 133">
              <a:extLst>
                <a:ext uri="{FF2B5EF4-FFF2-40B4-BE49-F238E27FC236}">
                  <a16:creationId xmlns:a16="http://schemas.microsoft.com/office/drawing/2014/main" id="{CED4C5C8-A7FC-4FB8-8D39-41B48E71D318}"/>
                </a:ext>
              </a:extLst>
            </p:cNvPr>
            <p:cNvSpPr/>
            <p:nvPr/>
          </p:nvSpPr>
          <p:spPr>
            <a:xfrm>
              <a:off x="11041824" y="6393878"/>
              <a:ext cx="16446" cy="76898"/>
            </a:xfrm>
            <a:custGeom>
              <a:avLst/>
              <a:gdLst>
                <a:gd name="connsiteX0" fmla="*/ 0 w 16446"/>
                <a:gd name="connsiteY0" fmla="*/ 76899 h 76898"/>
                <a:gd name="connsiteX1" fmla="*/ 0 w 16446"/>
                <a:gd name="connsiteY1" fmla="*/ 0 h 76898"/>
                <a:gd name="connsiteX2" fmla="*/ 16446 w 16446"/>
                <a:gd name="connsiteY2" fmla="*/ 0 h 76898"/>
                <a:gd name="connsiteX3" fmla="*/ 16446 w 16446"/>
                <a:gd name="connsiteY3" fmla="*/ 76899 h 76898"/>
                <a:gd name="connsiteX4" fmla="*/ 0 w 16446"/>
                <a:gd name="connsiteY4" fmla="*/ 76899 h 768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446" h="76898">
                  <a:moveTo>
                    <a:pt x="0" y="76899"/>
                  </a:moveTo>
                  <a:lnTo>
                    <a:pt x="0" y="0"/>
                  </a:lnTo>
                  <a:lnTo>
                    <a:pt x="16446" y="0"/>
                  </a:lnTo>
                  <a:lnTo>
                    <a:pt x="16446" y="76899"/>
                  </a:lnTo>
                  <a:lnTo>
                    <a:pt x="0" y="76899"/>
                  </a:lnTo>
                  <a:close/>
                </a:path>
              </a:pathLst>
            </a:custGeom>
            <a:solidFill>
              <a:srgbClr val="B8B7B9"/>
            </a:solidFill>
            <a:ln w="6350"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D4647"/>
                </a:solidFill>
                <a:effectLst/>
                <a:uLnTx/>
                <a:uFillTx/>
              </a:endParaRPr>
            </a:p>
          </p:txBody>
        </p:sp>
        <p:sp>
          <p:nvSpPr>
            <p:cNvPr id="135" name="Freeform: Shape 134">
              <a:extLst>
                <a:ext uri="{FF2B5EF4-FFF2-40B4-BE49-F238E27FC236}">
                  <a16:creationId xmlns:a16="http://schemas.microsoft.com/office/drawing/2014/main" id="{3875CC80-2EE3-44A2-AB9F-821C5BE5D095}"/>
                </a:ext>
              </a:extLst>
            </p:cNvPr>
            <p:cNvSpPr/>
            <p:nvPr/>
          </p:nvSpPr>
          <p:spPr>
            <a:xfrm>
              <a:off x="11104880" y="6393878"/>
              <a:ext cx="16446" cy="76898"/>
            </a:xfrm>
            <a:custGeom>
              <a:avLst/>
              <a:gdLst>
                <a:gd name="connsiteX0" fmla="*/ 0 w 16446"/>
                <a:gd name="connsiteY0" fmla="*/ 76899 h 76898"/>
                <a:gd name="connsiteX1" fmla="*/ 0 w 16446"/>
                <a:gd name="connsiteY1" fmla="*/ 0 h 76898"/>
                <a:gd name="connsiteX2" fmla="*/ 16446 w 16446"/>
                <a:gd name="connsiteY2" fmla="*/ 0 h 76898"/>
                <a:gd name="connsiteX3" fmla="*/ 16446 w 16446"/>
                <a:gd name="connsiteY3" fmla="*/ 76899 h 76898"/>
                <a:gd name="connsiteX4" fmla="*/ 0 w 16446"/>
                <a:gd name="connsiteY4" fmla="*/ 76899 h 768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446" h="76898">
                  <a:moveTo>
                    <a:pt x="0" y="76899"/>
                  </a:moveTo>
                  <a:lnTo>
                    <a:pt x="0" y="0"/>
                  </a:lnTo>
                  <a:lnTo>
                    <a:pt x="16446" y="0"/>
                  </a:lnTo>
                  <a:lnTo>
                    <a:pt x="16446" y="76899"/>
                  </a:lnTo>
                  <a:lnTo>
                    <a:pt x="0" y="76899"/>
                  </a:lnTo>
                  <a:close/>
                </a:path>
              </a:pathLst>
            </a:custGeom>
            <a:solidFill>
              <a:srgbClr val="B8B7B9"/>
            </a:solidFill>
            <a:ln w="6350"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D4647"/>
                </a:solidFill>
                <a:effectLst/>
                <a:uLnTx/>
                <a:uFillTx/>
              </a:endParaRPr>
            </a:p>
          </p:txBody>
        </p:sp>
        <p:sp>
          <p:nvSpPr>
            <p:cNvPr id="136" name="Freeform: Shape 135">
              <a:extLst>
                <a:ext uri="{FF2B5EF4-FFF2-40B4-BE49-F238E27FC236}">
                  <a16:creationId xmlns:a16="http://schemas.microsoft.com/office/drawing/2014/main" id="{CA54CFE8-6216-4380-A4C8-B1D07F3A1D94}"/>
                </a:ext>
              </a:extLst>
            </p:cNvPr>
            <p:cNvSpPr/>
            <p:nvPr/>
          </p:nvSpPr>
          <p:spPr>
            <a:xfrm>
              <a:off x="11167998" y="6357873"/>
              <a:ext cx="16382" cy="112903"/>
            </a:xfrm>
            <a:custGeom>
              <a:avLst/>
              <a:gdLst>
                <a:gd name="connsiteX0" fmla="*/ 0 w 16382"/>
                <a:gd name="connsiteY0" fmla="*/ 112903 h 112903"/>
                <a:gd name="connsiteX1" fmla="*/ 0 w 16382"/>
                <a:gd name="connsiteY1" fmla="*/ 0 h 112903"/>
                <a:gd name="connsiteX2" fmla="*/ 16383 w 16382"/>
                <a:gd name="connsiteY2" fmla="*/ 0 h 112903"/>
                <a:gd name="connsiteX3" fmla="*/ 16383 w 16382"/>
                <a:gd name="connsiteY3" fmla="*/ 112903 h 112903"/>
                <a:gd name="connsiteX4" fmla="*/ 0 w 16382"/>
                <a:gd name="connsiteY4" fmla="*/ 112903 h 1129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382" h="112903">
                  <a:moveTo>
                    <a:pt x="0" y="112903"/>
                  </a:moveTo>
                  <a:lnTo>
                    <a:pt x="0" y="0"/>
                  </a:lnTo>
                  <a:lnTo>
                    <a:pt x="16383" y="0"/>
                  </a:lnTo>
                  <a:lnTo>
                    <a:pt x="16383" y="112903"/>
                  </a:lnTo>
                  <a:lnTo>
                    <a:pt x="0" y="112903"/>
                  </a:lnTo>
                  <a:close/>
                </a:path>
              </a:pathLst>
            </a:custGeom>
            <a:solidFill>
              <a:srgbClr val="B8B7B9"/>
            </a:solidFill>
            <a:ln w="6350"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D4647"/>
                </a:solidFill>
                <a:effectLst/>
                <a:uLnTx/>
                <a:uFillTx/>
              </a:endParaRPr>
            </a:p>
          </p:txBody>
        </p:sp>
        <p:sp>
          <p:nvSpPr>
            <p:cNvPr id="137" name="Freeform: Shape 136">
              <a:extLst>
                <a:ext uri="{FF2B5EF4-FFF2-40B4-BE49-F238E27FC236}">
                  <a16:creationId xmlns:a16="http://schemas.microsoft.com/office/drawing/2014/main" id="{2DEB6F89-07F4-4D3B-AB30-B973E58262D7}"/>
                </a:ext>
              </a:extLst>
            </p:cNvPr>
            <p:cNvSpPr/>
            <p:nvPr/>
          </p:nvSpPr>
          <p:spPr>
            <a:xfrm>
              <a:off x="11233594" y="6393878"/>
              <a:ext cx="16447" cy="76898"/>
            </a:xfrm>
            <a:custGeom>
              <a:avLst/>
              <a:gdLst>
                <a:gd name="connsiteX0" fmla="*/ 0 w 16447"/>
                <a:gd name="connsiteY0" fmla="*/ 76899 h 76898"/>
                <a:gd name="connsiteX1" fmla="*/ 0 w 16447"/>
                <a:gd name="connsiteY1" fmla="*/ 0 h 76898"/>
                <a:gd name="connsiteX2" fmla="*/ 16447 w 16447"/>
                <a:gd name="connsiteY2" fmla="*/ 0 h 76898"/>
                <a:gd name="connsiteX3" fmla="*/ 16447 w 16447"/>
                <a:gd name="connsiteY3" fmla="*/ 76899 h 76898"/>
                <a:gd name="connsiteX4" fmla="*/ 0 w 16447"/>
                <a:gd name="connsiteY4" fmla="*/ 76899 h 768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447" h="76898">
                  <a:moveTo>
                    <a:pt x="0" y="76899"/>
                  </a:moveTo>
                  <a:lnTo>
                    <a:pt x="0" y="0"/>
                  </a:lnTo>
                  <a:lnTo>
                    <a:pt x="16447" y="0"/>
                  </a:lnTo>
                  <a:lnTo>
                    <a:pt x="16447" y="76899"/>
                  </a:lnTo>
                  <a:lnTo>
                    <a:pt x="0" y="76899"/>
                  </a:lnTo>
                  <a:close/>
                </a:path>
              </a:pathLst>
            </a:custGeom>
            <a:solidFill>
              <a:srgbClr val="B8B7B9"/>
            </a:solidFill>
            <a:ln w="6350"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D4647"/>
                </a:solidFill>
                <a:effectLst/>
                <a:uLnTx/>
                <a:uFillTx/>
              </a:endParaRPr>
            </a:p>
          </p:txBody>
        </p:sp>
        <p:sp>
          <p:nvSpPr>
            <p:cNvPr id="138" name="Freeform: Shape 137">
              <a:extLst>
                <a:ext uri="{FF2B5EF4-FFF2-40B4-BE49-F238E27FC236}">
                  <a16:creationId xmlns:a16="http://schemas.microsoft.com/office/drawing/2014/main" id="{87673452-EAA0-4D54-9838-821974179A52}"/>
                </a:ext>
              </a:extLst>
            </p:cNvPr>
            <p:cNvSpPr/>
            <p:nvPr/>
          </p:nvSpPr>
          <p:spPr>
            <a:xfrm>
              <a:off x="11488419" y="6393878"/>
              <a:ext cx="16447" cy="76898"/>
            </a:xfrm>
            <a:custGeom>
              <a:avLst/>
              <a:gdLst>
                <a:gd name="connsiteX0" fmla="*/ 0 w 16447"/>
                <a:gd name="connsiteY0" fmla="*/ 76899 h 76898"/>
                <a:gd name="connsiteX1" fmla="*/ 0 w 16447"/>
                <a:gd name="connsiteY1" fmla="*/ 0 h 76898"/>
                <a:gd name="connsiteX2" fmla="*/ 16447 w 16447"/>
                <a:gd name="connsiteY2" fmla="*/ 0 h 76898"/>
                <a:gd name="connsiteX3" fmla="*/ 16447 w 16447"/>
                <a:gd name="connsiteY3" fmla="*/ 76899 h 76898"/>
                <a:gd name="connsiteX4" fmla="*/ 0 w 16447"/>
                <a:gd name="connsiteY4" fmla="*/ 76899 h 768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447" h="76898">
                  <a:moveTo>
                    <a:pt x="0" y="76899"/>
                  </a:moveTo>
                  <a:lnTo>
                    <a:pt x="0" y="0"/>
                  </a:lnTo>
                  <a:lnTo>
                    <a:pt x="16447" y="0"/>
                  </a:lnTo>
                  <a:lnTo>
                    <a:pt x="16447" y="76899"/>
                  </a:lnTo>
                  <a:lnTo>
                    <a:pt x="0" y="76899"/>
                  </a:lnTo>
                  <a:close/>
                </a:path>
              </a:pathLst>
            </a:custGeom>
            <a:solidFill>
              <a:srgbClr val="B8B7B9"/>
            </a:solidFill>
            <a:ln w="6350"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D4647"/>
                </a:solidFill>
                <a:effectLst/>
                <a:uLnTx/>
                <a:uFillTx/>
              </a:endParaRPr>
            </a:p>
          </p:txBody>
        </p:sp>
        <p:sp>
          <p:nvSpPr>
            <p:cNvPr id="139" name="Freeform: Shape 138">
              <a:extLst>
                <a:ext uri="{FF2B5EF4-FFF2-40B4-BE49-F238E27FC236}">
                  <a16:creationId xmlns:a16="http://schemas.microsoft.com/office/drawing/2014/main" id="{90AC6EB6-1C9C-4556-8400-349BEA629D3A}"/>
                </a:ext>
              </a:extLst>
            </p:cNvPr>
            <p:cNvSpPr/>
            <p:nvPr/>
          </p:nvSpPr>
          <p:spPr>
            <a:xfrm>
              <a:off x="11743245" y="6393878"/>
              <a:ext cx="16447" cy="76898"/>
            </a:xfrm>
            <a:custGeom>
              <a:avLst/>
              <a:gdLst>
                <a:gd name="connsiteX0" fmla="*/ 0 w 16447"/>
                <a:gd name="connsiteY0" fmla="*/ 76899 h 76898"/>
                <a:gd name="connsiteX1" fmla="*/ 0 w 16447"/>
                <a:gd name="connsiteY1" fmla="*/ 0 h 76898"/>
                <a:gd name="connsiteX2" fmla="*/ 16447 w 16447"/>
                <a:gd name="connsiteY2" fmla="*/ 0 h 76898"/>
                <a:gd name="connsiteX3" fmla="*/ 16447 w 16447"/>
                <a:gd name="connsiteY3" fmla="*/ 76899 h 76898"/>
                <a:gd name="connsiteX4" fmla="*/ 0 w 16447"/>
                <a:gd name="connsiteY4" fmla="*/ 76899 h 768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447" h="76898">
                  <a:moveTo>
                    <a:pt x="0" y="76899"/>
                  </a:moveTo>
                  <a:lnTo>
                    <a:pt x="0" y="0"/>
                  </a:lnTo>
                  <a:lnTo>
                    <a:pt x="16447" y="0"/>
                  </a:lnTo>
                  <a:lnTo>
                    <a:pt x="16447" y="76899"/>
                  </a:lnTo>
                  <a:lnTo>
                    <a:pt x="0" y="76899"/>
                  </a:lnTo>
                  <a:close/>
                </a:path>
              </a:pathLst>
            </a:custGeom>
            <a:solidFill>
              <a:srgbClr val="B8B7B9"/>
            </a:solidFill>
            <a:ln w="6350"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D4647"/>
                </a:solidFill>
                <a:effectLst/>
                <a:uLnTx/>
                <a:uFillTx/>
              </a:endParaRPr>
            </a:p>
          </p:txBody>
        </p:sp>
        <p:sp>
          <p:nvSpPr>
            <p:cNvPr id="140" name="Freeform: Shape 139">
              <a:extLst>
                <a:ext uri="{FF2B5EF4-FFF2-40B4-BE49-F238E27FC236}">
                  <a16:creationId xmlns:a16="http://schemas.microsoft.com/office/drawing/2014/main" id="{799D2756-4A52-4726-8D71-E99F167C5929}"/>
                </a:ext>
              </a:extLst>
            </p:cNvPr>
            <p:cNvSpPr/>
            <p:nvPr/>
          </p:nvSpPr>
          <p:spPr>
            <a:xfrm>
              <a:off x="11296650" y="6393878"/>
              <a:ext cx="16446" cy="76898"/>
            </a:xfrm>
            <a:custGeom>
              <a:avLst/>
              <a:gdLst>
                <a:gd name="connsiteX0" fmla="*/ 0 w 16446"/>
                <a:gd name="connsiteY0" fmla="*/ 76899 h 76898"/>
                <a:gd name="connsiteX1" fmla="*/ 0 w 16446"/>
                <a:gd name="connsiteY1" fmla="*/ 0 h 76898"/>
                <a:gd name="connsiteX2" fmla="*/ 16446 w 16446"/>
                <a:gd name="connsiteY2" fmla="*/ 0 h 76898"/>
                <a:gd name="connsiteX3" fmla="*/ 16446 w 16446"/>
                <a:gd name="connsiteY3" fmla="*/ 76899 h 76898"/>
                <a:gd name="connsiteX4" fmla="*/ 0 w 16446"/>
                <a:gd name="connsiteY4" fmla="*/ 76899 h 768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446" h="76898">
                  <a:moveTo>
                    <a:pt x="0" y="76899"/>
                  </a:moveTo>
                  <a:lnTo>
                    <a:pt x="0" y="0"/>
                  </a:lnTo>
                  <a:lnTo>
                    <a:pt x="16446" y="0"/>
                  </a:lnTo>
                  <a:lnTo>
                    <a:pt x="16446" y="76899"/>
                  </a:lnTo>
                  <a:lnTo>
                    <a:pt x="0" y="76899"/>
                  </a:lnTo>
                  <a:close/>
                </a:path>
              </a:pathLst>
            </a:custGeom>
            <a:solidFill>
              <a:srgbClr val="B8B7B9"/>
            </a:solidFill>
            <a:ln w="6350"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D4647"/>
                </a:solidFill>
                <a:effectLst/>
                <a:uLnTx/>
                <a:uFillTx/>
              </a:endParaRPr>
            </a:p>
          </p:txBody>
        </p:sp>
        <p:sp>
          <p:nvSpPr>
            <p:cNvPr id="141" name="Freeform: Shape 140">
              <a:extLst>
                <a:ext uri="{FF2B5EF4-FFF2-40B4-BE49-F238E27FC236}">
                  <a16:creationId xmlns:a16="http://schemas.microsoft.com/office/drawing/2014/main" id="{AA3E8461-8537-49BD-B1CD-2CA140B8BF1F}"/>
                </a:ext>
              </a:extLst>
            </p:cNvPr>
            <p:cNvSpPr/>
            <p:nvPr/>
          </p:nvSpPr>
          <p:spPr>
            <a:xfrm>
              <a:off x="11551475" y="6393878"/>
              <a:ext cx="16446" cy="76898"/>
            </a:xfrm>
            <a:custGeom>
              <a:avLst/>
              <a:gdLst>
                <a:gd name="connsiteX0" fmla="*/ 0 w 16446"/>
                <a:gd name="connsiteY0" fmla="*/ 76899 h 76898"/>
                <a:gd name="connsiteX1" fmla="*/ 0 w 16446"/>
                <a:gd name="connsiteY1" fmla="*/ 0 h 76898"/>
                <a:gd name="connsiteX2" fmla="*/ 16446 w 16446"/>
                <a:gd name="connsiteY2" fmla="*/ 0 h 76898"/>
                <a:gd name="connsiteX3" fmla="*/ 16446 w 16446"/>
                <a:gd name="connsiteY3" fmla="*/ 76899 h 76898"/>
                <a:gd name="connsiteX4" fmla="*/ 0 w 16446"/>
                <a:gd name="connsiteY4" fmla="*/ 76899 h 768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446" h="76898">
                  <a:moveTo>
                    <a:pt x="0" y="76899"/>
                  </a:moveTo>
                  <a:lnTo>
                    <a:pt x="0" y="0"/>
                  </a:lnTo>
                  <a:lnTo>
                    <a:pt x="16446" y="0"/>
                  </a:lnTo>
                  <a:lnTo>
                    <a:pt x="16446" y="76899"/>
                  </a:lnTo>
                  <a:lnTo>
                    <a:pt x="0" y="76899"/>
                  </a:lnTo>
                  <a:close/>
                </a:path>
              </a:pathLst>
            </a:custGeom>
            <a:solidFill>
              <a:srgbClr val="B8B7B9"/>
            </a:solidFill>
            <a:ln w="6350"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D4647"/>
                </a:solidFill>
                <a:effectLst/>
                <a:uLnTx/>
                <a:uFillTx/>
              </a:endParaRPr>
            </a:p>
          </p:txBody>
        </p:sp>
        <p:sp>
          <p:nvSpPr>
            <p:cNvPr id="142" name="Freeform: Shape 141">
              <a:extLst>
                <a:ext uri="{FF2B5EF4-FFF2-40B4-BE49-F238E27FC236}">
                  <a16:creationId xmlns:a16="http://schemas.microsoft.com/office/drawing/2014/main" id="{8B9D7C9B-8424-4A76-9E58-BA4DF16F73C4}"/>
                </a:ext>
              </a:extLst>
            </p:cNvPr>
            <p:cNvSpPr/>
            <p:nvPr/>
          </p:nvSpPr>
          <p:spPr>
            <a:xfrm>
              <a:off x="11806301" y="6393878"/>
              <a:ext cx="16446" cy="76898"/>
            </a:xfrm>
            <a:custGeom>
              <a:avLst/>
              <a:gdLst>
                <a:gd name="connsiteX0" fmla="*/ 0 w 16446"/>
                <a:gd name="connsiteY0" fmla="*/ 76899 h 76898"/>
                <a:gd name="connsiteX1" fmla="*/ 0 w 16446"/>
                <a:gd name="connsiteY1" fmla="*/ 0 h 76898"/>
                <a:gd name="connsiteX2" fmla="*/ 16446 w 16446"/>
                <a:gd name="connsiteY2" fmla="*/ 0 h 76898"/>
                <a:gd name="connsiteX3" fmla="*/ 16446 w 16446"/>
                <a:gd name="connsiteY3" fmla="*/ 76899 h 76898"/>
                <a:gd name="connsiteX4" fmla="*/ 0 w 16446"/>
                <a:gd name="connsiteY4" fmla="*/ 76899 h 768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446" h="76898">
                  <a:moveTo>
                    <a:pt x="0" y="76899"/>
                  </a:moveTo>
                  <a:lnTo>
                    <a:pt x="0" y="0"/>
                  </a:lnTo>
                  <a:lnTo>
                    <a:pt x="16446" y="0"/>
                  </a:lnTo>
                  <a:lnTo>
                    <a:pt x="16446" y="76899"/>
                  </a:lnTo>
                  <a:lnTo>
                    <a:pt x="0" y="76899"/>
                  </a:lnTo>
                  <a:close/>
                </a:path>
              </a:pathLst>
            </a:custGeom>
            <a:solidFill>
              <a:srgbClr val="B8B7B9"/>
            </a:solidFill>
            <a:ln w="6350"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D4647"/>
                </a:solidFill>
                <a:effectLst/>
                <a:uLnTx/>
                <a:uFillTx/>
              </a:endParaRPr>
            </a:p>
          </p:txBody>
        </p:sp>
        <p:sp>
          <p:nvSpPr>
            <p:cNvPr id="143" name="Freeform: Shape 142">
              <a:extLst>
                <a:ext uri="{FF2B5EF4-FFF2-40B4-BE49-F238E27FC236}">
                  <a16:creationId xmlns:a16="http://schemas.microsoft.com/office/drawing/2014/main" id="{A38571FC-9C89-46B5-8ACE-9F8A6C07C555}"/>
                </a:ext>
              </a:extLst>
            </p:cNvPr>
            <p:cNvSpPr/>
            <p:nvPr/>
          </p:nvSpPr>
          <p:spPr>
            <a:xfrm>
              <a:off x="11359705" y="6393878"/>
              <a:ext cx="16446" cy="76898"/>
            </a:xfrm>
            <a:custGeom>
              <a:avLst/>
              <a:gdLst>
                <a:gd name="connsiteX0" fmla="*/ 0 w 16446"/>
                <a:gd name="connsiteY0" fmla="*/ 76899 h 76898"/>
                <a:gd name="connsiteX1" fmla="*/ 0 w 16446"/>
                <a:gd name="connsiteY1" fmla="*/ 0 h 76898"/>
                <a:gd name="connsiteX2" fmla="*/ 16446 w 16446"/>
                <a:gd name="connsiteY2" fmla="*/ 0 h 76898"/>
                <a:gd name="connsiteX3" fmla="*/ 16446 w 16446"/>
                <a:gd name="connsiteY3" fmla="*/ 76899 h 76898"/>
                <a:gd name="connsiteX4" fmla="*/ 0 w 16446"/>
                <a:gd name="connsiteY4" fmla="*/ 76899 h 768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446" h="76898">
                  <a:moveTo>
                    <a:pt x="0" y="76899"/>
                  </a:moveTo>
                  <a:lnTo>
                    <a:pt x="0" y="0"/>
                  </a:lnTo>
                  <a:lnTo>
                    <a:pt x="16446" y="0"/>
                  </a:lnTo>
                  <a:lnTo>
                    <a:pt x="16446" y="76899"/>
                  </a:lnTo>
                  <a:lnTo>
                    <a:pt x="0" y="76899"/>
                  </a:lnTo>
                  <a:close/>
                </a:path>
              </a:pathLst>
            </a:custGeom>
            <a:solidFill>
              <a:srgbClr val="B8B7B9"/>
            </a:solidFill>
            <a:ln w="6350"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D4647"/>
                </a:solidFill>
                <a:effectLst/>
                <a:uLnTx/>
                <a:uFillTx/>
              </a:endParaRPr>
            </a:p>
          </p:txBody>
        </p:sp>
        <p:sp>
          <p:nvSpPr>
            <p:cNvPr id="144" name="Freeform: Shape 143">
              <a:extLst>
                <a:ext uri="{FF2B5EF4-FFF2-40B4-BE49-F238E27FC236}">
                  <a16:creationId xmlns:a16="http://schemas.microsoft.com/office/drawing/2014/main" id="{AE89493A-0CA0-47AE-84F9-23996CC80A99}"/>
                </a:ext>
              </a:extLst>
            </p:cNvPr>
            <p:cNvSpPr/>
            <p:nvPr/>
          </p:nvSpPr>
          <p:spPr>
            <a:xfrm>
              <a:off x="11614594" y="6393878"/>
              <a:ext cx="16383" cy="76898"/>
            </a:xfrm>
            <a:custGeom>
              <a:avLst/>
              <a:gdLst>
                <a:gd name="connsiteX0" fmla="*/ 0 w 16383"/>
                <a:gd name="connsiteY0" fmla="*/ 76899 h 76898"/>
                <a:gd name="connsiteX1" fmla="*/ 0 w 16383"/>
                <a:gd name="connsiteY1" fmla="*/ 0 h 76898"/>
                <a:gd name="connsiteX2" fmla="*/ 16383 w 16383"/>
                <a:gd name="connsiteY2" fmla="*/ 0 h 76898"/>
                <a:gd name="connsiteX3" fmla="*/ 16383 w 16383"/>
                <a:gd name="connsiteY3" fmla="*/ 76899 h 76898"/>
                <a:gd name="connsiteX4" fmla="*/ 0 w 16383"/>
                <a:gd name="connsiteY4" fmla="*/ 76899 h 768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383" h="76898">
                  <a:moveTo>
                    <a:pt x="0" y="76899"/>
                  </a:moveTo>
                  <a:lnTo>
                    <a:pt x="0" y="0"/>
                  </a:lnTo>
                  <a:lnTo>
                    <a:pt x="16383" y="0"/>
                  </a:lnTo>
                  <a:lnTo>
                    <a:pt x="16383" y="76899"/>
                  </a:lnTo>
                  <a:lnTo>
                    <a:pt x="0" y="76899"/>
                  </a:lnTo>
                  <a:close/>
                </a:path>
              </a:pathLst>
            </a:custGeom>
            <a:solidFill>
              <a:srgbClr val="B8B7B9"/>
            </a:solidFill>
            <a:ln w="6350"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D4647"/>
                </a:solidFill>
                <a:effectLst/>
                <a:uLnTx/>
                <a:uFillTx/>
              </a:endParaRPr>
            </a:p>
          </p:txBody>
        </p:sp>
        <p:sp>
          <p:nvSpPr>
            <p:cNvPr id="145" name="Freeform: Shape 144">
              <a:extLst>
                <a:ext uri="{FF2B5EF4-FFF2-40B4-BE49-F238E27FC236}">
                  <a16:creationId xmlns:a16="http://schemas.microsoft.com/office/drawing/2014/main" id="{C865DC70-EE04-478F-B674-FEF9458E11FF}"/>
                </a:ext>
              </a:extLst>
            </p:cNvPr>
            <p:cNvSpPr/>
            <p:nvPr/>
          </p:nvSpPr>
          <p:spPr>
            <a:xfrm>
              <a:off x="11869419" y="6393878"/>
              <a:ext cx="16383" cy="76898"/>
            </a:xfrm>
            <a:custGeom>
              <a:avLst/>
              <a:gdLst>
                <a:gd name="connsiteX0" fmla="*/ 0 w 16383"/>
                <a:gd name="connsiteY0" fmla="*/ 76899 h 76898"/>
                <a:gd name="connsiteX1" fmla="*/ 0 w 16383"/>
                <a:gd name="connsiteY1" fmla="*/ 0 h 76898"/>
                <a:gd name="connsiteX2" fmla="*/ 16383 w 16383"/>
                <a:gd name="connsiteY2" fmla="*/ 0 h 76898"/>
                <a:gd name="connsiteX3" fmla="*/ 16383 w 16383"/>
                <a:gd name="connsiteY3" fmla="*/ 76899 h 76898"/>
                <a:gd name="connsiteX4" fmla="*/ 0 w 16383"/>
                <a:gd name="connsiteY4" fmla="*/ 76899 h 768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383" h="76898">
                  <a:moveTo>
                    <a:pt x="0" y="76899"/>
                  </a:moveTo>
                  <a:lnTo>
                    <a:pt x="0" y="0"/>
                  </a:lnTo>
                  <a:lnTo>
                    <a:pt x="16383" y="0"/>
                  </a:lnTo>
                  <a:lnTo>
                    <a:pt x="16383" y="76899"/>
                  </a:lnTo>
                  <a:lnTo>
                    <a:pt x="0" y="76899"/>
                  </a:lnTo>
                  <a:close/>
                </a:path>
              </a:pathLst>
            </a:custGeom>
            <a:solidFill>
              <a:srgbClr val="B8B7B9"/>
            </a:solidFill>
            <a:ln w="6350"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D4647"/>
                </a:solidFill>
                <a:effectLst/>
                <a:uLnTx/>
                <a:uFillTx/>
              </a:endParaRPr>
            </a:p>
          </p:txBody>
        </p:sp>
        <p:sp>
          <p:nvSpPr>
            <p:cNvPr id="146" name="Freeform: Shape 145">
              <a:extLst>
                <a:ext uri="{FF2B5EF4-FFF2-40B4-BE49-F238E27FC236}">
                  <a16:creationId xmlns:a16="http://schemas.microsoft.com/office/drawing/2014/main" id="{D997C624-2682-4B08-9D15-7BFC41ADE59B}"/>
                </a:ext>
              </a:extLst>
            </p:cNvPr>
            <p:cNvSpPr/>
            <p:nvPr/>
          </p:nvSpPr>
          <p:spPr>
            <a:xfrm>
              <a:off x="11422824" y="6357873"/>
              <a:ext cx="16382" cy="112903"/>
            </a:xfrm>
            <a:custGeom>
              <a:avLst/>
              <a:gdLst>
                <a:gd name="connsiteX0" fmla="*/ 0 w 16382"/>
                <a:gd name="connsiteY0" fmla="*/ 112903 h 112903"/>
                <a:gd name="connsiteX1" fmla="*/ 0 w 16382"/>
                <a:gd name="connsiteY1" fmla="*/ 0 h 112903"/>
                <a:gd name="connsiteX2" fmla="*/ 16383 w 16382"/>
                <a:gd name="connsiteY2" fmla="*/ 0 h 112903"/>
                <a:gd name="connsiteX3" fmla="*/ 16383 w 16382"/>
                <a:gd name="connsiteY3" fmla="*/ 112903 h 112903"/>
                <a:gd name="connsiteX4" fmla="*/ 0 w 16382"/>
                <a:gd name="connsiteY4" fmla="*/ 112903 h 1129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382" h="112903">
                  <a:moveTo>
                    <a:pt x="0" y="112903"/>
                  </a:moveTo>
                  <a:lnTo>
                    <a:pt x="0" y="0"/>
                  </a:lnTo>
                  <a:lnTo>
                    <a:pt x="16383" y="0"/>
                  </a:lnTo>
                  <a:lnTo>
                    <a:pt x="16383" y="112903"/>
                  </a:lnTo>
                  <a:lnTo>
                    <a:pt x="0" y="112903"/>
                  </a:lnTo>
                  <a:close/>
                </a:path>
              </a:pathLst>
            </a:custGeom>
            <a:solidFill>
              <a:srgbClr val="B8B7B9"/>
            </a:solidFill>
            <a:ln w="6350"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D4647"/>
                </a:solidFill>
                <a:effectLst/>
                <a:uLnTx/>
                <a:uFillTx/>
              </a:endParaRPr>
            </a:p>
          </p:txBody>
        </p:sp>
        <p:sp>
          <p:nvSpPr>
            <p:cNvPr id="147" name="Freeform: Shape 146">
              <a:extLst>
                <a:ext uri="{FF2B5EF4-FFF2-40B4-BE49-F238E27FC236}">
                  <a16:creationId xmlns:a16="http://schemas.microsoft.com/office/drawing/2014/main" id="{A5DD6C8D-6AAB-498F-85B3-83F734278836}"/>
                </a:ext>
              </a:extLst>
            </p:cNvPr>
            <p:cNvSpPr/>
            <p:nvPr/>
          </p:nvSpPr>
          <p:spPr>
            <a:xfrm>
              <a:off x="11677650" y="6357873"/>
              <a:ext cx="16446" cy="112903"/>
            </a:xfrm>
            <a:custGeom>
              <a:avLst/>
              <a:gdLst>
                <a:gd name="connsiteX0" fmla="*/ 0 w 16446"/>
                <a:gd name="connsiteY0" fmla="*/ 112903 h 112903"/>
                <a:gd name="connsiteX1" fmla="*/ 0 w 16446"/>
                <a:gd name="connsiteY1" fmla="*/ 0 h 112903"/>
                <a:gd name="connsiteX2" fmla="*/ 16446 w 16446"/>
                <a:gd name="connsiteY2" fmla="*/ 0 h 112903"/>
                <a:gd name="connsiteX3" fmla="*/ 16446 w 16446"/>
                <a:gd name="connsiteY3" fmla="*/ 112903 h 112903"/>
                <a:gd name="connsiteX4" fmla="*/ 0 w 16446"/>
                <a:gd name="connsiteY4" fmla="*/ 112903 h 1129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446" h="112903">
                  <a:moveTo>
                    <a:pt x="0" y="112903"/>
                  </a:moveTo>
                  <a:lnTo>
                    <a:pt x="0" y="0"/>
                  </a:lnTo>
                  <a:lnTo>
                    <a:pt x="16446" y="0"/>
                  </a:lnTo>
                  <a:lnTo>
                    <a:pt x="16446" y="112903"/>
                  </a:lnTo>
                  <a:lnTo>
                    <a:pt x="0" y="112903"/>
                  </a:lnTo>
                  <a:close/>
                </a:path>
              </a:pathLst>
            </a:custGeom>
            <a:solidFill>
              <a:srgbClr val="B8B7B9"/>
            </a:solidFill>
            <a:ln w="6350"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D4647"/>
                </a:solidFill>
                <a:effectLst/>
                <a:uLnTx/>
                <a:uFillTx/>
              </a:endParaRPr>
            </a:p>
          </p:txBody>
        </p:sp>
      </p:grpSp>
      <p:sp>
        <p:nvSpPr>
          <p:cNvPr id="124" name="Freeform: Shape 123">
            <a:extLst>
              <a:ext uri="{FF2B5EF4-FFF2-40B4-BE49-F238E27FC236}">
                <a16:creationId xmlns:a16="http://schemas.microsoft.com/office/drawing/2014/main" id="{B86A8B70-71D7-4C00-B48D-B0410F86AB4B}"/>
              </a:ext>
            </a:extLst>
          </p:cNvPr>
          <p:cNvSpPr/>
          <p:nvPr userDrawn="1"/>
        </p:nvSpPr>
        <p:spPr>
          <a:xfrm rot="5400000" flipV="1">
            <a:off x="11916016" y="398907"/>
            <a:ext cx="43688" cy="43687"/>
          </a:xfrm>
          <a:custGeom>
            <a:avLst/>
            <a:gdLst>
              <a:gd name="connsiteX0" fmla="*/ 0 w 43688"/>
              <a:gd name="connsiteY0" fmla="*/ 0 h 43687"/>
              <a:gd name="connsiteX1" fmla="*/ 43688 w 43688"/>
              <a:gd name="connsiteY1" fmla="*/ 0 h 43687"/>
              <a:gd name="connsiteX2" fmla="*/ 43688 w 43688"/>
              <a:gd name="connsiteY2" fmla="*/ 43688 h 43687"/>
              <a:gd name="connsiteX3" fmla="*/ 0 w 43688"/>
              <a:gd name="connsiteY3" fmla="*/ 43688 h 43687"/>
            </a:gdLst>
            <a:ahLst/>
            <a:cxnLst>
              <a:cxn ang="0">
                <a:pos x="connsiteX0" y="connsiteY0"/>
              </a:cxn>
              <a:cxn ang="0">
                <a:pos x="connsiteX1" y="connsiteY1"/>
              </a:cxn>
              <a:cxn ang="0">
                <a:pos x="connsiteX2" y="connsiteY2"/>
              </a:cxn>
              <a:cxn ang="0">
                <a:pos x="connsiteX3" y="connsiteY3"/>
              </a:cxn>
            </a:cxnLst>
            <a:rect l="l" t="t" r="r" b="b"/>
            <a:pathLst>
              <a:path w="43688" h="43687">
                <a:moveTo>
                  <a:pt x="0" y="0"/>
                </a:moveTo>
                <a:lnTo>
                  <a:pt x="43688" y="0"/>
                </a:lnTo>
                <a:lnTo>
                  <a:pt x="43688" y="43688"/>
                </a:lnTo>
                <a:lnTo>
                  <a:pt x="0" y="43688"/>
                </a:lnTo>
                <a:close/>
              </a:path>
            </a:pathLst>
          </a:custGeom>
          <a:noFill/>
          <a:ln w="3175" cap="flat">
            <a:solidFill>
              <a:srgbClr val="FFFFFF">
                <a:lumMod val="50000"/>
              </a:srgbClr>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D4647"/>
              </a:solidFill>
              <a:effectLst/>
              <a:uLnTx/>
              <a:uFillTx/>
            </a:endParaRPr>
          </a:p>
        </p:txBody>
      </p:sp>
      <p:grpSp>
        <p:nvGrpSpPr>
          <p:cNvPr id="125" name="Graphic 42">
            <a:extLst>
              <a:ext uri="{FF2B5EF4-FFF2-40B4-BE49-F238E27FC236}">
                <a16:creationId xmlns:a16="http://schemas.microsoft.com/office/drawing/2014/main" id="{79F87CE9-05CD-4B99-9848-6C33FEA9AF91}"/>
              </a:ext>
            </a:extLst>
          </p:cNvPr>
          <p:cNvGrpSpPr/>
          <p:nvPr userDrawn="1"/>
        </p:nvGrpSpPr>
        <p:grpSpPr>
          <a:xfrm flipV="1">
            <a:off x="11901678" y="510222"/>
            <a:ext cx="73152" cy="410654"/>
            <a:chOff x="11838178" y="5791517"/>
            <a:chExt cx="73152" cy="410654"/>
          </a:xfrm>
          <a:solidFill>
            <a:srgbClr val="FFFFFF">
              <a:lumMod val="50000"/>
            </a:srgbClr>
          </a:solidFill>
        </p:grpSpPr>
        <p:grpSp>
          <p:nvGrpSpPr>
            <p:cNvPr id="126" name="Graphic 42">
              <a:extLst>
                <a:ext uri="{FF2B5EF4-FFF2-40B4-BE49-F238E27FC236}">
                  <a16:creationId xmlns:a16="http://schemas.microsoft.com/office/drawing/2014/main" id="{FA297456-6C40-4A91-986C-614EE79FB8E7}"/>
                </a:ext>
              </a:extLst>
            </p:cNvPr>
            <p:cNvGrpSpPr/>
            <p:nvPr/>
          </p:nvGrpSpPr>
          <p:grpSpPr>
            <a:xfrm>
              <a:off x="11854497" y="5791517"/>
              <a:ext cx="42418" cy="282892"/>
              <a:chOff x="11854497" y="5791517"/>
              <a:chExt cx="42418" cy="282892"/>
            </a:xfrm>
            <a:grpFill/>
          </p:grpSpPr>
          <p:sp>
            <p:nvSpPr>
              <p:cNvPr id="128" name="Freeform: Shape 127">
                <a:extLst>
                  <a:ext uri="{FF2B5EF4-FFF2-40B4-BE49-F238E27FC236}">
                    <a16:creationId xmlns:a16="http://schemas.microsoft.com/office/drawing/2014/main" id="{55ACF6A1-756F-4E15-AC83-CBAC518A9533}"/>
                  </a:ext>
                </a:extLst>
              </p:cNvPr>
              <p:cNvSpPr/>
              <p:nvPr/>
            </p:nvSpPr>
            <p:spPr>
              <a:xfrm>
                <a:off x="11855259" y="5891022"/>
                <a:ext cx="41655" cy="4381"/>
              </a:xfrm>
              <a:custGeom>
                <a:avLst/>
                <a:gdLst>
                  <a:gd name="connsiteX0" fmla="*/ 0 w 41655"/>
                  <a:gd name="connsiteY0" fmla="*/ 0 h 4381"/>
                  <a:gd name="connsiteX1" fmla="*/ 41656 w 41655"/>
                  <a:gd name="connsiteY1" fmla="*/ 0 h 4381"/>
                  <a:gd name="connsiteX2" fmla="*/ 41656 w 41655"/>
                  <a:gd name="connsiteY2" fmla="*/ 4381 h 4381"/>
                  <a:gd name="connsiteX3" fmla="*/ 0 w 41655"/>
                  <a:gd name="connsiteY3" fmla="*/ 4381 h 4381"/>
                </a:gdLst>
                <a:ahLst/>
                <a:cxnLst>
                  <a:cxn ang="0">
                    <a:pos x="connsiteX0" y="connsiteY0"/>
                  </a:cxn>
                  <a:cxn ang="0">
                    <a:pos x="connsiteX1" y="connsiteY1"/>
                  </a:cxn>
                  <a:cxn ang="0">
                    <a:pos x="connsiteX2" y="connsiteY2"/>
                  </a:cxn>
                  <a:cxn ang="0">
                    <a:pos x="connsiteX3" y="connsiteY3"/>
                  </a:cxn>
                </a:cxnLst>
                <a:rect l="l" t="t" r="r" b="b"/>
                <a:pathLst>
                  <a:path w="41655" h="4381">
                    <a:moveTo>
                      <a:pt x="0" y="0"/>
                    </a:moveTo>
                    <a:lnTo>
                      <a:pt x="41656" y="0"/>
                    </a:lnTo>
                    <a:lnTo>
                      <a:pt x="41656" y="4381"/>
                    </a:lnTo>
                    <a:lnTo>
                      <a:pt x="0" y="4381"/>
                    </a:lnTo>
                    <a:close/>
                  </a:path>
                </a:pathLst>
              </a:custGeom>
              <a:grpFill/>
              <a:ln w="6350"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D4647"/>
                  </a:solidFill>
                  <a:effectLst/>
                  <a:uLnTx/>
                  <a:uFillTx/>
                </a:endParaRPr>
              </a:p>
            </p:txBody>
          </p:sp>
          <p:sp>
            <p:nvSpPr>
              <p:cNvPr id="129" name="Freeform: Shape 128">
                <a:extLst>
                  <a:ext uri="{FF2B5EF4-FFF2-40B4-BE49-F238E27FC236}">
                    <a16:creationId xmlns:a16="http://schemas.microsoft.com/office/drawing/2014/main" id="{EA354376-FA52-4C1E-B7E9-F6417BA2E92E}"/>
                  </a:ext>
                </a:extLst>
              </p:cNvPr>
              <p:cNvSpPr/>
              <p:nvPr/>
            </p:nvSpPr>
            <p:spPr>
              <a:xfrm>
                <a:off x="11855259" y="5955538"/>
                <a:ext cx="41655" cy="4381"/>
              </a:xfrm>
              <a:custGeom>
                <a:avLst/>
                <a:gdLst>
                  <a:gd name="connsiteX0" fmla="*/ 0 w 41655"/>
                  <a:gd name="connsiteY0" fmla="*/ 0 h 4381"/>
                  <a:gd name="connsiteX1" fmla="*/ 41656 w 41655"/>
                  <a:gd name="connsiteY1" fmla="*/ 0 h 4381"/>
                  <a:gd name="connsiteX2" fmla="*/ 41656 w 41655"/>
                  <a:gd name="connsiteY2" fmla="*/ 4382 h 4381"/>
                  <a:gd name="connsiteX3" fmla="*/ 0 w 41655"/>
                  <a:gd name="connsiteY3" fmla="*/ 4382 h 4381"/>
                </a:gdLst>
                <a:ahLst/>
                <a:cxnLst>
                  <a:cxn ang="0">
                    <a:pos x="connsiteX0" y="connsiteY0"/>
                  </a:cxn>
                  <a:cxn ang="0">
                    <a:pos x="connsiteX1" y="connsiteY1"/>
                  </a:cxn>
                  <a:cxn ang="0">
                    <a:pos x="connsiteX2" y="connsiteY2"/>
                  </a:cxn>
                  <a:cxn ang="0">
                    <a:pos x="connsiteX3" y="connsiteY3"/>
                  </a:cxn>
                </a:cxnLst>
                <a:rect l="l" t="t" r="r" b="b"/>
                <a:pathLst>
                  <a:path w="41655" h="4381">
                    <a:moveTo>
                      <a:pt x="0" y="0"/>
                    </a:moveTo>
                    <a:lnTo>
                      <a:pt x="41656" y="0"/>
                    </a:lnTo>
                    <a:lnTo>
                      <a:pt x="41656" y="4382"/>
                    </a:lnTo>
                    <a:lnTo>
                      <a:pt x="0" y="4382"/>
                    </a:lnTo>
                    <a:close/>
                  </a:path>
                </a:pathLst>
              </a:custGeom>
              <a:grpFill/>
              <a:ln w="6350"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D4647"/>
                  </a:solidFill>
                  <a:effectLst/>
                  <a:uLnTx/>
                  <a:uFillTx/>
                </a:endParaRPr>
              </a:p>
            </p:txBody>
          </p:sp>
          <p:sp>
            <p:nvSpPr>
              <p:cNvPr id="130" name="Freeform: Shape 129">
                <a:extLst>
                  <a:ext uri="{FF2B5EF4-FFF2-40B4-BE49-F238E27FC236}">
                    <a16:creationId xmlns:a16="http://schemas.microsoft.com/office/drawing/2014/main" id="{7FADCCA1-0EFD-4333-AC19-FADC0B2CC096}"/>
                  </a:ext>
                </a:extLst>
              </p:cNvPr>
              <p:cNvSpPr/>
              <p:nvPr/>
            </p:nvSpPr>
            <p:spPr>
              <a:xfrm>
                <a:off x="11855259" y="6011545"/>
                <a:ext cx="41655" cy="4381"/>
              </a:xfrm>
              <a:custGeom>
                <a:avLst/>
                <a:gdLst>
                  <a:gd name="connsiteX0" fmla="*/ 0 w 41655"/>
                  <a:gd name="connsiteY0" fmla="*/ 0 h 4381"/>
                  <a:gd name="connsiteX1" fmla="*/ 41656 w 41655"/>
                  <a:gd name="connsiteY1" fmla="*/ 0 h 4381"/>
                  <a:gd name="connsiteX2" fmla="*/ 41656 w 41655"/>
                  <a:gd name="connsiteY2" fmla="*/ 4382 h 4381"/>
                  <a:gd name="connsiteX3" fmla="*/ 0 w 41655"/>
                  <a:gd name="connsiteY3" fmla="*/ 4382 h 4381"/>
                </a:gdLst>
                <a:ahLst/>
                <a:cxnLst>
                  <a:cxn ang="0">
                    <a:pos x="connsiteX0" y="connsiteY0"/>
                  </a:cxn>
                  <a:cxn ang="0">
                    <a:pos x="connsiteX1" y="connsiteY1"/>
                  </a:cxn>
                  <a:cxn ang="0">
                    <a:pos x="connsiteX2" y="connsiteY2"/>
                  </a:cxn>
                  <a:cxn ang="0">
                    <a:pos x="connsiteX3" y="connsiteY3"/>
                  </a:cxn>
                </a:cxnLst>
                <a:rect l="l" t="t" r="r" b="b"/>
                <a:pathLst>
                  <a:path w="41655" h="4381">
                    <a:moveTo>
                      <a:pt x="0" y="0"/>
                    </a:moveTo>
                    <a:lnTo>
                      <a:pt x="41656" y="0"/>
                    </a:lnTo>
                    <a:lnTo>
                      <a:pt x="41656" y="4382"/>
                    </a:lnTo>
                    <a:lnTo>
                      <a:pt x="0" y="4382"/>
                    </a:lnTo>
                    <a:close/>
                  </a:path>
                </a:pathLst>
              </a:custGeom>
              <a:grpFill/>
              <a:ln w="6350"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D4647"/>
                  </a:solidFill>
                  <a:effectLst/>
                  <a:uLnTx/>
                  <a:uFillTx/>
                </a:endParaRPr>
              </a:p>
            </p:txBody>
          </p:sp>
          <p:sp>
            <p:nvSpPr>
              <p:cNvPr id="131" name="Freeform: Shape 130">
                <a:extLst>
                  <a:ext uri="{FF2B5EF4-FFF2-40B4-BE49-F238E27FC236}">
                    <a16:creationId xmlns:a16="http://schemas.microsoft.com/office/drawing/2014/main" id="{345B0990-518A-4D66-9558-A4A21E17FDDF}"/>
                  </a:ext>
                </a:extLst>
              </p:cNvPr>
              <p:cNvSpPr/>
              <p:nvPr/>
            </p:nvSpPr>
            <p:spPr>
              <a:xfrm>
                <a:off x="11855259" y="6070028"/>
                <a:ext cx="41655" cy="4381"/>
              </a:xfrm>
              <a:custGeom>
                <a:avLst/>
                <a:gdLst>
                  <a:gd name="connsiteX0" fmla="*/ 0 w 41655"/>
                  <a:gd name="connsiteY0" fmla="*/ 0 h 4381"/>
                  <a:gd name="connsiteX1" fmla="*/ 41656 w 41655"/>
                  <a:gd name="connsiteY1" fmla="*/ 0 h 4381"/>
                  <a:gd name="connsiteX2" fmla="*/ 41656 w 41655"/>
                  <a:gd name="connsiteY2" fmla="*/ 4381 h 4381"/>
                  <a:gd name="connsiteX3" fmla="*/ 0 w 41655"/>
                  <a:gd name="connsiteY3" fmla="*/ 4381 h 4381"/>
                </a:gdLst>
                <a:ahLst/>
                <a:cxnLst>
                  <a:cxn ang="0">
                    <a:pos x="connsiteX0" y="connsiteY0"/>
                  </a:cxn>
                  <a:cxn ang="0">
                    <a:pos x="connsiteX1" y="connsiteY1"/>
                  </a:cxn>
                  <a:cxn ang="0">
                    <a:pos x="connsiteX2" y="connsiteY2"/>
                  </a:cxn>
                  <a:cxn ang="0">
                    <a:pos x="connsiteX3" y="connsiteY3"/>
                  </a:cxn>
                </a:cxnLst>
                <a:rect l="l" t="t" r="r" b="b"/>
                <a:pathLst>
                  <a:path w="41655" h="4381">
                    <a:moveTo>
                      <a:pt x="0" y="0"/>
                    </a:moveTo>
                    <a:lnTo>
                      <a:pt x="41656" y="0"/>
                    </a:lnTo>
                    <a:lnTo>
                      <a:pt x="41656" y="4381"/>
                    </a:lnTo>
                    <a:lnTo>
                      <a:pt x="0" y="4381"/>
                    </a:lnTo>
                    <a:close/>
                  </a:path>
                </a:pathLst>
              </a:custGeom>
              <a:grpFill/>
              <a:ln w="6350"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D4647"/>
                  </a:solidFill>
                  <a:effectLst/>
                  <a:uLnTx/>
                  <a:uFillTx/>
                </a:endParaRPr>
              </a:p>
            </p:txBody>
          </p:sp>
          <p:sp>
            <p:nvSpPr>
              <p:cNvPr id="132" name="Freeform: Shape 131">
                <a:extLst>
                  <a:ext uri="{FF2B5EF4-FFF2-40B4-BE49-F238E27FC236}">
                    <a16:creationId xmlns:a16="http://schemas.microsoft.com/office/drawing/2014/main" id="{82DC273E-06B6-4901-823A-42356C2C95FF}"/>
                  </a:ext>
                </a:extLst>
              </p:cNvPr>
              <p:cNvSpPr/>
              <p:nvPr/>
            </p:nvSpPr>
            <p:spPr>
              <a:xfrm>
                <a:off x="11854497" y="5791517"/>
                <a:ext cx="42418" cy="38100"/>
              </a:xfrm>
              <a:custGeom>
                <a:avLst/>
                <a:gdLst>
                  <a:gd name="connsiteX0" fmla="*/ 0 w 42418"/>
                  <a:gd name="connsiteY0" fmla="*/ 0 h 38100"/>
                  <a:gd name="connsiteX1" fmla="*/ 42418 w 42418"/>
                  <a:gd name="connsiteY1" fmla="*/ 0 h 38100"/>
                  <a:gd name="connsiteX2" fmla="*/ 42418 w 42418"/>
                  <a:gd name="connsiteY2" fmla="*/ 38100 h 38100"/>
                  <a:gd name="connsiteX3" fmla="*/ 0 w 42418"/>
                  <a:gd name="connsiteY3" fmla="*/ 38100 h 38100"/>
                </a:gdLst>
                <a:ahLst/>
                <a:cxnLst>
                  <a:cxn ang="0">
                    <a:pos x="connsiteX0" y="connsiteY0"/>
                  </a:cxn>
                  <a:cxn ang="0">
                    <a:pos x="connsiteX1" y="connsiteY1"/>
                  </a:cxn>
                  <a:cxn ang="0">
                    <a:pos x="connsiteX2" y="connsiteY2"/>
                  </a:cxn>
                  <a:cxn ang="0">
                    <a:pos x="connsiteX3" y="connsiteY3"/>
                  </a:cxn>
                </a:cxnLst>
                <a:rect l="l" t="t" r="r" b="b"/>
                <a:pathLst>
                  <a:path w="42418" h="38100">
                    <a:moveTo>
                      <a:pt x="0" y="0"/>
                    </a:moveTo>
                    <a:lnTo>
                      <a:pt x="42418" y="0"/>
                    </a:lnTo>
                    <a:lnTo>
                      <a:pt x="42418" y="38100"/>
                    </a:lnTo>
                    <a:lnTo>
                      <a:pt x="0" y="38100"/>
                    </a:lnTo>
                    <a:close/>
                  </a:path>
                </a:pathLst>
              </a:custGeom>
              <a:solidFill>
                <a:srgbClr val="C8C9C7"/>
              </a:solidFill>
              <a:ln w="6350"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D4647"/>
                  </a:solidFill>
                  <a:effectLst/>
                  <a:uLnTx/>
                  <a:uFillTx/>
                </a:endParaRPr>
              </a:p>
            </p:txBody>
          </p:sp>
        </p:grpSp>
        <p:sp>
          <p:nvSpPr>
            <p:cNvPr id="127" name="Freeform: Shape 126">
              <a:extLst>
                <a:ext uri="{FF2B5EF4-FFF2-40B4-BE49-F238E27FC236}">
                  <a16:creationId xmlns:a16="http://schemas.microsoft.com/office/drawing/2014/main" id="{432D69D3-B1D9-4752-B422-0712A33B4E1E}"/>
                </a:ext>
              </a:extLst>
            </p:cNvPr>
            <p:cNvSpPr/>
            <p:nvPr/>
          </p:nvSpPr>
          <p:spPr>
            <a:xfrm>
              <a:off x="11838178" y="6162294"/>
              <a:ext cx="73152" cy="39877"/>
            </a:xfrm>
            <a:custGeom>
              <a:avLst/>
              <a:gdLst>
                <a:gd name="connsiteX0" fmla="*/ 38671 w 73152"/>
                <a:gd name="connsiteY0" fmla="*/ 0 h 39877"/>
                <a:gd name="connsiteX1" fmla="*/ 73152 w 73152"/>
                <a:gd name="connsiteY1" fmla="*/ 37465 h 39877"/>
                <a:gd name="connsiteX2" fmla="*/ 69914 w 73152"/>
                <a:gd name="connsiteY2" fmla="*/ 39878 h 39877"/>
                <a:gd name="connsiteX3" fmla="*/ 36576 w 73152"/>
                <a:gd name="connsiteY3" fmla="*/ 3747 h 39877"/>
                <a:gd name="connsiteX4" fmla="*/ 3239 w 73152"/>
                <a:gd name="connsiteY4" fmla="*/ 39878 h 39877"/>
                <a:gd name="connsiteX5" fmla="*/ 0 w 73152"/>
                <a:gd name="connsiteY5" fmla="*/ 37465 h 39877"/>
                <a:gd name="connsiteX6" fmla="*/ 34480 w 73152"/>
                <a:gd name="connsiteY6" fmla="*/ 0 h 39877"/>
                <a:gd name="connsiteX7" fmla="*/ 38671 w 73152"/>
                <a:gd name="connsiteY7" fmla="*/ 0 h 398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3152" h="39877">
                  <a:moveTo>
                    <a:pt x="38671" y="0"/>
                  </a:moveTo>
                  <a:lnTo>
                    <a:pt x="73152" y="37465"/>
                  </a:lnTo>
                  <a:lnTo>
                    <a:pt x="69914" y="39878"/>
                  </a:lnTo>
                  <a:lnTo>
                    <a:pt x="36576" y="3747"/>
                  </a:lnTo>
                  <a:lnTo>
                    <a:pt x="3239" y="39878"/>
                  </a:lnTo>
                  <a:lnTo>
                    <a:pt x="0" y="37465"/>
                  </a:lnTo>
                  <a:lnTo>
                    <a:pt x="34480" y="0"/>
                  </a:lnTo>
                  <a:lnTo>
                    <a:pt x="38671" y="0"/>
                  </a:lnTo>
                  <a:close/>
                </a:path>
              </a:pathLst>
            </a:custGeom>
            <a:grpFill/>
            <a:ln w="6350" cap="flat">
              <a:solidFill>
                <a:srgbClr val="CFD0CE"/>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D4647"/>
                </a:solidFill>
                <a:effectLst/>
                <a:uLnTx/>
                <a:uFillTx/>
              </a:endParaRPr>
            </a:p>
          </p:txBody>
        </p:sp>
      </p:grpSp>
      <p:sp>
        <p:nvSpPr>
          <p:cNvPr id="122" name="Rectangle 6">
            <a:extLst>
              <a:ext uri="{FF2B5EF4-FFF2-40B4-BE49-F238E27FC236}">
                <a16:creationId xmlns:a16="http://schemas.microsoft.com/office/drawing/2014/main" id="{909BD88B-614B-40D2-9807-224D2FD3634C}"/>
              </a:ext>
            </a:extLst>
          </p:cNvPr>
          <p:cNvSpPr txBox="1">
            <a:spLocks noChangeArrowheads="1"/>
          </p:cNvSpPr>
          <p:nvPr userDrawn="1"/>
        </p:nvSpPr>
        <p:spPr bwMode="ltGray">
          <a:xfrm>
            <a:off x="10363200" y="203016"/>
            <a:ext cx="592666" cy="13849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defRPr sz="700"/>
            </a:lvl1pPr>
          </a:lstStyle>
          <a:p>
            <a:pPr marL="0" marR="0" lvl="0" indent="0" algn="r" defTabSz="914400" eaLnBrk="0" fontAlgn="base" latinLnBrk="0" hangingPunct="0">
              <a:lnSpc>
                <a:spcPct val="100000"/>
              </a:lnSpc>
              <a:spcBef>
                <a:spcPct val="0"/>
              </a:spcBef>
              <a:spcAft>
                <a:spcPct val="0"/>
              </a:spcAft>
              <a:buClrTx/>
              <a:buSzTx/>
              <a:buFontTx/>
              <a:buNone/>
              <a:tabLst/>
              <a:defRPr/>
            </a:pPr>
            <a:fld id="{8D7874BA-B114-4D1F-A449-70AD1C45E88A}" type="slidenum">
              <a:rPr kumimoji="0" lang="en-US" sz="900" b="0" i="0" u="none" strike="noStrike" kern="0" cap="none" spc="0" normalizeH="0" baseline="0" noProof="0" smtClean="0">
                <a:ln>
                  <a:noFill/>
                </a:ln>
                <a:solidFill>
                  <a:srgbClr val="B8B7B9"/>
                </a:solidFill>
                <a:effectLst/>
                <a:uLnTx/>
                <a:uFillTx/>
                <a:ea typeface="MS PGothic" pitchFamily="34" charset="-128"/>
              </a:rPr>
              <a:pPr marL="0" marR="0" lvl="0" indent="0" algn="r" defTabSz="914400" eaLnBrk="0" fontAlgn="base" latinLnBrk="0" hangingPunct="0">
                <a:lnSpc>
                  <a:spcPct val="100000"/>
                </a:lnSpc>
                <a:spcBef>
                  <a:spcPct val="0"/>
                </a:spcBef>
                <a:spcAft>
                  <a:spcPct val="0"/>
                </a:spcAft>
                <a:buClrTx/>
                <a:buSzTx/>
                <a:buFontTx/>
                <a:buNone/>
                <a:tabLst/>
                <a:defRPr/>
              </a:pPr>
              <a:t>‹#›</a:t>
            </a:fld>
            <a:endParaRPr kumimoji="0" lang="en-US" sz="900" b="0" i="0" u="none" strike="noStrike" kern="0" cap="none" spc="0" normalizeH="0" baseline="0" noProof="0" dirty="0">
              <a:ln>
                <a:noFill/>
              </a:ln>
              <a:solidFill>
                <a:srgbClr val="B8B7B9"/>
              </a:solidFill>
              <a:effectLst/>
              <a:uLnTx/>
              <a:uFillTx/>
              <a:ea typeface="MS PGothic" pitchFamily="34" charset="-128"/>
            </a:endParaRPr>
          </a:p>
        </p:txBody>
      </p:sp>
    </p:spTree>
  </p:cSld>
  <p:clrMap bg1="lt1" tx1="dk1" bg2="lt2" tx2="dk2" accent1="accent1" accent2="accent2" accent3="accent3" accent4="accent4" accent5="accent5" accent6="accent6" hlink="hlink" folHlink="folHlink"/>
  <p:sldLayoutIdLst>
    <p:sldLayoutId id="2147484056" r:id="rId1"/>
    <p:sldLayoutId id="2147484057" r:id="rId2"/>
    <p:sldLayoutId id="2147483998" r:id="rId3"/>
    <p:sldLayoutId id="2147483999" r:id="rId4"/>
    <p:sldLayoutId id="2147484000" r:id="rId5"/>
    <p:sldLayoutId id="2147483650" r:id="rId6"/>
    <p:sldLayoutId id="2147483652" r:id="rId7"/>
    <p:sldLayoutId id="2147483653" r:id="rId8"/>
    <p:sldLayoutId id="2147483654" r:id="rId9"/>
    <p:sldLayoutId id="2147483938" r:id="rId10"/>
    <p:sldLayoutId id="2147483972" r:id="rId11"/>
    <p:sldLayoutId id="2147483963" r:id="rId12"/>
    <p:sldLayoutId id="2147483953" r:id="rId13"/>
    <p:sldLayoutId id="2147484001" r:id="rId14"/>
    <p:sldLayoutId id="2147484002" r:id="rId15"/>
    <p:sldLayoutId id="2147483971" r:id="rId16"/>
    <p:sldLayoutId id="2147483956" r:id="rId17"/>
    <p:sldLayoutId id="2147483992" r:id="rId18"/>
    <p:sldLayoutId id="2147483957" r:id="rId19"/>
    <p:sldLayoutId id="2147484054" r:id="rId20"/>
    <p:sldLayoutId id="2147484030" r:id="rId21"/>
    <p:sldLayoutId id="2147484028" r:id="rId22"/>
    <p:sldLayoutId id="2147483701" r:id="rId23"/>
    <p:sldLayoutId id="2147484059" r:id="rId24"/>
    <p:sldLayoutId id="2147484060" r:id="rId25"/>
    <p:sldLayoutId id="2147484061" r:id="rId26"/>
    <p:sldLayoutId id="2147484062" r:id="rId27"/>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dt="0"/>
  <p:txStyles>
    <p:titleStyle>
      <a:lvl1pPr algn="l" defTabSz="1086775" rtl="0" eaLnBrk="1" latinLnBrk="0" hangingPunct="1">
        <a:lnSpc>
          <a:spcPct val="80000"/>
        </a:lnSpc>
        <a:spcBef>
          <a:spcPct val="0"/>
        </a:spcBef>
        <a:buNone/>
        <a:defRPr sz="3000" b="1" kern="1200" cap="all" baseline="0">
          <a:solidFill>
            <a:schemeClr val="tx1"/>
          </a:solidFill>
          <a:latin typeface="+mj-lt"/>
          <a:ea typeface="+mj-ea"/>
          <a:cs typeface="+mj-cs"/>
        </a:defRPr>
      </a:lvl1pPr>
    </p:titleStyle>
    <p:bodyStyle>
      <a:lvl1pPr marL="342900" indent="-342900" algn="l" defTabSz="1086775" rtl="0" eaLnBrk="1" latinLnBrk="0" hangingPunct="1">
        <a:lnSpc>
          <a:spcPct val="90000"/>
        </a:lnSpc>
        <a:spcBef>
          <a:spcPts val="1800"/>
        </a:spcBef>
        <a:buClr>
          <a:schemeClr val="bg2"/>
        </a:buClr>
        <a:buFontTx/>
        <a:buBlip>
          <a:blip r:embed="rId35">
            <a:extLst>
              <a:ext uri="{96DAC541-7B7A-43D3-8B79-37D633B846F1}">
                <asvg:svgBlip xmlns:asvg="http://schemas.microsoft.com/office/drawing/2016/SVG/main" r:embed="rId36"/>
              </a:ext>
            </a:extLst>
          </a:blip>
        </a:buBlip>
        <a:defRPr sz="2400" kern="1200">
          <a:solidFill>
            <a:schemeClr val="tx1"/>
          </a:solidFill>
          <a:latin typeface="+mn-lt"/>
          <a:ea typeface="+mn-ea"/>
          <a:cs typeface="+mn-cs"/>
        </a:defRPr>
      </a:lvl1pPr>
      <a:lvl2pPr marL="585216" indent="-274320" algn="l" defTabSz="1086775" rtl="0" eaLnBrk="1" latinLnBrk="0" hangingPunct="1">
        <a:lnSpc>
          <a:spcPct val="90000"/>
        </a:lnSpc>
        <a:spcBef>
          <a:spcPts val="400"/>
        </a:spcBef>
        <a:spcAft>
          <a:spcPts val="0"/>
        </a:spcAft>
        <a:buClr>
          <a:schemeClr val="tx1"/>
        </a:buClr>
        <a:buSzPct val="100000"/>
        <a:buFontTx/>
        <a:buBlip>
          <a:blip r:embed="rId37"/>
        </a:buBlip>
        <a:defRPr sz="2000" kern="1200">
          <a:solidFill>
            <a:schemeClr val="tx1"/>
          </a:solidFill>
          <a:latin typeface="+mn-lt"/>
          <a:ea typeface="+mn-ea"/>
          <a:cs typeface="+mn-cs"/>
        </a:defRPr>
      </a:lvl2pPr>
      <a:lvl3pPr marL="859536" indent="-274320" algn="l" defTabSz="1290546" rtl="0" eaLnBrk="1" latinLnBrk="0" hangingPunct="1">
        <a:lnSpc>
          <a:spcPct val="90000"/>
        </a:lnSpc>
        <a:spcBef>
          <a:spcPts val="200"/>
        </a:spcBef>
        <a:spcAft>
          <a:spcPts val="0"/>
        </a:spcAft>
        <a:buClr>
          <a:schemeClr val="tx1"/>
        </a:buClr>
        <a:buFontTx/>
        <a:buBlip>
          <a:blip r:embed="rId38"/>
        </a:buBlip>
        <a:defRPr sz="1800" kern="1200">
          <a:solidFill>
            <a:schemeClr val="tx1"/>
          </a:solidFill>
          <a:latin typeface="+mn-lt"/>
          <a:ea typeface="+mn-ea"/>
          <a:cs typeface="+mn-cs"/>
        </a:defRPr>
      </a:lvl3pPr>
      <a:lvl4pPr marL="1143000" indent="-228600" algn="l" defTabSz="1086775" rtl="0" eaLnBrk="1" latinLnBrk="0" hangingPunct="1">
        <a:lnSpc>
          <a:spcPct val="90000"/>
        </a:lnSpc>
        <a:spcBef>
          <a:spcPts val="200"/>
        </a:spcBef>
        <a:spcAft>
          <a:spcPts val="0"/>
        </a:spcAft>
        <a:buClr>
          <a:schemeClr val="tx1"/>
        </a:buClr>
        <a:buSzPct val="100000"/>
        <a:buFontTx/>
        <a:buBlip>
          <a:blip r:embed="rId39"/>
        </a:buBlip>
        <a:tabLst/>
        <a:defRPr sz="1600" kern="1200" baseline="0">
          <a:solidFill>
            <a:schemeClr val="tx1"/>
          </a:solidFill>
          <a:latin typeface="+mn-lt"/>
          <a:ea typeface="+mn-ea"/>
          <a:cs typeface="+mn-cs"/>
        </a:defRPr>
      </a:lvl4pPr>
      <a:lvl5pPr marL="1389888" indent="-228600" algn="l" defTabSz="1086775" rtl="0" eaLnBrk="1" latinLnBrk="0" hangingPunct="1">
        <a:lnSpc>
          <a:spcPct val="90000"/>
        </a:lnSpc>
        <a:spcBef>
          <a:spcPts val="200"/>
        </a:spcBef>
        <a:spcAft>
          <a:spcPts val="0"/>
        </a:spcAft>
        <a:buClr>
          <a:schemeClr val="tx1"/>
        </a:buClr>
        <a:buFontTx/>
        <a:buBlip>
          <a:blip r:embed="rId38"/>
        </a:buBlip>
        <a:defRPr sz="1400" kern="1200" baseline="0">
          <a:solidFill>
            <a:schemeClr val="tx1"/>
          </a:solidFill>
          <a:latin typeface="+mn-lt"/>
          <a:ea typeface="+mn-ea"/>
          <a:cs typeface="+mn-cs"/>
        </a:defRPr>
      </a:lvl5pPr>
      <a:lvl6pPr marL="2988632" indent="-271694" algn="l" defTabSz="1086775"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2020" indent="-271694" algn="l" defTabSz="1086775"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5408" indent="-271694" algn="l" defTabSz="1086775"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8796" indent="-271694" algn="l" defTabSz="1086775" rtl="0" eaLnBrk="1" latinLnBrk="0" hangingPunct="1">
        <a:spcBef>
          <a:spcPct val="20000"/>
        </a:spcBef>
        <a:buFont typeface="Arial" pitchFamily="34" charset="0"/>
        <a:buChar char="•"/>
        <a:defRPr sz="2400" kern="1200">
          <a:solidFill>
            <a:schemeClr val="tx1"/>
          </a:solidFill>
          <a:latin typeface="+mn-lt"/>
          <a:ea typeface="+mn-ea"/>
          <a:cs typeface="+mn-cs"/>
        </a:defRPr>
      </a:lvl9pPr>
    </p:bodyStyle>
    <p:otherStyle>
      <a:defPPr>
        <a:defRPr lang="en-US"/>
      </a:defPPr>
      <a:lvl1pPr marL="0" algn="l" defTabSz="1086775" rtl="0" eaLnBrk="1" latinLnBrk="0" hangingPunct="1">
        <a:defRPr sz="2200" kern="1200">
          <a:solidFill>
            <a:schemeClr val="tx1"/>
          </a:solidFill>
          <a:latin typeface="+mn-lt"/>
          <a:ea typeface="+mn-ea"/>
          <a:cs typeface="+mn-cs"/>
        </a:defRPr>
      </a:lvl1pPr>
      <a:lvl2pPr marL="543388" algn="l" defTabSz="1086775" rtl="0" eaLnBrk="1" latinLnBrk="0" hangingPunct="1">
        <a:defRPr sz="2200" kern="1200">
          <a:solidFill>
            <a:schemeClr val="tx1"/>
          </a:solidFill>
          <a:latin typeface="+mn-lt"/>
          <a:ea typeface="+mn-ea"/>
          <a:cs typeface="+mn-cs"/>
        </a:defRPr>
      </a:lvl2pPr>
      <a:lvl3pPr marL="1086775" algn="l" defTabSz="1086775" rtl="0" eaLnBrk="1" latinLnBrk="0" hangingPunct="1">
        <a:defRPr sz="2200" kern="1200">
          <a:solidFill>
            <a:schemeClr val="tx1"/>
          </a:solidFill>
          <a:latin typeface="+mn-lt"/>
          <a:ea typeface="+mn-ea"/>
          <a:cs typeface="+mn-cs"/>
        </a:defRPr>
      </a:lvl3pPr>
      <a:lvl4pPr marL="1630163" algn="l" defTabSz="1086775" rtl="0" eaLnBrk="1" latinLnBrk="0" hangingPunct="1">
        <a:defRPr sz="2200" kern="1200">
          <a:solidFill>
            <a:schemeClr val="tx1"/>
          </a:solidFill>
          <a:latin typeface="+mn-lt"/>
          <a:ea typeface="+mn-ea"/>
          <a:cs typeface="+mn-cs"/>
        </a:defRPr>
      </a:lvl4pPr>
      <a:lvl5pPr marL="2173551" algn="l" defTabSz="1086775" rtl="0" eaLnBrk="1" latinLnBrk="0" hangingPunct="1">
        <a:defRPr sz="2200" kern="1200">
          <a:solidFill>
            <a:schemeClr val="tx1"/>
          </a:solidFill>
          <a:latin typeface="+mn-lt"/>
          <a:ea typeface="+mn-ea"/>
          <a:cs typeface="+mn-cs"/>
        </a:defRPr>
      </a:lvl5pPr>
      <a:lvl6pPr marL="2716938" algn="l" defTabSz="1086775" rtl="0" eaLnBrk="1" latinLnBrk="0" hangingPunct="1">
        <a:defRPr sz="2200" kern="1200">
          <a:solidFill>
            <a:schemeClr val="tx1"/>
          </a:solidFill>
          <a:latin typeface="+mn-lt"/>
          <a:ea typeface="+mn-ea"/>
          <a:cs typeface="+mn-cs"/>
        </a:defRPr>
      </a:lvl6pPr>
      <a:lvl7pPr marL="3260326" algn="l" defTabSz="1086775" rtl="0" eaLnBrk="1" latinLnBrk="0" hangingPunct="1">
        <a:defRPr sz="2200" kern="1200">
          <a:solidFill>
            <a:schemeClr val="tx1"/>
          </a:solidFill>
          <a:latin typeface="+mn-lt"/>
          <a:ea typeface="+mn-ea"/>
          <a:cs typeface="+mn-cs"/>
        </a:defRPr>
      </a:lvl7pPr>
      <a:lvl8pPr marL="3803713" algn="l" defTabSz="1086775" rtl="0" eaLnBrk="1" latinLnBrk="0" hangingPunct="1">
        <a:defRPr sz="2200" kern="1200">
          <a:solidFill>
            <a:schemeClr val="tx1"/>
          </a:solidFill>
          <a:latin typeface="+mn-lt"/>
          <a:ea typeface="+mn-ea"/>
          <a:cs typeface="+mn-cs"/>
        </a:defRPr>
      </a:lvl8pPr>
      <a:lvl9pPr marL="4347102" algn="l" defTabSz="1086775" rtl="0" eaLnBrk="1" latinLnBrk="0" hangingPunct="1">
        <a:defRPr sz="22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75" name="Freeform: Shape 74">
            <a:extLst>
              <a:ext uri="{FF2B5EF4-FFF2-40B4-BE49-F238E27FC236}">
                <a16:creationId xmlns:a16="http://schemas.microsoft.com/office/drawing/2014/main" id="{CFD1D920-036D-4BCE-A963-9A109BD6E299}"/>
              </a:ext>
            </a:extLst>
          </p:cNvPr>
          <p:cNvSpPr/>
          <p:nvPr userDrawn="1"/>
        </p:nvSpPr>
        <p:spPr>
          <a:xfrm>
            <a:off x="0" y="6624535"/>
            <a:ext cx="12188952" cy="233465"/>
          </a:xfrm>
          <a:custGeom>
            <a:avLst/>
            <a:gdLst>
              <a:gd name="connsiteX0" fmla="*/ 8949770 w 11969877"/>
              <a:gd name="connsiteY0" fmla="*/ 0 h 233465"/>
              <a:gd name="connsiteX1" fmla="*/ 11969877 w 11969877"/>
              <a:gd name="connsiteY1" fmla="*/ 0 h 233465"/>
              <a:gd name="connsiteX2" fmla="*/ 11969877 w 11969877"/>
              <a:gd name="connsiteY2" fmla="*/ 233465 h 233465"/>
              <a:gd name="connsiteX3" fmla="*/ 9027859 w 11969877"/>
              <a:gd name="connsiteY3" fmla="*/ 233465 h 233465"/>
              <a:gd name="connsiteX4" fmla="*/ 1048596 w 11969877"/>
              <a:gd name="connsiteY4" fmla="*/ 233465 h 233465"/>
              <a:gd name="connsiteX5" fmla="*/ 33436 w 11969877"/>
              <a:gd name="connsiteY5" fmla="*/ 233465 h 233465"/>
              <a:gd name="connsiteX6" fmla="*/ 0 w 11969877"/>
              <a:gd name="connsiteY6" fmla="*/ 233465 h 233465"/>
              <a:gd name="connsiteX7" fmla="*/ 0 w 11969877"/>
              <a:gd name="connsiteY7" fmla="*/ 169375 h 233465"/>
              <a:gd name="connsiteX8" fmla="*/ 0 w 11969877"/>
              <a:gd name="connsiteY8" fmla="*/ 126232 h 233465"/>
              <a:gd name="connsiteX9" fmla="*/ 0 w 11969877"/>
              <a:gd name="connsiteY9" fmla="*/ 109891 h 233465"/>
              <a:gd name="connsiteX10" fmla="*/ 8695556 w 11969877"/>
              <a:gd name="connsiteY10" fmla="*/ 109891 h 233465"/>
              <a:gd name="connsiteX11" fmla="*/ 8949770 w 11969877"/>
              <a:gd name="connsiteY11" fmla="*/ 0 h 233465"/>
              <a:gd name="connsiteX0" fmla="*/ 8949770 w 11969877"/>
              <a:gd name="connsiteY0" fmla="*/ 0 h 233465"/>
              <a:gd name="connsiteX1" fmla="*/ 11969877 w 11969877"/>
              <a:gd name="connsiteY1" fmla="*/ 0 h 233465"/>
              <a:gd name="connsiteX2" fmla="*/ 11969877 w 11969877"/>
              <a:gd name="connsiteY2" fmla="*/ 233465 h 233465"/>
              <a:gd name="connsiteX3" fmla="*/ 9027859 w 11969877"/>
              <a:gd name="connsiteY3" fmla="*/ 233465 h 233465"/>
              <a:gd name="connsiteX4" fmla="*/ 1048596 w 11969877"/>
              <a:gd name="connsiteY4" fmla="*/ 233465 h 233465"/>
              <a:gd name="connsiteX5" fmla="*/ 33436 w 11969877"/>
              <a:gd name="connsiteY5" fmla="*/ 233465 h 233465"/>
              <a:gd name="connsiteX6" fmla="*/ 0 w 11969877"/>
              <a:gd name="connsiteY6" fmla="*/ 233465 h 233465"/>
              <a:gd name="connsiteX7" fmla="*/ 0 w 11969877"/>
              <a:gd name="connsiteY7" fmla="*/ 169375 h 233465"/>
              <a:gd name="connsiteX8" fmla="*/ 0 w 11969877"/>
              <a:gd name="connsiteY8" fmla="*/ 126232 h 233465"/>
              <a:gd name="connsiteX9" fmla="*/ 0 w 11969877"/>
              <a:gd name="connsiteY9" fmla="*/ 109891 h 233465"/>
              <a:gd name="connsiteX10" fmla="*/ 8708028 w 11969877"/>
              <a:gd name="connsiteY10" fmla="*/ 141641 h 233465"/>
              <a:gd name="connsiteX11" fmla="*/ 8949770 w 11969877"/>
              <a:gd name="connsiteY11" fmla="*/ 0 h 2334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969877" h="233465">
                <a:moveTo>
                  <a:pt x="8949770" y="0"/>
                </a:moveTo>
                <a:lnTo>
                  <a:pt x="11969877" y="0"/>
                </a:lnTo>
                <a:lnTo>
                  <a:pt x="11969877" y="233465"/>
                </a:lnTo>
                <a:lnTo>
                  <a:pt x="9027859" y="233465"/>
                </a:lnTo>
                <a:lnTo>
                  <a:pt x="1048596" y="233465"/>
                </a:lnTo>
                <a:lnTo>
                  <a:pt x="33436" y="233465"/>
                </a:lnTo>
                <a:lnTo>
                  <a:pt x="0" y="233465"/>
                </a:lnTo>
                <a:lnTo>
                  <a:pt x="0" y="169375"/>
                </a:lnTo>
                <a:lnTo>
                  <a:pt x="0" y="126232"/>
                </a:lnTo>
                <a:lnTo>
                  <a:pt x="0" y="109891"/>
                </a:lnTo>
                <a:lnTo>
                  <a:pt x="8708028" y="141641"/>
                </a:lnTo>
                <a:lnTo>
                  <a:pt x="8949770" y="0"/>
                </a:ln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Bef>
                <a:spcPts val="800"/>
              </a:spcBef>
            </a:pPr>
            <a:endParaRPr lang="en-US" sz="1800" dirty="0">
              <a:solidFill>
                <a:schemeClr val="bg1"/>
              </a:solidFill>
            </a:endParaRPr>
          </a:p>
        </p:txBody>
      </p:sp>
      <p:graphicFrame>
        <p:nvGraphicFramePr>
          <p:cNvPr id="5" name="Object 4" hidden="1">
            <a:extLst>
              <a:ext uri="{FF2B5EF4-FFF2-40B4-BE49-F238E27FC236}">
                <a16:creationId xmlns:a16="http://schemas.microsoft.com/office/drawing/2014/main" id="{E790734D-BEF5-41A5-9F49-51E157572097}"/>
              </a:ext>
            </a:extLst>
          </p:cNvPr>
          <p:cNvGraphicFramePr>
            <a:graphicFrameLocks noChangeAspect="1"/>
          </p:cNvGraphicFramePr>
          <p:nvPr>
            <p:custDataLst>
              <p:tags r:id="rId29"/>
            </p:custDataLst>
            <p:extLst>
              <p:ext uri="{D42A27DB-BD31-4B8C-83A1-F6EECF244321}">
                <p14:modId xmlns:p14="http://schemas.microsoft.com/office/powerpoint/2010/main" val="35326163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1" imgW="383" imgH="384" progId="TCLayout.ActiveDocument.1">
                  <p:embed/>
                </p:oleObj>
              </mc:Choice>
              <mc:Fallback>
                <p:oleObj name="think-cell Slide" r:id="rId31" imgW="383" imgH="384" progId="TCLayout.ActiveDocument.1">
                  <p:embed/>
                  <p:pic>
                    <p:nvPicPr>
                      <p:cNvPr id="5" name="Object 4" hidden="1">
                        <a:extLst>
                          <a:ext uri="{FF2B5EF4-FFF2-40B4-BE49-F238E27FC236}">
                            <a16:creationId xmlns:a16="http://schemas.microsoft.com/office/drawing/2014/main" id="{E790734D-BEF5-41A5-9F49-51E157572097}"/>
                          </a:ext>
                        </a:extLst>
                      </p:cNvPr>
                      <p:cNvPicPr/>
                      <p:nvPr/>
                    </p:nvPicPr>
                    <p:blipFill>
                      <a:blip r:embed="rId3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FBF71598-268F-4340-989F-8086D0EE7691}"/>
              </a:ext>
            </a:extLst>
          </p:cNvPr>
          <p:cNvSpPr/>
          <p:nvPr>
            <p:custDataLst>
              <p:tags r:id="rId30"/>
            </p:custDataLst>
          </p:nvPr>
        </p:nvSpPr>
        <p:spPr>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lnSpc>
                <a:spcPct val="90000"/>
              </a:lnSpc>
              <a:spcBef>
                <a:spcPts val="800"/>
              </a:spcBef>
            </a:pPr>
            <a:endParaRPr lang="en-US" sz="3200" b="0" i="0" baseline="0" dirty="0">
              <a:solidFill>
                <a:schemeClr val="bg1"/>
              </a:solidFill>
              <a:latin typeface="PTCRaleway" panose="020B0503030101060003" pitchFamily="34" charset="0"/>
              <a:ea typeface="+mj-ea"/>
              <a:cs typeface="+mj-cs"/>
              <a:sym typeface="Century Gothic" panose="020B0502020202020204" pitchFamily="34" charset="0"/>
            </a:endParaRPr>
          </a:p>
        </p:txBody>
      </p:sp>
      <p:sp>
        <p:nvSpPr>
          <p:cNvPr id="2" name="Title Placeholder 1"/>
          <p:cNvSpPr>
            <a:spLocks noGrp="1"/>
          </p:cNvSpPr>
          <p:nvPr>
            <p:ph type="title"/>
          </p:nvPr>
        </p:nvSpPr>
        <p:spPr>
          <a:xfrm>
            <a:off x="490760" y="678174"/>
            <a:ext cx="10789920" cy="369332"/>
          </a:xfrm>
          <a:prstGeom prst="rect">
            <a:avLst/>
          </a:prstGeom>
        </p:spPr>
        <p:txBody>
          <a:bodyPr vert="horz" lIns="0" tIns="0" rIns="0" bIns="0" rtlCol="0" anchor="t" anchorCtr="0">
            <a:spAutoFit/>
          </a:bodyPr>
          <a:lstStyle/>
          <a:p>
            <a:r>
              <a:rPr lang="en-US" dirty="0"/>
              <a:t>add title – keep it brief</a:t>
            </a:r>
          </a:p>
        </p:txBody>
      </p:sp>
      <p:sp>
        <p:nvSpPr>
          <p:cNvPr id="3" name="Text Placeholder 2"/>
          <p:cNvSpPr>
            <a:spLocks noGrp="1"/>
          </p:cNvSpPr>
          <p:nvPr>
            <p:ph type="body" idx="1"/>
          </p:nvPr>
        </p:nvSpPr>
        <p:spPr>
          <a:xfrm>
            <a:off x="496648" y="1630680"/>
            <a:ext cx="10789919" cy="4572000"/>
          </a:xfrm>
          <a:prstGeom prst="rect">
            <a:avLst/>
          </a:prstGeom>
        </p:spPr>
        <p:txBody>
          <a:bodyPr vert="horz" lIns="0" tIns="0" rIns="0" bIns="0" rtlCol="0">
            <a:noAutofit/>
          </a:bodyPr>
          <a:lstStyle/>
          <a:p>
            <a:pPr lvl="0"/>
            <a:r>
              <a:rPr lang="en-US" dirty="0"/>
              <a:t>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Rectangle 18">
            <a:extLst>
              <a:ext uri="{FF2B5EF4-FFF2-40B4-BE49-F238E27FC236}">
                <a16:creationId xmlns:a16="http://schemas.microsoft.com/office/drawing/2014/main" id="{16FE1755-5705-4A27-8F5C-B2D6D4D1E477}"/>
              </a:ext>
            </a:extLst>
          </p:cNvPr>
          <p:cNvSpPr/>
          <p:nvPr userDrawn="1"/>
        </p:nvSpPr>
        <p:spPr>
          <a:xfrm>
            <a:off x="496649" y="389410"/>
            <a:ext cx="955563" cy="45719"/>
          </a:xfrm>
          <a:prstGeom prst="rect">
            <a:avLst/>
          </a:prstGeom>
          <a:solidFill>
            <a:srgbClr val="5AB73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p>
        </p:txBody>
      </p:sp>
      <p:pic>
        <p:nvPicPr>
          <p:cNvPr id="73" name="Graphic 72">
            <a:extLst>
              <a:ext uri="{FF2B5EF4-FFF2-40B4-BE49-F238E27FC236}">
                <a16:creationId xmlns:a16="http://schemas.microsoft.com/office/drawing/2014/main" id="{03CC0558-A5CC-41DA-B025-39B57BA2FE65}"/>
              </a:ext>
            </a:extLst>
          </p:cNvPr>
          <p:cNvPicPr>
            <a:picLocks noChangeAspect="1"/>
          </p:cNvPicPr>
          <p:nvPr userDrawn="1"/>
        </p:nvPicPr>
        <p:blipFill>
          <a:blip r:embed="rId33">
            <a:extLst>
              <a:ext uri="{96DAC541-7B7A-43D3-8B79-37D633B846F1}">
                <asvg:svgBlip xmlns:asvg="http://schemas.microsoft.com/office/drawing/2016/SVG/main" r:embed="rId34"/>
              </a:ext>
            </a:extLst>
          </a:blip>
          <a:stretch>
            <a:fillRect/>
          </a:stretch>
        </p:blipFill>
        <p:spPr>
          <a:xfrm>
            <a:off x="45443" y="4871963"/>
            <a:ext cx="58992" cy="1828800"/>
          </a:xfrm>
          <a:prstGeom prst="rect">
            <a:avLst/>
          </a:prstGeom>
        </p:spPr>
      </p:pic>
      <p:sp>
        <p:nvSpPr>
          <p:cNvPr id="42" name="Freeform 4">
            <a:extLst>
              <a:ext uri="{FF2B5EF4-FFF2-40B4-BE49-F238E27FC236}">
                <a16:creationId xmlns:a16="http://schemas.microsoft.com/office/drawing/2014/main" id="{13DF9A9F-26BE-4073-8E1D-B518CB89266F}"/>
              </a:ext>
            </a:extLst>
          </p:cNvPr>
          <p:cNvSpPr>
            <a:spLocks noChangeAspect="1"/>
          </p:cNvSpPr>
          <p:nvPr userDrawn="1"/>
        </p:nvSpPr>
        <p:spPr>
          <a:xfrm>
            <a:off x="8585655" y="6620256"/>
            <a:ext cx="545655" cy="237744"/>
          </a:xfrm>
          <a:custGeom>
            <a:avLst/>
            <a:gdLst>
              <a:gd name="connsiteX0" fmla="*/ 57150 w 1790700"/>
              <a:gd name="connsiteY0" fmla="*/ 0 h 3086100"/>
              <a:gd name="connsiteX1" fmla="*/ 1790700 w 1790700"/>
              <a:gd name="connsiteY1" fmla="*/ 3086100 h 3086100"/>
              <a:gd name="connsiteX2" fmla="*/ 0 w 1790700"/>
              <a:gd name="connsiteY2" fmla="*/ 3067050 h 3086100"/>
              <a:gd name="connsiteX3" fmla="*/ 0 w 1790700"/>
              <a:gd name="connsiteY3" fmla="*/ 0 h 3086100"/>
              <a:gd name="connsiteX4" fmla="*/ 19050 w 1790700"/>
              <a:gd name="connsiteY4" fmla="*/ 38100 h 3086100"/>
              <a:gd name="connsiteX5" fmla="*/ 19050 w 1790700"/>
              <a:gd name="connsiteY5" fmla="*/ 57150 h 3086100"/>
              <a:gd name="connsiteX0" fmla="*/ 57150 w 1790700"/>
              <a:gd name="connsiteY0" fmla="*/ 0 h 3086100"/>
              <a:gd name="connsiteX1" fmla="*/ 1790700 w 1790700"/>
              <a:gd name="connsiteY1" fmla="*/ 3086100 h 3086100"/>
              <a:gd name="connsiteX2" fmla="*/ 0 w 1790700"/>
              <a:gd name="connsiteY2" fmla="*/ 3067050 h 3086100"/>
              <a:gd name="connsiteX3" fmla="*/ 0 w 1790700"/>
              <a:gd name="connsiteY3" fmla="*/ 0 h 3086100"/>
              <a:gd name="connsiteX4" fmla="*/ 19050 w 1790700"/>
              <a:gd name="connsiteY4" fmla="*/ 38100 h 3086100"/>
              <a:gd name="connsiteX0" fmla="*/ 57150 w 1790700"/>
              <a:gd name="connsiteY0" fmla="*/ 0 h 3086100"/>
              <a:gd name="connsiteX1" fmla="*/ 1790700 w 1790700"/>
              <a:gd name="connsiteY1" fmla="*/ 3086100 h 3086100"/>
              <a:gd name="connsiteX2" fmla="*/ 0 w 1790700"/>
              <a:gd name="connsiteY2" fmla="*/ 3067050 h 3086100"/>
              <a:gd name="connsiteX3" fmla="*/ 0 w 1790700"/>
              <a:gd name="connsiteY3" fmla="*/ 0 h 3086100"/>
              <a:gd name="connsiteX0" fmla="*/ 57150 w 1790700"/>
              <a:gd name="connsiteY0" fmla="*/ 0 h 3086100"/>
              <a:gd name="connsiteX1" fmla="*/ 1790700 w 1790700"/>
              <a:gd name="connsiteY1" fmla="*/ 3086100 h 3086100"/>
              <a:gd name="connsiteX2" fmla="*/ 0 w 1790700"/>
              <a:gd name="connsiteY2" fmla="*/ 3067050 h 3086100"/>
              <a:gd name="connsiteX0" fmla="*/ 0 w 1733550"/>
              <a:gd name="connsiteY0" fmla="*/ 0 h 3086100"/>
              <a:gd name="connsiteX1" fmla="*/ 1733550 w 1733550"/>
              <a:gd name="connsiteY1" fmla="*/ 3086100 h 3086100"/>
              <a:gd name="connsiteX2" fmla="*/ 613087 w 1733550"/>
              <a:gd name="connsiteY2" fmla="*/ 3077523 h 3086100"/>
              <a:gd name="connsiteX0" fmla="*/ 245654 w 1120463"/>
              <a:gd name="connsiteY0" fmla="*/ 0 h 1525705"/>
              <a:gd name="connsiteX1" fmla="*/ 1120463 w 1120463"/>
              <a:gd name="connsiteY1" fmla="*/ 1525705 h 1525705"/>
              <a:gd name="connsiteX2" fmla="*/ 0 w 1120463"/>
              <a:gd name="connsiteY2" fmla="*/ 1517128 h 1525705"/>
              <a:gd name="connsiteX0" fmla="*/ 811167 w 1120463"/>
              <a:gd name="connsiteY0" fmla="*/ 0 h 1211531"/>
              <a:gd name="connsiteX1" fmla="*/ 1120463 w 1120463"/>
              <a:gd name="connsiteY1" fmla="*/ 1211531 h 1211531"/>
              <a:gd name="connsiteX2" fmla="*/ 0 w 1120463"/>
              <a:gd name="connsiteY2" fmla="*/ 1202954 h 1211531"/>
              <a:gd name="connsiteX0" fmla="*/ 874002 w 1183298"/>
              <a:gd name="connsiteY0" fmla="*/ 0 h 1213426"/>
              <a:gd name="connsiteX1" fmla="*/ 1183298 w 1183298"/>
              <a:gd name="connsiteY1" fmla="*/ 1211531 h 1213426"/>
              <a:gd name="connsiteX2" fmla="*/ 0 w 1183298"/>
              <a:gd name="connsiteY2" fmla="*/ 1213426 h 1213426"/>
              <a:gd name="connsiteX0" fmla="*/ 857693 w 1166989"/>
              <a:gd name="connsiteY0" fmla="*/ 0 h 1213426"/>
              <a:gd name="connsiteX1" fmla="*/ 1166989 w 1166989"/>
              <a:gd name="connsiteY1" fmla="*/ 1211531 h 1213426"/>
              <a:gd name="connsiteX2" fmla="*/ 0 w 1166989"/>
              <a:gd name="connsiteY2" fmla="*/ 1213426 h 1213426"/>
              <a:gd name="connsiteX0" fmla="*/ 1062735 w 1166989"/>
              <a:gd name="connsiteY0" fmla="*/ 0 h 857667"/>
              <a:gd name="connsiteX1" fmla="*/ 1166989 w 1166989"/>
              <a:gd name="connsiteY1" fmla="*/ 855772 h 857667"/>
              <a:gd name="connsiteX2" fmla="*/ 0 w 1166989"/>
              <a:gd name="connsiteY2" fmla="*/ 857667 h 857667"/>
              <a:gd name="connsiteX0" fmla="*/ 1037104 w 1166989"/>
              <a:gd name="connsiteY0" fmla="*/ 0 h 928818"/>
              <a:gd name="connsiteX1" fmla="*/ 1166989 w 1166989"/>
              <a:gd name="connsiteY1" fmla="*/ 926923 h 928818"/>
              <a:gd name="connsiteX2" fmla="*/ 0 w 1166989"/>
              <a:gd name="connsiteY2" fmla="*/ 928818 h 928818"/>
              <a:gd name="connsiteX0" fmla="*/ 1037104 w 1037104"/>
              <a:gd name="connsiteY0" fmla="*/ 0 h 962499"/>
              <a:gd name="connsiteX1" fmla="*/ 791077 w 1037104"/>
              <a:gd name="connsiteY1" fmla="*/ 962499 h 962499"/>
              <a:gd name="connsiteX2" fmla="*/ 0 w 1037104"/>
              <a:gd name="connsiteY2" fmla="*/ 928818 h 962499"/>
              <a:gd name="connsiteX0" fmla="*/ 1037104 w 1037104"/>
              <a:gd name="connsiteY0" fmla="*/ 0 h 962499"/>
              <a:gd name="connsiteX1" fmla="*/ 791077 w 1037104"/>
              <a:gd name="connsiteY1" fmla="*/ 962499 h 962499"/>
              <a:gd name="connsiteX2" fmla="*/ 0 w 1037104"/>
              <a:gd name="connsiteY2" fmla="*/ 955031 h 962499"/>
              <a:gd name="connsiteX0" fmla="*/ 1046547 w 1046547"/>
              <a:gd name="connsiteY0" fmla="*/ 0 h 949391"/>
              <a:gd name="connsiteX1" fmla="*/ 791077 w 1046547"/>
              <a:gd name="connsiteY1" fmla="*/ 949391 h 949391"/>
              <a:gd name="connsiteX2" fmla="*/ 0 w 1046547"/>
              <a:gd name="connsiteY2" fmla="*/ 941923 h 949391"/>
            </a:gdLst>
            <a:ahLst/>
            <a:cxnLst>
              <a:cxn ang="0">
                <a:pos x="connsiteX0" y="connsiteY0"/>
              </a:cxn>
              <a:cxn ang="0">
                <a:pos x="connsiteX1" y="connsiteY1"/>
              </a:cxn>
              <a:cxn ang="0">
                <a:pos x="connsiteX2" y="connsiteY2"/>
              </a:cxn>
            </a:cxnLst>
            <a:rect l="l" t="t" r="r" b="b"/>
            <a:pathLst>
              <a:path w="1046547" h="949391">
                <a:moveTo>
                  <a:pt x="1046547" y="0"/>
                </a:moveTo>
                <a:lnTo>
                  <a:pt x="791077" y="949391"/>
                </a:lnTo>
                <a:lnTo>
                  <a:pt x="0" y="941923"/>
                </a:lnTo>
              </a:path>
            </a:pathLst>
          </a:custGeom>
          <a:gradFill>
            <a:gsLst>
              <a:gs pos="35000">
                <a:srgbClr val="6CC04A"/>
              </a:gs>
              <a:gs pos="100000">
                <a:schemeClr val="bg2">
                  <a:lumMod val="60000"/>
                  <a:lumOff val="4000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6775"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solidFill>
                <a:srgbClr val="FFFFFF"/>
              </a:solidFill>
              <a:effectLst/>
              <a:uLnTx/>
              <a:uFillTx/>
              <a:latin typeface="PTCRaleway" panose="020B0503030101060003" pitchFamily="34" charset="0"/>
              <a:ea typeface="+mn-ea"/>
              <a:cs typeface="+mn-cs"/>
            </a:endParaRPr>
          </a:p>
        </p:txBody>
      </p:sp>
      <p:sp>
        <p:nvSpPr>
          <p:cNvPr id="117" name="Freeform: Shape 116">
            <a:extLst>
              <a:ext uri="{FF2B5EF4-FFF2-40B4-BE49-F238E27FC236}">
                <a16:creationId xmlns:a16="http://schemas.microsoft.com/office/drawing/2014/main" id="{E24A4945-5D5C-4CE3-AF46-3DACE44E9514}"/>
              </a:ext>
            </a:extLst>
          </p:cNvPr>
          <p:cNvSpPr/>
          <p:nvPr userDrawn="1"/>
        </p:nvSpPr>
        <p:spPr>
          <a:xfrm>
            <a:off x="10100761" y="2762"/>
            <a:ext cx="702181" cy="675861"/>
          </a:xfrm>
          <a:custGeom>
            <a:avLst/>
            <a:gdLst>
              <a:gd name="connsiteX0" fmla="*/ 219875 w 702181"/>
              <a:gd name="connsiteY0" fmla="*/ 0 h 675861"/>
              <a:gd name="connsiteX1" fmla="*/ 570965 w 702181"/>
              <a:gd name="connsiteY1" fmla="*/ 0 h 675861"/>
              <a:gd name="connsiteX2" fmla="*/ 702181 w 702181"/>
              <a:gd name="connsiteY2" fmla="*/ 183874 h 675861"/>
              <a:gd name="connsiteX3" fmla="*/ 351091 w 702181"/>
              <a:gd name="connsiteY3" fmla="*/ 675861 h 675861"/>
              <a:gd name="connsiteX4" fmla="*/ 0 w 702181"/>
              <a:gd name="connsiteY4" fmla="*/ 675861 h 675861"/>
              <a:gd name="connsiteX5" fmla="*/ 351091 w 702181"/>
              <a:gd name="connsiteY5" fmla="*/ 183874 h 675861"/>
              <a:gd name="connsiteX6" fmla="*/ 219875 w 702181"/>
              <a:gd name="connsiteY6" fmla="*/ 0 h 6758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02181" h="675861">
                <a:moveTo>
                  <a:pt x="219875" y="0"/>
                </a:moveTo>
                <a:lnTo>
                  <a:pt x="570965" y="0"/>
                </a:lnTo>
                <a:lnTo>
                  <a:pt x="702181" y="183874"/>
                </a:lnTo>
                <a:lnTo>
                  <a:pt x="351091" y="675861"/>
                </a:lnTo>
                <a:lnTo>
                  <a:pt x="0" y="675861"/>
                </a:lnTo>
                <a:lnTo>
                  <a:pt x="351091" y="183874"/>
                </a:lnTo>
                <a:lnTo>
                  <a:pt x="219875" y="0"/>
                </a:lnTo>
                <a:close/>
              </a:path>
            </a:pathLst>
          </a:custGeom>
          <a:solidFill>
            <a:srgbClr val="C8C9C7">
              <a:alpha val="9000"/>
            </a:srgbClr>
          </a:solid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90000"/>
              </a:lnSpc>
              <a:spcBef>
                <a:spcPts val="80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PTCRaleway"/>
              <a:ea typeface="+mn-ea"/>
              <a:cs typeface="+mn-cs"/>
            </a:endParaRPr>
          </a:p>
        </p:txBody>
      </p:sp>
      <p:sp>
        <p:nvSpPr>
          <p:cNvPr id="119" name="Freeform: Shape 118">
            <a:extLst>
              <a:ext uri="{FF2B5EF4-FFF2-40B4-BE49-F238E27FC236}">
                <a16:creationId xmlns:a16="http://schemas.microsoft.com/office/drawing/2014/main" id="{A4C4021E-2657-42B7-B4E3-54880BAF86D1}"/>
              </a:ext>
            </a:extLst>
          </p:cNvPr>
          <p:cNvSpPr/>
          <p:nvPr userDrawn="1"/>
        </p:nvSpPr>
        <p:spPr>
          <a:xfrm>
            <a:off x="10586568" y="2762"/>
            <a:ext cx="702181" cy="675861"/>
          </a:xfrm>
          <a:custGeom>
            <a:avLst/>
            <a:gdLst>
              <a:gd name="connsiteX0" fmla="*/ 219875 w 702181"/>
              <a:gd name="connsiteY0" fmla="*/ 0 h 675861"/>
              <a:gd name="connsiteX1" fmla="*/ 570965 w 702181"/>
              <a:gd name="connsiteY1" fmla="*/ 0 h 675861"/>
              <a:gd name="connsiteX2" fmla="*/ 702181 w 702181"/>
              <a:gd name="connsiteY2" fmla="*/ 183874 h 675861"/>
              <a:gd name="connsiteX3" fmla="*/ 351091 w 702181"/>
              <a:gd name="connsiteY3" fmla="*/ 675861 h 675861"/>
              <a:gd name="connsiteX4" fmla="*/ 0 w 702181"/>
              <a:gd name="connsiteY4" fmla="*/ 675861 h 675861"/>
              <a:gd name="connsiteX5" fmla="*/ 351091 w 702181"/>
              <a:gd name="connsiteY5" fmla="*/ 183874 h 675861"/>
              <a:gd name="connsiteX6" fmla="*/ 219875 w 702181"/>
              <a:gd name="connsiteY6" fmla="*/ 0 h 6758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02181" h="675861">
                <a:moveTo>
                  <a:pt x="219875" y="0"/>
                </a:moveTo>
                <a:lnTo>
                  <a:pt x="570965" y="0"/>
                </a:lnTo>
                <a:lnTo>
                  <a:pt x="702181" y="183874"/>
                </a:lnTo>
                <a:lnTo>
                  <a:pt x="351091" y="675861"/>
                </a:lnTo>
                <a:lnTo>
                  <a:pt x="0" y="675861"/>
                </a:lnTo>
                <a:lnTo>
                  <a:pt x="351091" y="183874"/>
                </a:lnTo>
                <a:lnTo>
                  <a:pt x="219875" y="0"/>
                </a:lnTo>
                <a:close/>
              </a:path>
            </a:pathLst>
          </a:custGeom>
          <a:solidFill>
            <a:srgbClr val="C8C9C7">
              <a:alpha val="14000"/>
            </a:srgbClr>
          </a:solid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90000"/>
              </a:lnSpc>
              <a:spcBef>
                <a:spcPts val="80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PTCRaleway"/>
              <a:ea typeface="+mn-ea"/>
              <a:cs typeface="+mn-cs"/>
            </a:endParaRPr>
          </a:p>
        </p:txBody>
      </p:sp>
      <p:sp>
        <p:nvSpPr>
          <p:cNvPr id="120" name="Freeform: Shape 119">
            <a:extLst>
              <a:ext uri="{FF2B5EF4-FFF2-40B4-BE49-F238E27FC236}">
                <a16:creationId xmlns:a16="http://schemas.microsoft.com/office/drawing/2014/main" id="{B002BFEA-4620-4793-90D3-45DBE94C2925}"/>
              </a:ext>
            </a:extLst>
          </p:cNvPr>
          <p:cNvSpPr/>
          <p:nvPr userDrawn="1"/>
        </p:nvSpPr>
        <p:spPr>
          <a:xfrm>
            <a:off x="11072375" y="2762"/>
            <a:ext cx="702181" cy="675861"/>
          </a:xfrm>
          <a:custGeom>
            <a:avLst/>
            <a:gdLst>
              <a:gd name="connsiteX0" fmla="*/ 219875 w 702181"/>
              <a:gd name="connsiteY0" fmla="*/ 0 h 675861"/>
              <a:gd name="connsiteX1" fmla="*/ 570965 w 702181"/>
              <a:gd name="connsiteY1" fmla="*/ 0 h 675861"/>
              <a:gd name="connsiteX2" fmla="*/ 702181 w 702181"/>
              <a:gd name="connsiteY2" fmla="*/ 183874 h 675861"/>
              <a:gd name="connsiteX3" fmla="*/ 351091 w 702181"/>
              <a:gd name="connsiteY3" fmla="*/ 675861 h 675861"/>
              <a:gd name="connsiteX4" fmla="*/ 0 w 702181"/>
              <a:gd name="connsiteY4" fmla="*/ 675861 h 675861"/>
              <a:gd name="connsiteX5" fmla="*/ 351091 w 702181"/>
              <a:gd name="connsiteY5" fmla="*/ 183874 h 675861"/>
              <a:gd name="connsiteX6" fmla="*/ 219875 w 702181"/>
              <a:gd name="connsiteY6" fmla="*/ 0 h 67586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02181" h="675861">
                <a:moveTo>
                  <a:pt x="219875" y="0"/>
                </a:moveTo>
                <a:lnTo>
                  <a:pt x="570965" y="0"/>
                </a:lnTo>
                <a:lnTo>
                  <a:pt x="702181" y="183874"/>
                </a:lnTo>
                <a:lnTo>
                  <a:pt x="351091" y="675861"/>
                </a:lnTo>
                <a:lnTo>
                  <a:pt x="0" y="675861"/>
                </a:lnTo>
                <a:lnTo>
                  <a:pt x="351091" y="183874"/>
                </a:lnTo>
                <a:lnTo>
                  <a:pt x="219875" y="0"/>
                </a:lnTo>
                <a:close/>
              </a:path>
            </a:pathLst>
          </a:custGeom>
          <a:solidFill>
            <a:srgbClr val="C8C9C7">
              <a:alpha val="20000"/>
            </a:srgbClr>
          </a:solid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90000"/>
              </a:lnSpc>
              <a:spcBef>
                <a:spcPts val="800"/>
              </a:spcBef>
              <a:spcAft>
                <a:spcPts val="0"/>
              </a:spcAft>
              <a:buClrTx/>
              <a:buSzTx/>
              <a:buFontTx/>
              <a:buNone/>
              <a:tabLst/>
              <a:defRPr/>
            </a:pPr>
            <a:endParaRPr kumimoji="0" lang="en-US" sz="1800" b="0" i="0" u="none" strike="noStrike" kern="0" cap="none" spc="0" normalizeH="0" baseline="0" noProof="0" dirty="0">
              <a:ln>
                <a:noFill/>
              </a:ln>
              <a:solidFill>
                <a:srgbClr val="FFFFFF"/>
              </a:solidFill>
              <a:effectLst/>
              <a:uLnTx/>
              <a:uFillTx/>
              <a:latin typeface="PTCRaleway"/>
              <a:ea typeface="+mn-ea"/>
              <a:cs typeface="+mn-cs"/>
            </a:endParaRPr>
          </a:p>
        </p:txBody>
      </p:sp>
      <p:grpSp>
        <p:nvGrpSpPr>
          <p:cNvPr id="123" name="Graphic 42">
            <a:extLst>
              <a:ext uri="{FF2B5EF4-FFF2-40B4-BE49-F238E27FC236}">
                <a16:creationId xmlns:a16="http://schemas.microsoft.com/office/drawing/2014/main" id="{C9CE943F-D82F-4669-9376-BFAC04830ABD}"/>
              </a:ext>
            </a:extLst>
          </p:cNvPr>
          <p:cNvGrpSpPr/>
          <p:nvPr userDrawn="1"/>
        </p:nvGrpSpPr>
        <p:grpSpPr>
          <a:xfrm flipV="1">
            <a:off x="11042268" y="241617"/>
            <a:ext cx="907034" cy="112903"/>
            <a:chOff x="10978768" y="6357873"/>
            <a:chExt cx="907034" cy="112903"/>
          </a:xfrm>
          <a:solidFill>
            <a:srgbClr val="B8B7B9"/>
          </a:solidFill>
        </p:grpSpPr>
        <p:sp>
          <p:nvSpPr>
            <p:cNvPr id="133" name="Freeform: Shape 132">
              <a:extLst>
                <a:ext uri="{FF2B5EF4-FFF2-40B4-BE49-F238E27FC236}">
                  <a16:creationId xmlns:a16="http://schemas.microsoft.com/office/drawing/2014/main" id="{453F8F07-CF6E-45C8-AC20-6B8B79C580CF}"/>
                </a:ext>
              </a:extLst>
            </p:cNvPr>
            <p:cNvSpPr/>
            <p:nvPr/>
          </p:nvSpPr>
          <p:spPr>
            <a:xfrm>
              <a:off x="10978768" y="6393878"/>
              <a:ext cx="16447" cy="76898"/>
            </a:xfrm>
            <a:custGeom>
              <a:avLst/>
              <a:gdLst>
                <a:gd name="connsiteX0" fmla="*/ 0 w 16447"/>
                <a:gd name="connsiteY0" fmla="*/ 76899 h 76898"/>
                <a:gd name="connsiteX1" fmla="*/ 0 w 16447"/>
                <a:gd name="connsiteY1" fmla="*/ 0 h 76898"/>
                <a:gd name="connsiteX2" fmla="*/ 16447 w 16447"/>
                <a:gd name="connsiteY2" fmla="*/ 0 h 76898"/>
                <a:gd name="connsiteX3" fmla="*/ 16447 w 16447"/>
                <a:gd name="connsiteY3" fmla="*/ 76899 h 76898"/>
                <a:gd name="connsiteX4" fmla="*/ 0 w 16447"/>
                <a:gd name="connsiteY4" fmla="*/ 76899 h 768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447" h="76898">
                  <a:moveTo>
                    <a:pt x="0" y="76899"/>
                  </a:moveTo>
                  <a:lnTo>
                    <a:pt x="0" y="0"/>
                  </a:lnTo>
                  <a:lnTo>
                    <a:pt x="16447" y="0"/>
                  </a:lnTo>
                  <a:lnTo>
                    <a:pt x="16447" y="76899"/>
                  </a:lnTo>
                  <a:lnTo>
                    <a:pt x="0" y="76899"/>
                  </a:lnTo>
                  <a:close/>
                </a:path>
              </a:pathLst>
            </a:custGeom>
            <a:solidFill>
              <a:srgbClr val="B8B7B9"/>
            </a:solidFill>
            <a:ln w="6350"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D4647"/>
                </a:solidFill>
                <a:effectLst/>
                <a:uLnTx/>
                <a:uFillTx/>
              </a:endParaRPr>
            </a:p>
          </p:txBody>
        </p:sp>
        <p:sp>
          <p:nvSpPr>
            <p:cNvPr id="134" name="Freeform: Shape 133">
              <a:extLst>
                <a:ext uri="{FF2B5EF4-FFF2-40B4-BE49-F238E27FC236}">
                  <a16:creationId xmlns:a16="http://schemas.microsoft.com/office/drawing/2014/main" id="{CED4C5C8-A7FC-4FB8-8D39-41B48E71D318}"/>
                </a:ext>
              </a:extLst>
            </p:cNvPr>
            <p:cNvSpPr/>
            <p:nvPr/>
          </p:nvSpPr>
          <p:spPr>
            <a:xfrm>
              <a:off x="11041824" y="6393878"/>
              <a:ext cx="16446" cy="76898"/>
            </a:xfrm>
            <a:custGeom>
              <a:avLst/>
              <a:gdLst>
                <a:gd name="connsiteX0" fmla="*/ 0 w 16446"/>
                <a:gd name="connsiteY0" fmla="*/ 76899 h 76898"/>
                <a:gd name="connsiteX1" fmla="*/ 0 w 16446"/>
                <a:gd name="connsiteY1" fmla="*/ 0 h 76898"/>
                <a:gd name="connsiteX2" fmla="*/ 16446 w 16446"/>
                <a:gd name="connsiteY2" fmla="*/ 0 h 76898"/>
                <a:gd name="connsiteX3" fmla="*/ 16446 w 16446"/>
                <a:gd name="connsiteY3" fmla="*/ 76899 h 76898"/>
                <a:gd name="connsiteX4" fmla="*/ 0 w 16446"/>
                <a:gd name="connsiteY4" fmla="*/ 76899 h 768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446" h="76898">
                  <a:moveTo>
                    <a:pt x="0" y="76899"/>
                  </a:moveTo>
                  <a:lnTo>
                    <a:pt x="0" y="0"/>
                  </a:lnTo>
                  <a:lnTo>
                    <a:pt x="16446" y="0"/>
                  </a:lnTo>
                  <a:lnTo>
                    <a:pt x="16446" y="76899"/>
                  </a:lnTo>
                  <a:lnTo>
                    <a:pt x="0" y="76899"/>
                  </a:lnTo>
                  <a:close/>
                </a:path>
              </a:pathLst>
            </a:custGeom>
            <a:solidFill>
              <a:srgbClr val="B8B7B9"/>
            </a:solidFill>
            <a:ln w="6350"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D4647"/>
                </a:solidFill>
                <a:effectLst/>
                <a:uLnTx/>
                <a:uFillTx/>
              </a:endParaRPr>
            </a:p>
          </p:txBody>
        </p:sp>
        <p:sp>
          <p:nvSpPr>
            <p:cNvPr id="135" name="Freeform: Shape 134">
              <a:extLst>
                <a:ext uri="{FF2B5EF4-FFF2-40B4-BE49-F238E27FC236}">
                  <a16:creationId xmlns:a16="http://schemas.microsoft.com/office/drawing/2014/main" id="{3875CC80-2EE3-44A2-AB9F-821C5BE5D095}"/>
                </a:ext>
              </a:extLst>
            </p:cNvPr>
            <p:cNvSpPr/>
            <p:nvPr/>
          </p:nvSpPr>
          <p:spPr>
            <a:xfrm>
              <a:off x="11104880" y="6393878"/>
              <a:ext cx="16446" cy="76898"/>
            </a:xfrm>
            <a:custGeom>
              <a:avLst/>
              <a:gdLst>
                <a:gd name="connsiteX0" fmla="*/ 0 w 16446"/>
                <a:gd name="connsiteY0" fmla="*/ 76899 h 76898"/>
                <a:gd name="connsiteX1" fmla="*/ 0 w 16446"/>
                <a:gd name="connsiteY1" fmla="*/ 0 h 76898"/>
                <a:gd name="connsiteX2" fmla="*/ 16446 w 16446"/>
                <a:gd name="connsiteY2" fmla="*/ 0 h 76898"/>
                <a:gd name="connsiteX3" fmla="*/ 16446 w 16446"/>
                <a:gd name="connsiteY3" fmla="*/ 76899 h 76898"/>
                <a:gd name="connsiteX4" fmla="*/ 0 w 16446"/>
                <a:gd name="connsiteY4" fmla="*/ 76899 h 768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446" h="76898">
                  <a:moveTo>
                    <a:pt x="0" y="76899"/>
                  </a:moveTo>
                  <a:lnTo>
                    <a:pt x="0" y="0"/>
                  </a:lnTo>
                  <a:lnTo>
                    <a:pt x="16446" y="0"/>
                  </a:lnTo>
                  <a:lnTo>
                    <a:pt x="16446" y="76899"/>
                  </a:lnTo>
                  <a:lnTo>
                    <a:pt x="0" y="76899"/>
                  </a:lnTo>
                  <a:close/>
                </a:path>
              </a:pathLst>
            </a:custGeom>
            <a:solidFill>
              <a:srgbClr val="B8B7B9"/>
            </a:solidFill>
            <a:ln w="6350"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D4647"/>
                </a:solidFill>
                <a:effectLst/>
                <a:uLnTx/>
                <a:uFillTx/>
              </a:endParaRPr>
            </a:p>
          </p:txBody>
        </p:sp>
        <p:sp>
          <p:nvSpPr>
            <p:cNvPr id="136" name="Freeform: Shape 135">
              <a:extLst>
                <a:ext uri="{FF2B5EF4-FFF2-40B4-BE49-F238E27FC236}">
                  <a16:creationId xmlns:a16="http://schemas.microsoft.com/office/drawing/2014/main" id="{CA54CFE8-6216-4380-A4C8-B1D07F3A1D94}"/>
                </a:ext>
              </a:extLst>
            </p:cNvPr>
            <p:cNvSpPr/>
            <p:nvPr/>
          </p:nvSpPr>
          <p:spPr>
            <a:xfrm>
              <a:off x="11167998" y="6357873"/>
              <a:ext cx="16382" cy="112903"/>
            </a:xfrm>
            <a:custGeom>
              <a:avLst/>
              <a:gdLst>
                <a:gd name="connsiteX0" fmla="*/ 0 w 16382"/>
                <a:gd name="connsiteY0" fmla="*/ 112903 h 112903"/>
                <a:gd name="connsiteX1" fmla="*/ 0 w 16382"/>
                <a:gd name="connsiteY1" fmla="*/ 0 h 112903"/>
                <a:gd name="connsiteX2" fmla="*/ 16383 w 16382"/>
                <a:gd name="connsiteY2" fmla="*/ 0 h 112903"/>
                <a:gd name="connsiteX3" fmla="*/ 16383 w 16382"/>
                <a:gd name="connsiteY3" fmla="*/ 112903 h 112903"/>
                <a:gd name="connsiteX4" fmla="*/ 0 w 16382"/>
                <a:gd name="connsiteY4" fmla="*/ 112903 h 1129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382" h="112903">
                  <a:moveTo>
                    <a:pt x="0" y="112903"/>
                  </a:moveTo>
                  <a:lnTo>
                    <a:pt x="0" y="0"/>
                  </a:lnTo>
                  <a:lnTo>
                    <a:pt x="16383" y="0"/>
                  </a:lnTo>
                  <a:lnTo>
                    <a:pt x="16383" y="112903"/>
                  </a:lnTo>
                  <a:lnTo>
                    <a:pt x="0" y="112903"/>
                  </a:lnTo>
                  <a:close/>
                </a:path>
              </a:pathLst>
            </a:custGeom>
            <a:solidFill>
              <a:srgbClr val="B8B7B9"/>
            </a:solidFill>
            <a:ln w="6350"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D4647"/>
                </a:solidFill>
                <a:effectLst/>
                <a:uLnTx/>
                <a:uFillTx/>
              </a:endParaRPr>
            </a:p>
          </p:txBody>
        </p:sp>
        <p:sp>
          <p:nvSpPr>
            <p:cNvPr id="137" name="Freeform: Shape 136">
              <a:extLst>
                <a:ext uri="{FF2B5EF4-FFF2-40B4-BE49-F238E27FC236}">
                  <a16:creationId xmlns:a16="http://schemas.microsoft.com/office/drawing/2014/main" id="{2DEB6F89-07F4-4D3B-AB30-B973E58262D7}"/>
                </a:ext>
              </a:extLst>
            </p:cNvPr>
            <p:cNvSpPr/>
            <p:nvPr/>
          </p:nvSpPr>
          <p:spPr>
            <a:xfrm>
              <a:off x="11233594" y="6393878"/>
              <a:ext cx="16447" cy="76898"/>
            </a:xfrm>
            <a:custGeom>
              <a:avLst/>
              <a:gdLst>
                <a:gd name="connsiteX0" fmla="*/ 0 w 16447"/>
                <a:gd name="connsiteY0" fmla="*/ 76899 h 76898"/>
                <a:gd name="connsiteX1" fmla="*/ 0 w 16447"/>
                <a:gd name="connsiteY1" fmla="*/ 0 h 76898"/>
                <a:gd name="connsiteX2" fmla="*/ 16447 w 16447"/>
                <a:gd name="connsiteY2" fmla="*/ 0 h 76898"/>
                <a:gd name="connsiteX3" fmla="*/ 16447 w 16447"/>
                <a:gd name="connsiteY3" fmla="*/ 76899 h 76898"/>
                <a:gd name="connsiteX4" fmla="*/ 0 w 16447"/>
                <a:gd name="connsiteY4" fmla="*/ 76899 h 768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447" h="76898">
                  <a:moveTo>
                    <a:pt x="0" y="76899"/>
                  </a:moveTo>
                  <a:lnTo>
                    <a:pt x="0" y="0"/>
                  </a:lnTo>
                  <a:lnTo>
                    <a:pt x="16447" y="0"/>
                  </a:lnTo>
                  <a:lnTo>
                    <a:pt x="16447" y="76899"/>
                  </a:lnTo>
                  <a:lnTo>
                    <a:pt x="0" y="76899"/>
                  </a:lnTo>
                  <a:close/>
                </a:path>
              </a:pathLst>
            </a:custGeom>
            <a:solidFill>
              <a:srgbClr val="B8B7B9"/>
            </a:solidFill>
            <a:ln w="6350"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D4647"/>
                </a:solidFill>
                <a:effectLst/>
                <a:uLnTx/>
                <a:uFillTx/>
              </a:endParaRPr>
            </a:p>
          </p:txBody>
        </p:sp>
        <p:sp>
          <p:nvSpPr>
            <p:cNvPr id="138" name="Freeform: Shape 137">
              <a:extLst>
                <a:ext uri="{FF2B5EF4-FFF2-40B4-BE49-F238E27FC236}">
                  <a16:creationId xmlns:a16="http://schemas.microsoft.com/office/drawing/2014/main" id="{87673452-EAA0-4D54-9838-821974179A52}"/>
                </a:ext>
              </a:extLst>
            </p:cNvPr>
            <p:cNvSpPr/>
            <p:nvPr/>
          </p:nvSpPr>
          <p:spPr>
            <a:xfrm>
              <a:off x="11488419" y="6393878"/>
              <a:ext cx="16447" cy="76898"/>
            </a:xfrm>
            <a:custGeom>
              <a:avLst/>
              <a:gdLst>
                <a:gd name="connsiteX0" fmla="*/ 0 w 16447"/>
                <a:gd name="connsiteY0" fmla="*/ 76899 h 76898"/>
                <a:gd name="connsiteX1" fmla="*/ 0 w 16447"/>
                <a:gd name="connsiteY1" fmla="*/ 0 h 76898"/>
                <a:gd name="connsiteX2" fmla="*/ 16447 w 16447"/>
                <a:gd name="connsiteY2" fmla="*/ 0 h 76898"/>
                <a:gd name="connsiteX3" fmla="*/ 16447 w 16447"/>
                <a:gd name="connsiteY3" fmla="*/ 76899 h 76898"/>
                <a:gd name="connsiteX4" fmla="*/ 0 w 16447"/>
                <a:gd name="connsiteY4" fmla="*/ 76899 h 768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447" h="76898">
                  <a:moveTo>
                    <a:pt x="0" y="76899"/>
                  </a:moveTo>
                  <a:lnTo>
                    <a:pt x="0" y="0"/>
                  </a:lnTo>
                  <a:lnTo>
                    <a:pt x="16447" y="0"/>
                  </a:lnTo>
                  <a:lnTo>
                    <a:pt x="16447" y="76899"/>
                  </a:lnTo>
                  <a:lnTo>
                    <a:pt x="0" y="76899"/>
                  </a:lnTo>
                  <a:close/>
                </a:path>
              </a:pathLst>
            </a:custGeom>
            <a:solidFill>
              <a:srgbClr val="B8B7B9"/>
            </a:solidFill>
            <a:ln w="6350"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D4647"/>
                </a:solidFill>
                <a:effectLst/>
                <a:uLnTx/>
                <a:uFillTx/>
              </a:endParaRPr>
            </a:p>
          </p:txBody>
        </p:sp>
        <p:sp>
          <p:nvSpPr>
            <p:cNvPr id="139" name="Freeform: Shape 138">
              <a:extLst>
                <a:ext uri="{FF2B5EF4-FFF2-40B4-BE49-F238E27FC236}">
                  <a16:creationId xmlns:a16="http://schemas.microsoft.com/office/drawing/2014/main" id="{90AC6EB6-1C9C-4556-8400-349BEA629D3A}"/>
                </a:ext>
              </a:extLst>
            </p:cNvPr>
            <p:cNvSpPr/>
            <p:nvPr/>
          </p:nvSpPr>
          <p:spPr>
            <a:xfrm>
              <a:off x="11743245" y="6393878"/>
              <a:ext cx="16447" cy="76898"/>
            </a:xfrm>
            <a:custGeom>
              <a:avLst/>
              <a:gdLst>
                <a:gd name="connsiteX0" fmla="*/ 0 w 16447"/>
                <a:gd name="connsiteY0" fmla="*/ 76899 h 76898"/>
                <a:gd name="connsiteX1" fmla="*/ 0 w 16447"/>
                <a:gd name="connsiteY1" fmla="*/ 0 h 76898"/>
                <a:gd name="connsiteX2" fmla="*/ 16447 w 16447"/>
                <a:gd name="connsiteY2" fmla="*/ 0 h 76898"/>
                <a:gd name="connsiteX3" fmla="*/ 16447 w 16447"/>
                <a:gd name="connsiteY3" fmla="*/ 76899 h 76898"/>
                <a:gd name="connsiteX4" fmla="*/ 0 w 16447"/>
                <a:gd name="connsiteY4" fmla="*/ 76899 h 768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447" h="76898">
                  <a:moveTo>
                    <a:pt x="0" y="76899"/>
                  </a:moveTo>
                  <a:lnTo>
                    <a:pt x="0" y="0"/>
                  </a:lnTo>
                  <a:lnTo>
                    <a:pt x="16447" y="0"/>
                  </a:lnTo>
                  <a:lnTo>
                    <a:pt x="16447" y="76899"/>
                  </a:lnTo>
                  <a:lnTo>
                    <a:pt x="0" y="76899"/>
                  </a:lnTo>
                  <a:close/>
                </a:path>
              </a:pathLst>
            </a:custGeom>
            <a:solidFill>
              <a:srgbClr val="B8B7B9"/>
            </a:solidFill>
            <a:ln w="6350"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D4647"/>
                </a:solidFill>
                <a:effectLst/>
                <a:uLnTx/>
                <a:uFillTx/>
              </a:endParaRPr>
            </a:p>
          </p:txBody>
        </p:sp>
        <p:sp>
          <p:nvSpPr>
            <p:cNvPr id="140" name="Freeform: Shape 139">
              <a:extLst>
                <a:ext uri="{FF2B5EF4-FFF2-40B4-BE49-F238E27FC236}">
                  <a16:creationId xmlns:a16="http://schemas.microsoft.com/office/drawing/2014/main" id="{799D2756-4A52-4726-8D71-E99F167C5929}"/>
                </a:ext>
              </a:extLst>
            </p:cNvPr>
            <p:cNvSpPr/>
            <p:nvPr/>
          </p:nvSpPr>
          <p:spPr>
            <a:xfrm>
              <a:off x="11296650" y="6393878"/>
              <a:ext cx="16446" cy="76898"/>
            </a:xfrm>
            <a:custGeom>
              <a:avLst/>
              <a:gdLst>
                <a:gd name="connsiteX0" fmla="*/ 0 w 16446"/>
                <a:gd name="connsiteY0" fmla="*/ 76899 h 76898"/>
                <a:gd name="connsiteX1" fmla="*/ 0 w 16446"/>
                <a:gd name="connsiteY1" fmla="*/ 0 h 76898"/>
                <a:gd name="connsiteX2" fmla="*/ 16446 w 16446"/>
                <a:gd name="connsiteY2" fmla="*/ 0 h 76898"/>
                <a:gd name="connsiteX3" fmla="*/ 16446 w 16446"/>
                <a:gd name="connsiteY3" fmla="*/ 76899 h 76898"/>
                <a:gd name="connsiteX4" fmla="*/ 0 w 16446"/>
                <a:gd name="connsiteY4" fmla="*/ 76899 h 768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446" h="76898">
                  <a:moveTo>
                    <a:pt x="0" y="76899"/>
                  </a:moveTo>
                  <a:lnTo>
                    <a:pt x="0" y="0"/>
                  </a:lnTo>
                  <a:lnTo>
                    <a:pt x="16446" y="0"/>
                  </a:lnTo>
                  <a:lnTo>
                    <a:pt x="16446" y="76899"/>
                  </a:lnTo>
                  <a:lnTo>
                    <a:pt x="0" y="76899"/>
                  </a:lnTo>
                  <a:close/>
                </a:path>
              </a:pathLst>
            </a:custGeom>
            <a:solidFill>
              <a:srgbClr val="B8B7B9"/>
            </a:solidFill>
            <a:ln w="6350"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D4647"/>
                </a:solidFill>
                <a:effectLst/>
                <a:uLnTx/>
                <a:uFillTx/>
              </a:endParaRPr>
            </a:p>
          </p:txBody>
        </p:sp>
        <p:sp>
          <p:nvSpPr>
            <p:cNvPr id="141" name="Freeform: Shape 140">
              <a:extLst>
                <a:ext uri="{FF2B5EF4-FFF2-40B4-BE49-F238E27FC236}">
                  <a16:creationId xmlns:a16="http://schemas.microsoft.com/office/drawing/2014/main" id="{AA3E8461-8537-49BD-B1CD-2CA140B8BF1F}"/>
                </a:ext>
              </a:extLst>
            </p:cNvPr>
            <p:cNvSpPr/>
            <p:nvPr/>
          </p:nvSpPr>
          <p:spPr>
            <a:xfrm>
              <a:off x="11551475" y="6393878"/>
              <a:ext cx="16446" cy="76898"/>
            </a:xfrm>
            <a:custGeom>
              <a:avLst/>
              <a:gdLst>
                <a:gd name="connsiteX0" fmla="*/ 0 w 16446"/>
                <a:gd name="connsiteY0" fmla="*/ 76899 h 76898"/>
                <a:gd name="connsiteX1" fmla="*/ 0 w 16446"/>
                <a:gd name="connsiteY1" fmla="*/ 0 h 76898"/>
                <a:gd name="connsiteX2" fmla="*/ 16446 w 16446"/>
                <a:gd name="connsiteY2" fmla="*/ 0 h 76898"/>
                <a:gd name="connsiteX3" fmla="*/ 16446 w 16446"/>
                <a:gd name="connsiteY3" fmla="*/ 76899 h 76898"/>
                <a:gd name="connsiteX4" fmla="*/ 0 w 16446"/>
                <a:gd name="connsiteY4" fmla="*/ 76899 h 768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446" h="76898">
                  <a:moveTo>
                    <a:pt x="0" y="76899"/>
                  </a:moveTo>
                  <a:lnTo>
                    <a:pt x="0" y="0"/>
                  </a:lnTo>
                  <a:lnTo>
                    <a:pt x="16446" y="0"/>
                  </a:lnTo>
                  <a:lnTo>
                    <a:pt x="16446" y="76899"/>
                  </a:lnTo>
                  <a:lnTo>
                    <a:pt x="0" y="76899"/>
                  </a:lnTo>
                  <a:close/>
                </a:path>
              </a:pathLst>
            </a:custGeom>
            <a:solidFill>
              <a:srgbClr val="B8B7B9"/>
            </a:solidFill>
            <a:ln w="6350"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D4647"/>
                </a:solidFill>
                <a:effectLst/>
                <a:uLnTx/>
                <a:uFillTx/>
              </a:endParaRPr>
            </a:p>
          </p:txBody>
        </p:sp>
        <p:sp>
          <p:nvSpPr>
            <p:cNvPr id="142" name="Freeform: Shape 141">
              <a:extLst>
                <a:ext uri="{FF2B5EF4-FFF2-40B4-BE49-F238E27FC236}">
                  <a16:creationId xmlns:a16="http://schemas.microsoft.com/office/drawing/2014/main" id="{8B9D7C9B-8424-4A76-9E58-BA4DF16F73C4}"/>
                </a:ext>
              </a:extLst>
            </p:cNvPr>
            <p:cNvSpPr/>
            <p:nvPr/>
          </p:nvSpPr>
          <p:spPr>
            <a:xfrm>
              <a:off x="11806301" y="6393878"/>
              <a:ext cx="16446" cy="76898"/>
            </a:xfrm>
            <a:custGeom>
              <a:avLst/>
              <a:gdLst>
                <a:gd name="connsiteX0" fmla="*/ 0 w 16446"/>
                <a:gd name="connsiteY0" fmla="*/ 76899 h 76898"/>
                <a:gd name="connsiteX1" fmla="*/ 0 w 16446"/>
                <a:gd name="connsiteY1" fmla="*/ 0 h 76898"/>
                <a:gd name="connsiteX2" fmla="*/ 16446 w 16446"/>
                <a:gd name="connsiteY2" fmla="*/ 0 h 76898"/>
                <a:gd name="connsiteX3" fmla="*/ 16446 w 16446"/>
                <a:gd name="connsiteY3" fmla="*/ 76899 h 76898"/>
                <a:gd name="connsiteX4" fmla="*/ 0 w 16446"/>
                <a:gd name="connsiteY4" fmla="*/ 76899 h 768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446" h="76898">
                  <a:moveTo>
                    <a:pt x="0" y="76899"/>
                  </a:moveTo>
                  <a:lnTo>
                    <a:pt x="0" y="0"/>
                  </a:lnTo>
                  <a:lnTo>
                    <a:pt x="16446" y="0"/>
                  </a:lnTo>
                  <a:lnTo>
                    <a:pt x="16446" y="76899"/>
                  </a:lnTo>
                  <a:lnTo>
                    <a:pt x="0" y="76899"/>
                  </a:lnTo>
                  <a:close/>
                </a:path>
              </a:pathLst>
            </a:custGeom>
            <a:solidFill>
              <a:srgbClr val="B8B7B9"/>
            </a:solidFill>
            <a:ln w="6350"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D4647"/>
                </a:solidFill>
                <a:effectLst/>
                <a:uLnTx/>
                <a:uFillTx/>
              </a:endParaRPr>
            </a:p>
          </p:txBody>
        </p:sp>
        <p:sp>
          <p:nvSpPr>
            <p:cNvPr id="143" name="Freeform: Shape 142">
              <a:extLst>
                <a:ext uri="{FF2B5EF4-FFF2-40B4-BE49-F238E27FC236}">
                  <a16:creationId xmlns:a16="http://schemas.microsoft.com/office/drawing/2014/main" id="{A38571FC-9C89-46B5-8ACE-9F8A6C07C555}"/>
                </a:ext>
              </a:extLst>
            </p:cNvPr>
            <p:cNvSpPr/>
            <p:nvPr/>
          </p:nvSpPr>
          <p:spPr>
            <a:xfrm>
              <a:off x="11359705" y="6393878"/>
              <a:ext cx="16446" cy="76898"/>
            </a:xfrm>
            <a:custGeom>
              <a:avLst/>
              <a:gdLst>
                <a:gd name="connsiteX0" fmla="*/ 0 w 16446"/>
                <a:gd name="connsiteY0" fmla="*/ 76899 h 76898"/>
                <a:gd name="connsiteX1" fmla="*/ 0 w 16446"/>
                <a:gd name="connsiteY1" fmla="*/ 0 h 76898"/>
                <a:gd name="connsiteX2" fmla="*/ 16446 w 16446"/>
                <a:gd name="connsiteY2" fmla="*/ 0 h 76898"/>
                <a:gd name="connsiteX3" fmla="*/ 16446 w 16446"/>
                <a:gd name="connsiteY3" fmla="*/ 76899 h 76898"/>
                <a:gd name="connsiteX4" fmla="*/ 0 w 16446"/>
                <a:gd name="connsiteY4" fmla="*/ 76899 h 768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446" h="76898">
                  <a:moveTo>
                    <a:pt x="0" y="76899"/>
                  </a:moveTo>
                  <a:lnTo>
                    <a:pt x="0" y="0"/>
                  </a:lnTo>
                  <a:lnTo>
                    <a:pt x="16446" y="0"/>
                  </a:lnTo>
                  <a:lnTo>
                    <a:pt x="16446" y="76899"/>
                  </a:lnTo>
                  <a:lnTo>
                    <a:pt x="0" y="76899"/>
                  </a:lnTo>
                  <a:close/>
                </a:path>
              </a:pathLst>
            </a:custGeom>
            <a:solidFill>
              <a:srgbClr val="B8B7B9"/>
            </a:solidFill>
            <a:ln w="6350"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D4647"/>
                </a:solidFill>
                <a:effectLst/>
                <a:uLnTx/>
                <a:uFillTx/>
              </a:endParaRPr>
            </a:p>
          </p:txBody>
        </p:sp>
        <p:sp>
          <p:nvSpPr>
            <p:cNvPr id="144" name="Freeform: Shape 143">
              <a:extLst>
                <a:ext uri="{FF2B5EF4-FFF2-40B4-BE49-F238E27FC236}">
                  <a16:creationId xmlns:a16="http://schemas.microsoft.com/office/drawing/2014/main" id="{AE89493A-0CA0-47AE-84F9-23996CC80A99}"/>
                </a:ext>
              </a:extLst>
            </p:cNvPr>
            <p:cNvSpPr/>
            <p:nvPr/>
          </p:nvSpPr>
          <p:spPr>
            <a:xfrm>
              <a:off x="11614594" y="6393878"/>
              <a:ext cx="16383" cy="76898"/>
            </a:xfrm>
            <a:custGeom>
              <a:avLst/>
              <a:gdLst>
                <a:gd name="connsiteX0" fmla="*/ 0 w 16383"/>
                <a:gd name="connsiteY0" fmla="*/ 76899 h 76898"/>
                <a:gd name="connsiteX1" fmla="*/ 0 w 16383"/>
                <a:gd name="connsiteY1" fmla="*/ 0 h 76898"/>
                <a:gd name="connsiteX2" fmla="*/ 16383 w 16383"/>
                <a:gd name="connsiteY2" fmla="*/ 0 h 76898"/>
                <a:gd name="connsiteX3" fmla="*/ 16383 w 16383"/>
                <a:gd name="connsiteY3" fmla="*/ 76899 h 76898"/>
                <a:gd name="connsiteX4" fmla="*/ 0 w 16383"/>
                <a:gd name="connsiteY4" fmla="*/ 76899 h 768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383" h="76898">
                  <a:moveTo>
                    <a:pt x="0" y="76899"/>
                  </a:moveTo>
                  <a:lnTo>
                    <a:pt x="0" y="0"/>
                  </a:lnTo>
                  <a:lnTo>
                    <a:pt x="16383" y="0"/>
                  </a:lnTo>
                  <a:lnTo>
                    <a:pt x="16383" y="76899"/>
                  </a:lnTo>
                  <a:lnTo>
                    <a:pt x="0" y="76899"/>
                  </a:lnTo>
                  <a:close/>
                </a:path>
              </a:pathLst>
            </a:custGeom>
            <a:solidFill>
              <a:srgbClr val="B8B7B9"/>
            </a:solidFill>
            <a:ln w="6350"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D4647"/>
                </a:solidFill>
                <a:effectLst/>
                <a:uLnTx/>
                <a:uFillTx/>
              </a:endParaRPr>
            </a:p>
          </p:txBody>
        </p:sp>
        <p:sp>
          <p:nvSpPr>
            <p:cNvPr id="145" name="Freeform: Shape 144">
              <a:extLst>
                <a:ext uri="{FF2B5EF4-FFF2-40B4-BE49-F238E27FC236}">
                  <a16:creationId xmlns:a16="http://schemas.microsoft.com/office/drawing/2014/main" id="{C865DC70-EE04-478F-B674-FEF9458E11FF}"/>
                </a:ext>
              </a:extLst>
            </p:cNvPr>
            <p:cNvSpPr/>
            <p:nvPr/>
          </p:nvSpPr>
          <p:spPr>
            <a:xfrm>
              <a:off x="11869419" y="6393878"/>
              <a:ext cx="16383" cy="76898"/>
            </a:xfrm>
            <a:custGeom>
              <a:avLst/>
              <a:gdLst>
                <a:gd name="connsiteX0" fmla="*/ 0 w 16383"/>
                <a:gd name="connsiteY0" fmla="*/ 76899 h 76898"/>
                <a:gd name="connsiteX1" fmla="*/ 0 w 16383"/>
                <a:gd name="connsiteY1" fmla="*/ 0 h 76898"/>
                <a:gd name="connsiteX2" fmla="*/ 16383 w 16383"/>
                <a:gd name="connsiteY2" fmla="*/ 0 h 76898"/>
                <a:gd name="connsiteX3" fmla="*/ 16383 w 16383"/>
                <a:gd name="connsiteY3" fmla="*/ 76899 h 76898"/>
                <a:gd name="connsiteX4" fmla="*/ 0 w 16383"/>
                <a:gd name="connsiteY4" fmla="*/ 76899 h 7689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383" h="76898">
                  <a:moveTo>
                    <a:pt x="0" y="76899"/>
                  </a:moveTo>
                  <a:lnTo>
                    <a:pt x="0" y="0"/>
                  </a:lnTo>
                  <a:lnTo>
                    <a:pt x="16383" y="0"/>
                  </a:lnTo>
                  <a:lnTo>
                    <a:pt x="16383" y="76899"/>
                  </a:lnTo>
                  <a:lnTo>
                    <a:pt x="0" y="76899"/>
                  </a:lnTo>
                  <a:close/>
                </a:path>
              </a:pathLst>
            </a:custGeom>
            <a:solidFill>
              <a:srgbClr val="B8B7B9"/>
            </a:solidFill>
            <a:ln w="6350"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D4647"/>
                </a:solidFill>
                <a:effectLst/>
                <a:uLnTx/>
                <a:uFillTx/>
              </a:endParaRPr>
            </a:p>
          </p:txBody>
        </p:sp>
        <p:sp>
          <p:nvSpPr>
            <p:cNvPr id="146" name="Freeform: Shape 145">
              <a:extLst>
                <a:ext uri="{FF2B5EF4-FFF2-40B4-BE49-F238E27FC236}">
                  <a16:creationId xmlns:a16="http://schemas.microsoft.com/office/drawing/2014/main" id="{D997C624-2682-4B08-9D15-7BFC41ADE59B}"/>
                </a:ext>
              </a:extLst>
            </p:cNvPr>
            <p:cNvSpPr/>
            <p:nvPr/>
          </p:nvSpPr>
          <p:spPr>
            <a:xfrm>
              <a:off x="11422824" y="6357873"/>
              <a:ext cx="16382" cy="112903"/>
            </a:xfrm>
            <a:custGeom>
              <a:avLst/>
              <a:gdLst>
                <a:gd name="connsiteX0" fmla="*/ 0 w 16382"/>
                <a:gd name="connsiteY0" fmla="*/ 112903 h 112903"/>
                <a:gd name="connsiteX1" fmla="*/ 0 w 16382"/>
                <a:gd name="connsiteY1" fmla="*/ 0 h 112903"/>
                <a:gd name="connsiteX2" fmla="*/ 16383 w 16382"/>
                <a:gd name="connsiteY2" fmla="*/ 0 h 112903"/>
                <a:gd name="connsiteX3" fmla="*/ 16383 w 16382"/>
                <a:gd name="connsiteY3" fmla="*/ 112903 h 112903"/>
                <a:gd name="connsiteX4" fmla="*/ 0 w 16382"/>
                <a:gd name="connsiteY4" fmla="*/ 112903 h 1129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382" h="112903">
                  <a:moveTo>
                    <a:pt x="0" y="112903"/>
                  </a:moveTo>
                  <a:lnTo>
                    <a:pt x="0" y="0"/>
                  </a:lnTo>
                  <a:lnTo>
                    <a:pt x="16383" y="0"/>
                  </a:lnTo>
                  <a:lnTo>
                    <a:pt x="16383" y="112903"/>
                  </a:lnTo>
                  <a:lnTo>
                    <a:pt x="0" y="112903"/>
                  </a:lnTo>
                  <a:close/>
                </a:path>
              </a:pathLst>
            </a:custGeom>
            <a:solidFill>
              <a:srgbClr val="B8B7B9"/>
            </a:solidFill>
            <a:ln w="6350"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D4647"/>
                </a:solidFill>
                <a:effectLst/>
                <a:uLnTx/>
                <a:uFillTx/>
              </a:endParaRPr>
            </a:p>
          </p:txBody>
        </p:sp>
        <p:sp>
          <p:nvSpPr>
            <p:cNvPr id="147" name="Freeform: Shape 146">
              <a:extLst>
                <a:ext uri="{FF2B5EF4-FFF2-40B4-BE49-F238E27FC236}">
                  <a16:creationId xmlns:a16="http://schemas.microsoft.com/office/drawing/2014/main" id="{A5DD6C8D-6AAB-498F-85B3-83F734278836}"/>
                </a:ext>
              </a:extLst>
            </p:cNvPr>
            <p:cNvSpPr/>
            <p:nvPr/>
          </p:nvSpPr>
          <p:spPr>
            <a:xfrm>
              <a:off x="11677650" y="6357873"/>
              <a:ext cx="16446" cy="112903"/>
            </a:xfrm>
            <a:custGeom>
              <a:avLst/>
              <a:gdLst>
                <a:gd name="connsiteX0" fmla="*/ 0 w 16446"/>
                <a:gd name="connsiteY0" fmla="*/ 112903 h 112903"/>
                <a:gd name="connsiteX1" fmla="*/ 0 w 16446"/>
                <a:gd name="connsiteY1" fmla="*/ 0 h 112903"/>
                <a:gd name="connsiteX2" fmla="*/ 16446 w 16446"/>
                <a:gd name="connsiteY2" fmla="*/ 0 h 112903"/>
                <a:gd name="connsiteX3" fmla="*/ 16446 w 16446"/>
                <a:gd name="connsiteY3" fmla="*/ 112903 h 112903"/>
                <a:gd name="connsiteX4" fmla="*/ 0 w 16446"/>
                <a:gd name="connsiteY4" fmla="*/ 112903 h 1129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446" h="112903">
                  <a:moveTo>
                    <a:pt x="0" y="112903"/>
                  </a:moveTo>
                  <a:lnTo>
                    <a:pt x="0" y="0"/>
                  </a:lnTo>
                  <a:lnTo>
                    <a:pt x="16446" y="0"/>
                  </a:lnTo>
                  <a:lnTo>
                    <a:pt x="16446" y="112903"/>
                  </a:lnTo>
                  <a:lnTo>
                    <a:pt x="0" y="112903"/>
                  </a:lnTo>
                  <a:close/>
                </a:path>
              </a:pathLst>
            </a:custGeom>
            <a:solidFill>
              <a:srgbClr val="B8B7B9"/>
            </a:solidFill>
            <a:ln w="6350"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D4647"/>
                </a:solidFill>
                <a:effectLst/>
                <a:uLnTx/>
                <a:uFillTx/>
              </a:endParaRPr>
            </a:p>
          </p:txBody>
        </p:sp>
      </p:grpSp>
      <p:sp>
        <p:nvSpPr>
          <p:cNvPr id="124" name="Freeform: Shape 123">
            <a:extLst>
              <a:ext uri="{FF2B5EF4-FFF2-40B4-BE49-F238E27FC236}">
                <a16:creationId xmlns:a16="http://schemas.microsoft.com/office/drawing/2014/main" id="{B86A8B70-71D7-4C00-B48D-B0410F86AB4B}"/>
              </a:ext>
            </a:extLst>
          </p:cNvPr>
          <p:cNvSpPr/>
          <p:nvPr userDrawn="1"/>
        </p:nvSpPr>
        <p:spPr>
          <a:xfrm rot="5400000" flipV="1">
            <a:off x="11916016" y="398907"/>
            <a:ext cx="43688" cy="43687"/>
          </a:xfrm>
          <a:custGeom>
            <a:avLst/>
            <a:gdLst>
              <a:gd name="connsiteX0" fmla="*/ 0 w 43688"/>
              <a:gd name="connsiteY0" fmla="*/ 0 h 43687"/>
              <a:gd name="connsiteX1" fmla="*/ 43688 w 43688"/>
              <a:gd name="connsiteY1" fmla="*/ 0 h 43687"/>
              <a:gd name="connsiteX2" fmla="*/ 43688 w 43688"/>
              <a:gd name="connsiteY2" fmla="*/ 43688 h 43687"/>
              <a:gd name="connsiteX3" fmla="*/ 0 w 43688"/>
              <a:gd name="connsiteY3" fmla="*/ 43688 h 43687"/>
            </a:gdLst>
            <a:ahLst/>
            <a:cxnLst>
              <a:cxn ang="0">
                <a:pos x="connsiteX0" y="connsiteY0"/>
              </a:cxn>
              <a:cxn ang="0">
                <a:pos x="connsiteX1" y="connsiteY1"/>
              </a:cxn>
              <a:cxn ang="0">
                <a:pos x="connsiteX2" y="connsiteY2"/>
              </a:cxn>
              <a:cxn ang="0">
                <a:pos x="connsiteX3" y="connsiteY3"/>
              </a:cxn>
            </a:cxnLst>
            <a:rect l="l" t="t" r="r" b="b"/>
            <a:pathLst>
              <a:path w="43688" h="43687">
                <a:moveTo>
                  <a:pt x="0" y="0"/>
                </a:moveTo>
                <a:lnTo>
                  <a:pt x="43688" y="0"/>
                </a:lnTo>
                <a:lnTo>
                  <a:pt x="43688" y="43688"/>
                </a:lnTo>
                <a:lnTo>
                  <a:pt x="0" y="43688"/>
                </a:lnTo>
                <a:close/>
              </a:path>
            </a:pathLst>
          </a:custGeom>
          <a:noFill/>
          <a:ln w="3175" cap="flat">
            <a:solidFill>
              <a:srgbClr val="FFFFFF">
                <a:lumMod val="50000"/>
              </a:srgbClr>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D4647"/>
              </a:solidFill>
              <a:effectLst/>
              <a:uLnTx/>
              <a:uFillTx/>
            </a:endParaRPr>
          </a:p>
        </p:txBody>
      </p:sp>
      <p:grpSp>
        <p:nvGrpSpPr>
          <p:cNvPr id="125" name="Graphic 42">
            <a:extLst>
              <a:ext uri="{FF2B5EF4-FFF2-40B4-BE49-F238E27FC236}">
                <a16:creationId xmlns:a16="http://schemas.microsoft.com/office/drawing/2014/main" id="{79F87CE9-05CD-4B99-9848-6C33FEA9AF91}"/>
              </a:ext>
            </a:extLst>
          </p:cNvPr>
          <p:cNvGrpSpPr/>
          <p:nvPr userDrawn="1"/>
        </p:nvGrpSpPr>
        <p:grpSpPr>
          <a:xfrm flipV="1">
            <a:off x="11901678" y="510222"/>
            <a:ext cx="73152" cy="410654"/>
            <a:chOff x="11838178" y="5791517"/>
            <a:chExt cx="73152" cy="410654"/>
          </a:xfrm>
          <a:solidFill>
            <a:srgbClr val="FFFFFF">
              <a:lumMod val="50000"/>
            </a:srgbClr>
          </a:solidFill>
        </p:grpSpPr>
        <p:grpSp>
          <p:nvGrpSpPr>
            <p:cNvPr id="126" name="Graphic 42">
              <a:extLst>
                <a:ext uri="{FF2B5EF4-FFF2-40B4-BE49-F238E27FC236}">
                  <a16:creationId xmlns:a16="http://schemas.microsoft.com/office/drawing/2014/main" id="{FA297456-6C40-4A91-986C-614EE79FB8E7}"/>
                </a:ext>
              </a:extLst>
            </p:cNvPr>
            <p:cNvGrpSpPr/>
            <p:nvPr/>
          </p:nvGrpSpPr>
          <p:grpSpPr>
            <a:xfrm>
              <a:off x="11854497" y="5791517"/>
              <a:ext cx="42418" cy="282892"/>
              <a:chOff x="11854497" y="5791517"/>
              <a:chExt cx="42418" cy="282892"/>
            </a:xfrm>
            <a:grpFill/>
          </p:grpSpPr>
          <p:sp>
            <p:nvSpPr>
              <p:cNvPr id="128" name="Freeform: Shape 127">
                <a:extLst>
                  <a:ext uri="{FF2B5EF4-FFF2-40B4-BE49-F238E27FC236}">
                    <a16:creationId xmlns:a16="http://schemas.microsoft.com/office/drawing/2014/main" id="{55ACF6A1-756F-4E15-AC83-CBAC518A9533}"/>
                  </a:ext>
                </a:extLst>
              </p:cNvPr>
              <p:cNvSpPr/>
              <p:nvPr/>
            </p:nvSpPr>
            <p:spPr>
              <a:xfrm>
                <a:off x="11855259" y="5891022"/>
                <a:ext cx="41655" cy="4381"/>
              </a:xfrm>
              <a:custGeom>
                <a:avLst/>
                <a:gdLst>
                  <a:gd name="connsiteX0" fmla="*/ 0 w 41655"/>
                  <a:gd name="connsiteY0" fmla="*/ 0 h 4381"/>
                  <a:gd name="connsiteX1" fmla="*/ 41656 w 41655"/>
                  <a:gd name="connsiteY1" fmla="*/ 0 h 4381"/>
                  <a:gd name="connsiteX2" fmla="*/ 41656 w 41655"/>
                  <a:gd name="connsiteY2" fmla="*/ 4381 h 4381"/>
                  <a:gd name="connsiteX3" fmla="*/ 0 w 41655"/>
                  <a:gd name="connsiteY3" fmla="*/ 4381 h 4381"/>
                </a:gdLst>
                <a:ahLst/>
                <a:cxnLst>
                  <a:cxn ang="0">
                    <a:pos x="connsiteX0" y="connsiteY0"/>
                  </a:cxn>
                  <a:cxn ang="0">
                    <a:pos x="connsiteX1" y="connsiteY1"/>
                  </a:cxn>
                  <a:cxn ang="0">
                    <a:pos x="connsiteX2" y="connsiteY2"/>
                  </a:cxn>
                  <a:cxn ang="0">
                    <a:pos x="connsiteX3" y="connsiteY3"/>
                  </a:cxn>
                </a:cxnLst>
                <a:rect l="l" t="t" r="r" b="b"/>
                <a:pathLst>
                  <a:path w="41655" h="4381">
                    <a:moveTo>
                      <a:pt x="0" y="0"/>
                    </a:moveTo>
                    <a:lnTo>
                      <a:pt x="41656" y="0"/>
                    </a:lnTo>
                    <a:lnTo>
                      <a:pt x="41656" y="4381"/>
                    </a:lnTo>
                    <a:lnTo>
                      <a:pt x="0" y="4381"/>
                    </a:lnTo>
                    <a:close/>
                  </a:path>
                </a:pathLst>
              </a:custGeom>
              <a:grpFill/>
              <a:ln w="6350"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D4647"/>
                  </a:solidFill>
                  <a:effectLst/>
                  <a:uLnTx/>
                  <a:uFillTx/>
                </a:endParaRPr>
              </a:p>
            </p:txBody>
          </p:sp>
          <p:sp>
            <p:nvSpPr>
              <p:cNvPr id="129" name="Freeform: Shape 128">
                <a:extLst>
                  <a:ext uri="{FF2B5EF4-FFF2-40B4-BE49-F238E27FC236}">
                    <a16:creationId xmlns:a16="http://schemas.microsoft.com/office/drawing/2014/main" id="{EA354376-FA52-4C1E-B7E9-F6417BA2E92E}"/>
                  </a:ext>
                </a:extLst>
              </p:cNvPr>
              <p:cNvSpPr/>
              <p:nvPr/>
            </p:nvSpPr>
            <p:spPr>
              <a:xfrm>
                <a:off x="11855259" y="5955538"/>
                <a:ext cx="41655" cy="4381"/>
              </a:xfrm>
              <a:custGeom>
                <a:avLst/>
                <a:gdLst>
                  <a:gd name="connsiteX0" fmla="*/ 0 w 41655"/>
                  <a:gd name="connsiteY0" fmla="*/ 0 h 4381"/>
                  <a:gd name="connsiteX1" fmla="*/ 41656 w 41655"/>
                  <a:gd name="connsiteY1" fmla="*/ 0 h 4381"/>
                  <a:gd name="connsiteX2" fmla="*/ 41656 w 41655"/>
                  <a:gd name="connsiteY2" fmla="*/ 4382 h 4381"/>
                  <a:gd name="connsiteX3" fmla="*/ 0 w 41655"/>
                  <a:gd name="connsiteY3" fmla="*/ 4382 h 4381"/>
                </a:gdLst>
                <a:ahLst/>
                <a:cxnLst>
                  <a:cxn ang="0">
                    <a:pos x="connsiteX0" y="connsiteY0"/>
                  </a:cxn>
                  <a:cxn ang="0">
                    <a:pos x="connsiteX1" y="connsiteY1"/>
                  </a:cxn>
                  <a:cxn ang="0">
                    <a:pos x="connsiteX2" y="connsiteY2"/>
                  </a:cxn>
                  <a:cxn ang="0">
                    <a:pos x="connsiteX3" y="connsiteY3"/>
                  </a:cxn>
                </a:cxnLst>
                <a:rect l="l" t="t" r="r" b="b"/>
                <a:pathLst>
                  <a:path w="41655" h="4381">
                    <a:moveTo>
                      <a:pt x="0" y="0"/>
                    </a:moveTo>
                    <a:lnTo>
                      <a:pt x="41656" y="0"/>
                    </a:lnTo>
                    <a:lnTo>
                      <a:pt x="41656" y="4382"/>
                    </a:lnTo>
                    <a:lnTo>
                      <a:pt x="0" y="4382"/>
                    </a:lnTo>
                    <a:close/>
                  </a:path>
                </a:pathLst>
              </a:custGeom>
              <a:grpFill/>
              <a:ln w="6350"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D4647"/>
                  </a:solidFill>
                  <a:effectLst/>
                  <a:uLnTx/>
                  <a:uFillTx/>
                </a:endParaRPr>
              </a:p>
            </p:txBody>
          </p:sp>
          <p:sp>
            <p:nvSpPr>
              <p:cNvPr id="130" name="Freeform: Shape 129">
                <a:extLst>
                  <a:ext uri="{FF2B5EF4-FFF2-40B4-BE49-F238E27FC236}">
                    <a16:creationId xmlns:a16="http://schemas.microsoft.com/office/drawing/2014/main" id="{7FADCCA1-0EFD-4333-AC19-FADC0B2CC096}"/>
                  </a:ext>
                </a:extLst>
              </p:cNvPr>
              <p:cNvSpPr/>
              <p:nvPr/>
            </p:nvSpPr>
            <p:spPr>
              <a:xfrm>
                <a:off x="11855259" y="6011545"/>
                <a:ext cx="41655" cy="4381"/>
              </a:xfrm>
              <a:custGeom>
                <a:avLst/>
                <a:gdLst>
                  <a:gd name="connsiteX0" fmla="*/ 0 w 41655"/>
                  <a:gd name="connsiteY0" fmla="*/ 0 h 4381"/>
                  <a:gd name="connsiteX1" fmla="*/ 41656 w 41655"/>
                  <a:gd name="connsiteY1" fmla="*/ 0 h 4381"/>
                  <a:gd name="connsiteX2" fmla="*/ 41656 w 41655"/>
                  <a:gd name="connsiteY2" fmla="*/ 4382 h 4381"/>
                  <a:gd name="connsiteX3" fmla="*/ 0 w 41655"/>
                  <a:gd name="connsiteY3" fmla="*/ 4382 h 4381"/>
                </a:gdLst>
                <a:ahLst/>
                <a:cxnLst>
                  <a:cxn ang="0">
                    <a:pos x="connsiteX0" y="connsiteY0"/>
                  </a:cxn>
                  <a:cxn ang="0">
                    <a:pos x="connsiteX1" y="connsiteY1"/>
                  </a:cxn>
                  <a:cxn ang="0">
                    <a:pos x="connsiteX2" y="connsiteY2"/>
                  </a:cxn>
                  <a:cxn ang="0">
                    <a:pos x="connsiteX3" y="connsiteY3"/>
                  </a:cxn>
                </a:cxnLst>
                <a:rect l="l" t="t" r="r" b="b"/>
                <a:pathLst>
                  <a:path w="41655" h="4381">
                    <a:moveTo>
                      <a:pt x="0" y="0"/>
                    </a:moveTo>
                    <a:lnTo>
                      <a:pt x="41656" y="0"/>
                    </a:lnTo>
                    <a:lnTo>
                      <a:pt x="41656" y="4382"/>
                    </a:lnTo>
                    <a:lnTo>
                      <a:pt x="0" y="4382"/>
                    </a:lnTo>
                    <a:close/>
                  </a:path>
                </a:pathLst>
              </a:custGeom>
              <a:grpFill/>
              <a:ln w="6350"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D4647"/>
                  </a:solidFill>
                  <a:effectLst/>
                  <a:uLnTx/>
                  <a:uFillTx/>
                </a:endParaRPr>
              </a:p>
            </p:txBody>
          </p:sp>
          <p:sp>
            <p:nvSpPr>
              <p:cNvPr id="131" name="Freeform: Shape 130">
                <a:extLst>
                  <a:ext uri="{FF2B5EF4-FFF2-40B4-BE49-F238E27FC236}">
                    <a16:creationId xmlns:a16="http://schemas.microsoft.com/office/drawing/2014/main" id="{345B0990-518A-4D66-9558-A4A21E17FDDF}"/>
                  </a:ext>
                </a:extLst>
              </p:cNvPr>
              <p:cNvSpPr/>
              <p:nvPr/>
            </p:nvSpPr>
            <p:spPr>
              <a:xfrm>
                <a:off x="11855259" y="6070028"/>
                <a:ext cx="41655" cy="4381"/>
              </a:xfrm>
              <a:custGeom>
                <a:avLst/>
                <a:gdLst>
                  <a:gd name="connsiteX0" fmla="*/ 0 w 41655"/>
                  <a:gd name="connsiteY0" fmla="*/ 0 h 4381"/>
                  <a:gd name="connsiteX1" fmla="*/ 41656 w 41655"/>
                  <a:gd name="connsiteY1" fmla="*/ 0 h 4381"/>
                  <a:gd name="connsiteX2" fmla="*/ 41656 w 41655"/>
                  <a:gd name="connsiteY2" fmla="*/ 4381 h 4381"/>
                  <a:gd name="connsiteX3" fmla="*/ 0 w 41655"/>
                  <a:gd name="connsiteY3" fmla="*/ 4381 h 4381"/>
                </a:gdLst>
                <a:ahLst/>
                <a:cxnLst>
                  <a:cxn ang="0">
                    <a:pos x="connsiteX0" y="connsiteY0"/>
                  </a:cxn>
                  <a:cxn ang="0">
                    <a:pos x="connsiteX1" y="connsiteY1"/>
                  </a:cxn>
                  <a:cxn ang="0">
                    <a:pos x="connsiteX2" y="connsiteY2"/>
                  </a:cxn>
                  <a:cxn ang="0">
                    <a:pos x="connsiteX3" y="connsiteY3"/>
                  </a:cxn>
                </a:cxnLst>
                <a:rect l="l" t="t" r="r" b="b"/>
                <a:pathLst>
                  <a:path w="41655" h="4381">
                    <a:moveTo>
                      <a:pt x="0" y="0"/>
                    </a:moveTo>
                    <a:lnTo>
                      <a:pt x="41656" y="0"/>
                    </a:lnTo>
                    <a:lnTo>
                      <a:pt x="41656" y="4381"/>
                    </a:lnTo>
                    <a:lnTo>
                      <a:pt x="0" y="4381"/>
                    </a:lnTo>
                    <a:close/>
                  </a:path>
                </a:pathLst>
              </a:custGeom>
              <a:grpFill/>
              <a:ln w="6350"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D4647"/>
                  </a:solidFill>
                  <a:effectLst/>
                  <a:uLnTx/>
                  <a:uFillTx/>
                </a:endParaRPr>
              </a:p>
            </p:txBody>
          </p:sp>
          <p:sp>
            <p:nvSpPr>
              <p:cNvPr id="132" name="Freeform: Shape 131">
                <a:extLst>
                  <a:ext uri="{FF2B5EF4-FFF2-40B4-BE49-F238E27FC236}">
                    <a16:creationId xmlns:a16="http://schemas.microsoft.com/office/drawing/2014/main" id="{82DC273E-06B6-4901-823A-42356C2C95FF}"/>
                  </a:ext>
                </a:extLst>
              </p:cNvPr>
              <p:cNvSpPr/>
              <p:nvPr/>
            </p:nvSpPr>
            <p:spPr>
              <a:xfrm>
                <a:off x="11854497" y="5791517"/>
                <a:ext cx="42418" cy="38100"/>
              </a:xfrm>
              <a:custGeom>
                <a:avLst/>
                <a:gdLst>
                  <a:gd name="connsiteX0" fmla="*/ 0 w 42418"/>
                  <a:gd name="connsiteY0" fmla="*/ 0 h 38100"/>
                  <a:gd name="connsiteX1" fmla="*/ 42418 w 42418"/>
                  <a:gd name="connsiteY1" fmla="*/ 0 h 38100"/>
                  <a:gd name="connsiteX2" fmla="*/ 42418 w 42418"/>
                  <a:gd name="connsiteY2" fmla="*/ 38100 h 38100"/>
                  <a:gd name="connsiteX3" fmla="*/ 0 w 42418"/>
                  <a:gd name="connsiteY3" fmla="*/ 38100 h 38100"/>
                </a:gdLst>
                <a:ahLst/>
                <a:cxnLst>
                  <a:cxn ang="0">
                    <a:pos x="connsiteX0" y="connsiteY0"/>
                  </a:cxn>
                  <a:cxn ang="0">
                    <a:pos x="connsiteX1" y="connsiteY1"/>
                  </a:cxn>
                  <a:cxn ang="0">
                    <a:pos x="connsiteX2" y="connsiteY2"/>
                  </a:cxn>
                  <a:cxn ang="0">
                    <a:pos x="connsiteX3" y="connsiteY3"/>
                  </a:cxn>
                </a:cxnLst>
                <a:rect l="l" t="t" r="r" b="b"/>
                <a:pathLst>
                  <a:path w="42418" h="38100">
                    <a:moveTo>
                      <a:pt x="0" y="0"/>
                    </a:moveTo>
                    <a:lnTo>
                      <a:pt x="42418" y="0"/>
                    </a:lnTo>
                    <a:lnTo>
                      <a:pt x="42418" y="38100"/>
                    </a:lnTo>
                    <a:lnTo>
                      <a:pt x="0" y="38100"/>
                    </a:lnTo>
                    <a:close/>
                  </a:path>
                </a:pathLst>
              </a:custGeom>
              <a:solidFill>
                <a:srgbClr val="C8C9C7"/>
              </a:solidFill>
              <a:ln w="6350"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D4647"/>
                  </a:solidFill>
                  <a:effectLst/>
                  <a:uLnTx/>
                  <a:uFillTx/>
                </a:endParaRPr>
              </a:p>
            </p:txBody>
          </p:sp>
        </p:grpSp>
        <p:sp>
          <p:nvSpPr>
            <p:cNvPr id="127" name="Freeform: Shape 126">
              <a:extLst>
                <a:ext uri="{FF2B5EF4-FFF2-40B4-BE49-F238E27FC236}">
                  <a16:creationId xmlns:a16="http://schemas.microsoft.com/office/drawing/2014/main" id="{432D69D3-B1D9-4752-B422-0712A33B4E1E}"/>
                </a:ext>
              </a:extLst>
            </p:cNvPr>
            <p:cNvSpPr/>
            <p:nvPr/>
          </p:nvSpPr>
          <p:spPr>
            <a:xfrm>
              <a:off x="11838178" y="6162294"/>
              <a:ext cx="73152" cy="39877"/>
            </a:xfrm>
            <a:custGeom>
              <a:avLst/>
              <a:gdLst>
                <a:gd name="connsiteX0" fmla="*/ 38671 w 73152"/>
                <a:gd name="connsiteY0" fmla="*/ 0 h 39877"/>
                <a:gd name="connsiteX1" fmla="*/ 73152 w 73152"/>
                <a:gd name="connsiteY1" fmla="*/ 37465 h 39877"/>
                <a:gd name="connsiteX2" fmla="*/ 69914 w 73152"/>
                <a:gd name="connsiteY2" fmla="*/ 39878 h 39877"/>
                <a:gd name="connsiteX3" fmla="*/ 36576 w 73152"/>
                <a:gd name="connsiteY3" fmla="*/ 3747 h 39877"/>
                <a:gd name="connsiteX4" fmla="*/ 3239 w 73152"/>
                <a:gd name="connsiteY4" fmla="*/ 39878 h 39877"/>
                <a:gd name="connsiteX5" fmla="*/ 0 w 73152"/>
                <a:gd name="connsiteY5" fmla="*/ 37465 h 39877"/>
                <a:gd name="connsiteX6" fmla="*/ 34480 w 73152"/>
                <a:gd name="connsiteY6" fmla="*/ 0 h 39877"/>
                <a:gd name="connsiteX7" fmla="*/ 38671 w 73152"/>
                <a:gd name="connsiteY7" fmla="*/ 0 h 398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3152" h="39877">
                  <a:moveTo>
                    <a:pt x="38671" y="0"/>
                  </a:moveTo>
                  <a:lnTo>
                    <a:pt x="73152" y="37465"/>
                  </a:lnTo>
                  <a:lnTo>
                    <a:pt x="69914" y="39878"/>
                  </a:lnTo>
                  <a:lnTo>
                    <a:pt x="36576" y="3747"/>
                  </a:lnTo>
                  <a:lnTo>
                    <a:pt x="3239" y="39878"/>
                  </a:lnTo>
                  <a:lnTo>
                    <a:pt x="0" y="37465"/>
                  </a:lnTo>
                  <a:lnTo>
                    <a:pt x="34480" y="0"/>
                  </a:lnTo>
                  <a:lnTo>
                    <a:pt x="38671" y="0"/>
                  </a:lnTo>
                  <a:close/>
                </a:path>
              </a:pathLst>
            </a:custGeom>
            <a:grpFill/>
            <a:ln w="6350" cap="flat">
              <a:solidFill>
                <a:srgbClr val="CFD0CE"/>
              </a:solid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3D4647"/>
                </a:solidFill>
                <a:effectLst/>
                <a:uLnTx/>
                <a:uFillTx/>
              </a:endParaRPr>
            </a:p>
          </p:txBody>
        </p:sp>
      </p:grpSp>
      <p:sp>
        <p:nvSpPr>
          <p:cNvPr id="122" name="Rectangle 6">
            <a:extLst>
              <a:ext uri="{FF2B5EF4-FFF2-40B4-BE49-F238E27FC236}">
                <a16:creationId xmlns:a16="http://schemas.microsoft.com/office/drawing/2014/main" id="{909BD88B-614B-40D2-9807-224D2FD3634C}"/>
              </a:ext>
            </a:extLst>
          </p:cNvPr>
          <p:cNvSpPr txBox="1">
            <a:spLocks noChangeArrowheads="1"/>
          </p:cNvSpPr>
          <p:nvPr userDrawn="1"/>
        </p:nvSpPr>
        <p:spPr bwMode="ltGray">
          <a:xfrm>
            <a:off x="10363200" y="203016"/>
            <a:ext cx="592666" cy="13849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defRPr sz="700"/>
            </a:lvl1pPr>
          </a:lstStyle>
          <a:p>
            <a:pPr marL="0" marR="0" lvl="0" indent="0" algn="r" defTabSz="914400" eaLnBrk="0" fontAlgn="base" latinLnBrk="0" hangingPunct="0">
              <a:lnSpc>
                <a:spcPct val="100000"/>
              </a:lnSpc>
              <a:spcBef>
                <a:spcPct val="0"/>
              </a:spcBef>
              <a:spcAft>
                <a:spcPct val="0"/>
              </a:spcAft>
              <a:buClrTx/>
              <a:buSzTx/>
              <a:buFontTx/>
              <a:buNone/>
              <a:tabLst/>
              <a:defRPr/>
            </a:pPr>
            <a:fld id="{8D7874BA-B114-4D1F-A449-70AD1C45E88A}" type="slidenum">
              <a:rPr kumimoji="0" lang="en-US" sz="900" b="0" i="0" u="none" strike="noStrike" kern="0" cap="none" spc="0" normalizeH="0" baseline="0" noProof="0" smtClean="0">
                <a:ln>
                  <a:noFill/>
                </a:ln>
                <a:solidFill>
                  <a:srgbClr val="B8B7B9"/>
                </a:solidFill>
                <a:effectLst/>
                <a:uLnTx/>
                <a:uFillTx/>
                <a:ea typeface="MS PGothic" pitchFamily="34" charset="-128"/>
              </a:rPr>
              <a:pPr marL="0" marR="0" lvl="0" indent="0" algn="r" defTabSz="914400" eaLnBrk="0" fontAlgn="base" latinLnBrk="0" hangingPunct="0">
                <a:lnSpc>
                  <a:spcPct val="100000"/>
                </a:lnSpc>
                <a:spcBef>
                  <a:spcPct val="0"/>
                </a:spcBef>
                <a:spcAft>
                  <a:spcPct val="0"/>
                </a:spcAft>
                <a:buClrTx/>
                <a:buSzTx/>
                <a:buFontTx/>
                <a:buNone/>
                <a:tabLst/>
                <a:defRPr/>
              </a:pPr>
              <a:t>‹#›</a:t>
            </a:fld>
            <a:endParaRPr kumimoji="0" lang="en-US" sz="900" b="0" i="0" u="none" strike="noStrike" kern="0" cap="none" spc="0" normalizeH="0" baseline="0" noProof="0" dirty="0">
              <a:ln>
                <a:noFill/>
              </a:ln>
              <a:solidFill>
                <a:srgbClr val="B8B7B9"/>
              </a:solidFill>
              <a:effectLst/>
              <a:uLnTx/>
              <a:uFillTx/>
              <a:ea typeface="MS PGothic" pitchFamily="34" charset="-128"/>
            </a:endParaRPr>
          </a:p>
        </p:txBody>
      </p:sp>
    </p:spTree>
    <p:extLst>
      <p:ext uri="{BB962C8B-B14F-4D97-AF65-F5344CB8AC3E}">
        <p14:creationId xmlns:p14="http://schemas.microsoft.com/office/powerpoint/2010/main" val="4088473010"/>
      </p:ext>
    </p:extLst>
  </p:cSld>
  <p:clrMap bg1="lt1" tx1="dk1" bg2="lt2" tx2="dk2" accent1="accent1" accent2="accent2" accent3="accent3" accent4="accent4" accent5="accent5" accent6="accent6" hlink="hlink" folHlink="folHlink"/>
  <p:sldLayoutIdLst>
    <p:sldLayoutId id="2147484064" r:id="rId1"/>
    <p:sldLayoutId id="2147484065" r:id="rId2"/>
    <p:sldLayoutId id="2147484066" r:id="rId3"/>
    <p:sldLayoutId id="2147484067" r:id="rId4"/>
    <p:sldLayoutId id="2147484068" r:id="rId5"/>
    <p:sldLayoutId id="2147484069" r:id="rId6"/>
    <p:sldLayoutId id="2147484070" r:id="rId7"/>
    <p:sldLayoutId id="2147484071" r:id="rId8"/>
    <p:sldLayoutId id="2147484072" r:id="rId9"/>
    <p:sldLayoutId id="2147484073" r:id="rId10"/>
    <p:sldLayoutId id="2147484074" r:id="rId11"/>
    <p:sldLayoutId id="2147484075" r:id="rId12"/>
    <p:sldLayoutId id="2147484076" r:id="rId13"/>
    <p:sldLayoutId id="2147484077" r:id="rId14"/>
    <p:sldLayoutId id="2147484078" r:id="rId15"/>
    <p:sldLayoutId id="2147484079" r:id="rId16"/>
    <p:sldLayoutId id="2147484080" r:id="rId17"/>
    <p:sldLayoutId id="2147484081" r:id="rId18"/>
    <p:sldLayoutId id="2147484082" r:id="rId19"/>
    <p:sldLayoutId id="2147484083" r:id="rId20"/>
    <p:sldLayoutId id="2147484084" r:id="rId21"/>
    <p:sldLayoutId id="2147484085" r:id="rId22"/>
    <p:sldLayoutId id="2147484086" r:id="rId23"/>
    <p:sldLayoutId id="2147484087" r:id="rId24"/>
    <p:sldLayoutId id="2147484088" r:id="rId25"/>
    <p:sldLayoutId id="2147484089" r:id="rId26"/>
    <p:sldLayoutId id="2147484090" r:id="rId27"/>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dt="0"/>
  <p:txStyles>
    <p:titleStyle>
      <a:lvl1pPr algn="l" defTabSz="1086775" rtl="0" eaLnBrk="1" latinLnBrk="0" hangingPunct="1">
        <a:lnSpc>
          <a:spcPct val="80000"/>
        </a:lnSpc>
        <a:spcBef>
          <a:spcPct val="0"/>
        </a:spcBef>
        <a:buNone/>
        <a:defRPr sz="3000" b="1" kern="1200" cap="all" baseline="0">
          <a:solidFill>
            <a:schemeClr val="tx1"/>
          </a:solidFill>
          <a:latin typeface="+mj-lt"/>
          <a:ea typeface="+mj-ea"/>
          <a:cs typeface="+mj-cs"/>
        </a:defRPr>
      </a:lvl1pPr>
    </p:titleStyle>
    <p:bodyStyle>
      <a:lvl1pPr marL="342900" indent="-342900" algn="l" defTabSz="1086775" rtl="0" eaLnBrk="1" latinLnBrk="0" hangingPunct="1">
        <a:lnSpc>
          <a:spcPct val="90000"/>
        </a:lnSpc>
        <a:spcBef>
          <a:spcPts val="1800"/>
        </a:spcBef>
        <a:buClr>
          <a:schemeClr val="bg2"/>
        </a:buClr>
        <a:buFontTx/>
        <a:buBlip>
          <a:blip r:embed="rId35">
            <a:extLst>
              <a:ext uri="{96DAC541-7B7A-43D3-8B79-37D633B846F1}">
                <asvg:svgBlip xmlns:asvg="http://schemas.microsoft.com/office/drawing/2016/SVG/main" r:embed="rId36"/>
              </a:ext>
            </a:extLst>
          </a:blip>
        </a:buBlip>
        <a:defRPr sz="2400" kern="1200">
          <a:solidFill>
            <a:schemeClr val="tx1"/>
          </a:solidFill>
          <a:latin typeface="+mn-lt"/>
          <a:ea typeface="+mn-ea"/>
          <a:cs typeface="+mn-cs"/>
        </a:defRPr>
      </a:lvl1pPr>
      <a:lvl2pPr marL="585216" indent="-274320" algn="l" defTabSz="1086775" rtl="0" eaLnBrk="1" latinLnBrk="0" hangingPunct="1">
        <a:lnSpc>
          <a:spcPct val="90000"/>
        </a:lnSpc>
        <a:spcBef>
          <a:spcPts val="400"/>
        </a:spcBef>
        <a:spcAft>
          <a:spcPts val="0"/>
        </a:spcAft>
        <a:buClr>
          <a:schemeClr val="tx1"/>
        </a:buClr>
        <a:buSzPct val="100000"/>
        <a:buFontTx/>
        <a:buBlip>
          <a:blip r:embed="rId37"/>
        </a:buBlip>
        <a:defRPr sz="2000" kern="1200">
          <a:solidFill>
            <a:schemeClr val="tx1"/>
          </a:solidFill>
          <a:latin typeface="+mn-lt"/>
          <a:ea typeface="+mn-ea"/>
          <a:cs typeface="+mn-cs"/>
        </a:defRPr>
      </a:lvl2pPr>
      <a:lvl3pPr marL="859536" indent="-274320" algn="l" defTabSz="1290546" rtl="0" eaLnBrk="1" latinLnBrk="0" hangingPunct="1">
        <a:lnSpc>
          <a:spcPct val="90000"/>
        </a:lnSpc>
        <a:spcBef>
          <a:spcPts val="200"/>
        </a:spcBef>
        <a:spcAft>
          <a:spcPts val="0"/>
        </a:spcAft>
        <a:buClr>
          <a:schemeClr val="tx1"/>
        </a:buClr>
        <a:buFontTx/>
        <a:buBlip>
          <a:blip r:embed="rId38"/>
        </a:buBlip>
        <a:defRPr sz="1800" kern="1200">
          <a:solidFill>
            <a:schemeClr val="tx1"/>
          </a:solidFill>
          <a:latin typeface="+mn-lt"/>
          <a:ea typeface="+mn-ea"/>
          <a:cs typeface="+mn-cs"/>
        </a:defRPr>
      </a:lvl3pPr>
      <a:lvl4pPr marL="1143000" indent="-228600" algn="l" defTabSz="1086775" rtl="0" eaLnBrk="1" latinLnBrk="0" hangingPunct="1">
        <a:lnSpc>
          <a:spcPct val="90000"/>
        </a:lnSpc>
        <a:spcBef>
          <a:spcPts val="200"/>
        </a:spcBef>
        <a:spcAft>
          <a:spcPts val="0"/>
        </a:spcAft>
        <a:buClr>
          <a:schemeClr val="tx1"/>
        </a:buClr>
        <a:buSzPct val="100000"/>
        <a:buFontTx/>
        <a:buBlip>
          <a:blip r:embed="rId39"/>
        </a:buBlip>
        <a:tabLst/>
        <a:defRPr sz="1600" kern="1200" baseline="0">
          <a:solidFill>
            <a:schemeClr val="tx1"/>
          </a:solidFill>
          <a:latin typeface="+mn-lt"/>
          <a:ea typeface="+mn-ea"/>
          <a:cs typeface="+mn-cs"/>
        </a:defRPr>
      </a:lvl4pPr>
      <a:lvl5pPr marL="1389888" indent="-228600" algn="l" defTabSz="1086775" rtl="0" eaLnBrk="1" latinLnBrk="0" hangingPunct="1">
        <a:lnSpc>
          <a:spcPct val="90000"/>
        </a:lnSpc>
        <a:spcBef>
          <a:spcPts val="200"/>
        </a:spcBef>
        <a:spcAft>
          <a:spcPts val="0"/>
        </a:spcAft>
        <a:buClr>
          <a:schemeClr val="tx1"/>
        </a:buClr>
        <a:buFontTx/>
        <a:buBlip>
          <a:blip r:embed="rId38"/>
        </a:buBlip>
        <a:defRPr sz="1400" kern="1200" baseline="0">
          <a:solidFill>
            <a:schemeClr val="tx1"/>
          </a:solidFill>
          <a:latin typeface="+mn-lt"/>
          <a:ea typeface="+mn-ea"/>
          <a:cs typeface="+mn-cs"/>
        </a:defRPr>
      </a:lvl5pPr>
      <a:lvl6pPr marL="2988632" indent="-271694" algn="l" defTabSz="1086775"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2020" indent="-271694" algn="l" defTabSz="1086775"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5408" indent="-271694" algn="l" defTabSz="1086775"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8796" indent="-271694" algn="l" defTabSz="1086775" rtl="0" eaLnBrk="1" latinLnBrk="0" hangingPunct="1">
        <a:spcBef>
          <a:spcPct val="20000"/>
        </a:spcBef>
        <a:buFont typeface="Arial" pitchFamily="34" charset="0"/>
        <a:buChar char="•"/>
        <a:defRPr sz="2400" kern="1200">
          <a:solidFill>
            <a:schemeClr val="tx1"/>
          </a:solidFill>
          <a:latin typeface="+mn-lt"/>
          <a:ea typeface="+mn-ea"/>
          <a:cs typeface="+mn-cs"/>
        </a:defRPr>
      </a:lvl9pPr>
    </p:bodyStyle>
    <p:otherStyle>
      <a:defPPr>
        <a:defRPr lang="en-US"/>
      </a:defPPr>
      <a:lvl1pPr marL="0" algn="l" defTabSz="1086775" rtl="0" eaLnBrk="1" latinLnBrk="0" hangingPunct="1">
        <a:defRPr sz="2200" kern="1200">
          <a:solidFill>
            <a:schemeClr val="tx1"/>
          </a:solidFill>
          <a:latin typeface="+mn-lt"/>
          <a:ea typeface="+mn-ea"/>
          <a:cs typeface="+mn-cs"/>
        </a:defRPr>
      </a:lvl1pPr>
      <a:lvl2pPr marL="543388" algn="l" defTabSz="1086775" rtl="0" eaLnBrk="1" latinLnBrk="0" hangingPunct="1">
        <a:defRPr sz="2200" kern="1200">
          <a:solidFill>
            <a:schemeClr val="tx1"/>
          </a:solidFill>
          <a:latin typeface="+mn-lt"/>
          <a:ea typeface="+mn-ea"/>
          <a:cs typeface="+mn-cs"/>
        </a:defRPr>
      </a:lvl2pPr>
      <a:lvl3pPr marL="1086775" algn="l" defTabSz="1086775" rtl="0" eaLnBrk="1" latinLnBrk="0" hangingPunct="1">
        <a:defRPr sz="2200" kern="1200">
          <a:solidFill>
            <a:schemeClr val="tx1"/>
          </a:solidFill>
          <a:latin typeface="+mn-lt"/>
          <a:ea typeface="+mn-ea"/>
          <a:cs typeface="+mn-cs"/>
        </a:defRPr>
      </a:lvl3pPr>
      <a:lvl4pPr marL="1630163" algn="l" defTabSz="1086775" rtl="0" eaLnBrk="1" latinLnBrk="0" hangingPunct="1">
        <a:defRPr sz="2200" kern="1200">
          <a:solidFill>
            <a:schemeClr val="tx1"/>
          </a:solidFill>
          <a:latin typeface="+mn-lt"/>
          <a:ea typeface="+mn-ea"/>
          <a:cs typeface="+mn-cs"/>
        </a:defRPr>
      </a:lvl4pPr>
      <a:lvl5pPr marL="2173551" algn="l" defTabSz="1086775" rtl="0" eaLnBrk="1" latinLnBrk="0" hangingPunct="1">
        <a:defRPr sz="2200" kern="1200">
          <a:solidFill>
            <a:schemeClr val="tx1"/>
          </a:solidFill>
          <a:latin typeface="+mn-lt"/>
          <a:ea typeface="+mn-ea"/>
          <a:cs typeface="+mn-cs"/>
        </a:defRPr>
      </a:lvl5pPr>
      <a:lvl6pPr marL="2716938" algn="l" defTabSz="1086775" rtl="0" eaLnBrk="1" latinLnBrk="0" hangingPunct="1">
        <a:defRPr sz="2200" kern="1200">
          <a:solidFill>
            <a:schemeClr val="tx1"/>
          </a:solidFill>
          <a:latin typeface="+mn-lt"/>
          <a:ea typeface="+mn-ea"/>
          <a:cs typeface="+mn-cs"/>
        </a:defRPr>
      </a:lvl6pPr>
      <a:lvl7pPr marL="3260326" algn="l" defTabSz="1086775" rtl="0" eaLnBrk="1" latinLnBrk="0" hangingPunct="1">
        <a:defRPr sz="2200" kern="1200">
          <a:solidFill>
            <a:schemeClr val="tx1"/>
          </a:solidFill>
          <a:latin typeface="+mn-lt"/>
          <a:ea typeface="+mn-ea"/>
          <a:cs typeface="+mn-cs"/>
        </a:defRPr>
      </a:lvl7pPr>
      <a:lvl8pPr marL="3803713" algn="l" defTabSz="1086775" rtl="0" eaLnBrk="1" latinLnBrk="0" hangingPunct="1">
        <a:defRPr sz="2200" kern="1200">
          <a:solidFill>
            <a:schemeClr val="tx1"/>
          </a:solidFill>
          <a:latin typeface="+mn-lt"/>
          <a:ea typeface="+mn-ea"/>
          <a:cs typeface="+mn-cs"/>
        </a:defRPr>
      </a:lvl8pPr>
      <a:lvl9pPr marL="4347102" algn="l" defTabSz="1086775" rtl="0" eaLnBrk="1" latinLnBrk="0" hangingPunct="1">
        <a:defRPr sz="22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slide" Target="slide9.xml"/><Relationship Id="rId1" Type="http://schemas.openxmlformats.org/officeDocument/2006/relationships/slideLayout" Target="../slideLayouts/slideLayout37.xml"/></Relationships>
</file>

<file path=ppt/slides/_rels/slide11.xml.rels><?xml version="1.0" encoding="UTF-8" standalone="yes"?>
<Relationships xmlns="http://schemas.openxmlformats.org/package/2006/relationships"><Relationship Id="rId3" Type="http://schemas.openxmlformats.org/officeDocument/2006/relationships/slide" Target="slide9.xml"/><Relationship Id="rId2" Type="http://schemas.openxmlformats.org/officeDocument/2006/relationships/notesSlide" Target="../notesSlides/notesSlide10.xml"/><Relationship Id="rId1" Type="http://schemas.openxmlformats.org/officeDocument/2006/relationships/slideLayout" Target="../slideLayouts/slideLayout9.xml"/><Relationship Id="rId6" Type="http://schemas.openxmlformats.org/officeDocument/2006/relationships/image" Target="../media/image47.png"/><Relationship Id="rId5" Type="http://schemas.openxmlformats.org/officeDocument/2006/relationships/image" Target="../media/image46.png"/><Relationship Id="rId4" Type="http://schemas.openxmlformats.org/officeDocument/2006/relationships/image" Target="../media/image36.png"/></Relationships>
</file>

<file path=ppt/slides/_rels/slide12.xml.rels><?xml version="1.0" encoding="UTF-8" standalone="yes"?>
<Relationships xmlns="http://schemas.openxmlformats.org/package/2006/relationships"><Relationship Id="rId3" Type="http://schemas.openxmlformats.org/officeDocument/2006/relationships/slide" Target="slide9.xml"/><Relationship Id="rId2" Type="http://schemas.openxmlformats.org/officeDocument/2006/relationships/notesSlide" Target="../notesSlides/notesSlide11.xml"/><Relationship Id="rId1" Type="http://schemas.openxmlformats.org/officeDocument/2006/relationships/slideLayout" Target="../slideLayouts/slideLayout37.xml"/><Relationship Id="rId4" Type="http://schemas.openxmlformats.org/officeDocument/2006/relationships/image" Target="../media/image36.png"/></Relationships>
</file>

<file path=ppt/slides/_rels/slide13.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12.xml"/><Relationship Id="rId1" Type="http://schemas.openxmlformats.org/officeDocument/2006/relationships/slideLayout" Target="../slideLayouts/slideLayout9.xml"/><Relationship Id="rId5" Type="http://schemas.openxmlformats.org/officeDocument/2006/relationships/image" Target="../media/image36.png"/><Relationship Id="rId4" Type="http://schemas.openxmlformats.org/officeDocument/2006/relationships/slide" Target="slide2.xml"/></Relationships>
</file>

<file path=ppt/slides/_rels/slide14.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13.xml"/><Relationship Id="rId1" Type="http://schemas.openxmlformats.org/officeDocument/2006/relationships/slideLayout" Target="../slideLayouts/slideLayout9.xml"/><Relationship Id="rId6" Type="http://schemas.openxmlformats.org/officeDocument/2006/relationships/image" Target="../media/image6.png"/><Relationship Id="rId5" Type="http://schemas.openxmlformats.org/officeDocument/2006/relationships/image" Target="../media/image36.png"/><Relationship Id="rId4" Type="http://schemas.openxmlformats.org/officeDocument/2006/relationships/slide" Target="slide2.xml"/></Relationships>
</file>

<file path=ppt/slides/_rels/slide15.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14.xml"/><Relationship Id="rId1" Type="http://schemas.openxmlformats.org/officeDocument/2006/relationships/slideLayout" Target="../slideLayouts/slideLayout9.xml"/><Relationship Id="rId6" Type="http://schemas.openxmlformats.org/officeDocument/2006/relationships/image" Target="../media/image36.png"/><Relationship Id="rId5" Type="http://schemas.openxmlformats.org/officeDocument/2006/relationships/slide" Target="slide9.xml"/><Relationship Id="rId4" Type="http://schemas.openxmlformats.org/officeDocument/2006/relationships/image" Target="../media/image51.png"/></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3.xml"/></Relationships>
</file>

<file path=ppt/slides/_rels/slide2.xml.rels><?xml version="1.0" encoding="UTF-8" standalone="yes"?>
<Relationships xmlns="http://schemas.openxmlformats.org/package/2006/relationships"><Relationship Id="rId8" Type="http://schemas.openxmlformats.org/officeDocument/2006/relationships/slide" Target="slide15.xml"/><Relationship Id="rId3" Type="http://schemas.openxmlformats.org/officeDocument/2006/relationships/slide" Target="slide8.xml"/><Relationship Id="rId7" Type="http://schemas.openxmlformats.org/officeDocument/2006/relationships/slide" Target="slide14.xml"/><Relationship Id="rId2" Type="http://schemas.openxmlformats.org/officeDocument/2006/relationships/notesSlide" Target="../notesSlides/notesSlide2.xml"/><Relationship Id="rId1" Type="http://schemas.openxmlformats.org/officeDocument/2006/relationships/slideLayout" Target="../slideLayouts/slideLayout26.xml"/><Relationship Id="rId6" Type="http://schemas.openxmlformats.org/officeDocument/2006/relationships/slide" Target="slide13.xml"/><Relationship Id="rId5" Type="http://schemas.openxmlformats.org/officeDocument/2006/relationships/slide" Target="slide6.xml"/><Relationship Id="rId10" Type="http://schemas.openxmlformats.org/officeDocument/2006/relationships/image" Target="../media/image2.svg"/><Relationship Id="rId4" Type="http://schemas.openxmlformats.org/officeDocument/2006/relationships/slide" Target="slide7.xml"/><Relationship Id="rId9" Type="http://schemas.openxmlformats.org/officeDocument/2006/relationships/image" Target="../media/image1.png"/></Relationships>
</file>

<file path=ppt/slides/_rels/slide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3.xml"/><Relationship Id="rId1" Type="http://schemas.openxmlformats.org/officeDocument/2006/relationships/slideLayout" Target="../slideLayouts/slideLayout25.xml"/><Relationship Id="rId4" Type="http://schemas.openxmlformats.org/officeDocument/2006/relationships/image" Target="../media/image2.svg"/></Relationships>
</file>

<file path=ppt/slides/_rels/slide4.xml.rels><?xml version="1.0" encoding="UTF-8" standalone="yes"?>
<Relationships xmlns="http://schemas.openxmlformats.org/package/2006/relationships"><Relationship Id="rId3" Type="http://schemas.openxmlformats.org/officeDocument/2006/relationships/slide" Target="slide2.xml"/><Relationship Id="rId2" Type="http://schemas.openxmlformats.org/officeDocument/2006/relationships/notesSlide" Target="../notesSlides/notesSlide4.xml"/><Relationship Id="rId1" Type="http://schemas.openxmlformats.org/officeDocument/2006/relationships/slideLayout" Target="../slideLayouts/slideLayout9.xml"/><Relationship Id="rId5" Type="http://schemas.openxmlformats.org/officeDocument/2006/relationships/image" Target="../media/image37.jpeg"/><Relationship Id="rId4" Type="http://schemas.openxmlformats.org/officeDocument/2006/relationships/image" Target="../media/image36.png"/></Relationships>
</file>

<file path=ppt/slides/_rels/slide5.xml.rels><?xml version="1.0" encoding="UTF-8" standalone="yes"?>
<Relationships xmlns="http://schemas.openxmlformats.org/package/2006/relationships"><Relationship Id="rId3" Type="http://schemas.openxmlformats.org/officeDocument/2006/relationships/slide" Target="slide2.xml"/><Relationship Id="rId2" Type="http://schemas.openxmlformats.org/officeDocument/2006/relationships/notesSlide" Target="../notesSlides/notesSlide5.xml"/><Relationship Id="rId1" Type="http://schemas.openxmlformats.org/officeDocument/2006/relationships/slideLayout" Target="../slideLayouts/slideLayout9.xml"/><Relationship Id="rId4" Type="http://schemas.openxmlformats.org/officeDocument/2006/relationships/image" Target="../media/image36.png"/></Relationships>
</file>

<file path=ppt/slides/_rels/slide6.xml.rels><?xml version="1.0" encoding="UTF-8" standalone="yes"?>
<Relationships xmlns="http://schemas.openxmlformats.org/package/2006/relationships"><Relationship Id="rId8" Type="http://schemas.openxmlformats.org/officeDocument/2006/relationships/image" Target="../media/image36.png"/><Relationship Id="rId3" Type="http://schemas.openxmlformats.org/officeDocument/2006/relationships/image" Target="../media/image38.jpeg"/><Relationship Id="rId7" Type="http://schemas.openxmlformats.org/officeDocument/2006/relationships/slide" Target="slide2.xml"/><Relationship Id="rId2" Type="http://schemas.openxmlformats.org/officeDocument/2006/relationships/notesSlide" Target="../notesSlides/notesSlide6.xml"/><Relationship Id="rId1" Type="http://schemas.openxmlformats.org/officeDocument/2006/relationships/slideLayout" Target="../slideLayouts/slideLayout9.xml"/><Relationship Id="rId6" Type="http://schemas.openxmlformats.org/officeDocument/2006/relationships/image" Target="../media/image41.jpeg"/><Relationship Id="rId5" Type="http://schemas.openxmlformats.org/officeDocument/2006/relationships/image" Target="../media/image40.jpeg"/><Relationship Id="rId4" Type="http://schemas.openxmlformats.org/officeDocument/2006/relationships/image" Target="../media/image39.jpeg"/></Relationships>
</file>

<file path=ppt/slides/_rels/slide7.xml.rels><?xml version="1.0" encoding="UTF-8" standalone="yes"?>
<Relationships xmlns="http://schemas.openxmlformats.org/package/2006/relationships"><Relationship Id="rId3" Type="http://schemas.openxmlformats.org/officeDocument/2006/relationships/slide" Target="slide2.xml"/><Relationship Id="rId2" Type="http://schemas.openxmlformats.org/officeDocument/2006/relationships/notesSlide" Target="../notesSlides/notesSlide7.xml"/><Relationship Id="rId1" Type="http://schemas.openxmlformats.org/officeDocument/2006/relationships/slideLayout" Target="../slideLayouts/slideLayout9.xml"/><Relationship Id="rId4" Type="http://schemas.openxmlformats.org/officeDocument/2006/relationships/image" Target="../media/image36.png"/></Relationships>
</file>

<file path=ppt/slides/_rels/slide8.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8.xml"/><Relationship Id="rId1" Type="http://schemas.openxmlformats.org/officeDocument/2006/relationships/slideLayout" Target="../slideLayouts/slideLayout9.xml"/><Relationship Id="rId6" Type="http://schemas.openxmlformats.org/officeDocument/2006/relationships/image" Target="../media/image6.png"/><Relationship Id="rId5" Type="http://schemas.openxmlformats.org/officeDocument/2006/relationships/image" Target="../media/image36.png"/><Relationship Id="rId4" Type="http://schemas.openxmlformats.org/officeDocument/2006/relationships/slide" Target="slide9.xml"/></Relationships>
</file>

<file path=ppt/slides/_rels/slide9.xml.rels><?xml version="1.0" encoding="UTF-8" standalone="yes"?>
<Relationships xmlns="http://schemas.openxmlformats.org/package/2006/relationships"><Relationship Id="rId8" Type="http://schemas.openxmlformats.org/officeDocument/2006/relationships/image" Target="../media/image45.png"/><Relationship Id="rId3" Type="http://schemas.openxmlformats.org/officeDocument/2006/relationships/slide" Target="slide9.xml"/><Relationship Id="rId7" Type="http://schemas.openxmlformats.org/officeDocument/2006/relationships/image" Target="../media/image44.png"/><Relationship Id="rId2" Type="http://schemas.openxmlformats.org/officeDocument/2006/relationships/notesSlide" Target="../notesSlides/notesSlide9.xml"/><Relationship Id="rId1" Type="http://schemas.openxmlformats.org/officeDocument/2006/relationships/slideLayout" Target="../slideLayouts/slideLayout9.xml"/><Relationship Id="rId6" Type="http://schemas.openxmlformats.org/officeDocument/2006/relationships/image" Target="../media/image43.png"/><Relationship Id="rId5" Type="http://schemas.openxmlformats.org/officeDocument/2006/relationships/image" Target="../media/image6.png"/><Relationship Id="rId4" Type="http://schemas.openxmlformats.org/officeDocument/2006/relationships/image" Target="../media/image36.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650B538C-8E9C-428A-8731-F59D383BA40D}"/>
              </a:ext>
            </a:extLst>
          </p:cNvPr>
          <p:cNvSpPr>
            <a:spLocks noGrp="1"/>
          </p:cNvSpPr>
          <p:nvPr>
            <p:ph type="body" sz="quarter" idx="12"/>
          </p:nvPr>
        </p:nvSpPr>
        <p:spPr/>
        <p:txBody>
          <a:bodyPr/>
          <a:lstStyle/>
          <a:p>
            <a:r>
              <a:rPr lang="en-US" dirty="0"/>
              <a:t>July 2022</a:t>
            </a:r>
          </a:p>
        </p:txBody>
      </p:sp>
      <p:sp>
        <p:nvSpPr>
          <p:cNvPr id="2" name="Title 1">
            <a:extLst>
              <a:ext uri="{FF2B5EF4-FFF2-40B4-BE49-F238E27FC236}">
                <a16:creationId xmlns:a16="http://schemas.microsoft.com/office/drawing/2014/main" id="{19B47A8F-3BBD-4020-8EA9-7B822A6B8818}"/>
              </a:ext>
            </a:extLst>
          </p:cNvPr>
          <p:cNvSpPr>
            <a:spLocks noGrp="1"/>
          </p:cNvSpPr>
          <p:nvPr>
            <p:ph type="ctrTitle"/>
          </p:nvPr>
        </p:nvSpPr>
        <p:spPr>
          <a:xfrm>
            <a:off x="427702" y="2202836"/>
            <a:ext cx="4409826" cy="2077877"/>
          </a:xfrm>
        </p:spPr>
        <p:txBody>
          <a:bodyPr/>
          <a:lstStyle/>
          <a:p>
            <a:r>
              <a:rPr lang="en-US" dirty="0"/>
              <a:t>Creo Packaging </a:t>
            </a:r>
            <a:br>
              <a:rPr lang="en-US" dirty="0"/>
            </a:br>
            <a:r>
              <a:rPr lang="en-US" dirty="0"/>
              <a:t>and Solution Capabilities</a:t>
            </a:r>
          </a:p>
        </p:txBody>
      </p:sp>
      <p:sp>
        <p:nvSpPr>
          <p:cNvPr id="8" name="TextBox 7">
            <a:extLst>
              <a:ext uri="{FF2B5EF4-FFF2-40B4-BE49-F238E27FC236}">
                <a16:creationId xmlns:a16="http://schemas.microsoft.com/office/drawing/2014/main" id="{895474DD-2346-463E-B260-54DBFBB56DDB}"/>
              </a:ext>
            </a:extLst>
          </p:cNvPr>
          <p:cNvSpPr txBox="1"/>
          <p:nvPr/>
        </p:nvSpPr>
        <p:spPr>
          <a:xfrm>
            <a:off x="0" y="6612354"/>
            <a:ext cx="12192000" cy="246221"/>
          </a:xfrm>
          <a:prstGeom prst="rect">
            <a:avLst/>
          </a:prstGeom>
          <a:noFill/>
          <a:ln>
            <a:noFill/>
          </a:ln>
        </p:spPr>
        <p:txBody>
          <a:bodyPr wrap="square">
            <a:spAutoFit/>
          </a:bodyPr>
          <a:lstStyle/>
          <a:p>
            <a:r>
              <a:rPr lang="en-US" sz="1000" b="1" i="0" dirty="0">
                <a:solidFill>
                  <a:srgbClr val="293F4D"/>
                </a:solidFill>
                <a:effectLst/>
                <a:latin typeface="source sans pro" panose="020B0503030403020204" pitchFamily="34" charset="0"/>
              </a:rPr>
              <a:t>Note:  With the planned release of Creo+, CAD packages and Extensions that contain "plus" will be renamed. This deck contains new naming conventions  (see notes) </a:t>
            </a:r>
            <a:endParaRPr lang="en-US" sz="1000" dirty="0"/>
          </a:p>
        </p:txBody>
      </p:sp>
    </p:spTree>
    <p:extLst>
      <p:ext uri="{BB962C8B-B14F-4D97-AF65-F5344CB8AC3E}">
        <p14:creationId xmlns:p14="http://schemas.microsoft.com/office/powerpoint/2010/main" val="4144663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E8E2477-ED4E-4FB1-873E-581735A41B32}"/>
              </a:ext>
            </a:extLst>
          </p:cNvPr>
          <p:cNvSpPr>
            <a:spLocks noGrp="1"/>
          </p:cNvSpPr>
          <p:nvPr>
            <p:ph type="title"/>
          </p:nvPr>
        </p:nvSpPr>
        <p:spPr/>
        <p:txBody>
          <a:bodyPr/>
          <a:lstStyle/>
          <a:p>
            <a:r>
              <a:rPr lang="fr-FR"/>
              <a:t>Creo Simulation Live Packages</a:t>
            </a:r>
            <a:endParaRPr lang="fr-FR" dirty="0"/>
          </a:p>
        </p:txBody>
      </p:sp>
      <p:graphicFrame>
        <p:nvGraphicFramePr>
          <p:cNvPr id="4" name="Content Placeholder 5">
            <a:extLst>
              <a:ext uri="{FF2B5EF4-FFF2-40B4-BE49-F238E27FC236}">
                <a16:creationId xmlns:a16="http://schemas.microsoft.com/office/drawing/2014/main" id="{73D26D84-F2D4-454F-9CBC-CD99B833945A}"/>
              </a:ext>
            </a:extLst>
          </p:cNvPr>
          <p:cNvGraphicFramePr>
            <a:graphicFrameLocks/>
          </p:cNvGraphicFramePr>
          <p:nvPr>
            <p:extLst>
              <p:ext uri="{D42A27DB-BD31-4B8C-83A1-F6EECF244321}">
                <p14:modId xmlns:p14="http://schemas.microsoft.com/office/powerpoint/2010/main" val="3993427951"/>
              </p:ext>
            </p:extLst>
          </p:nvPr>
        </p:nvGraphicFramePr>
        <p:xfrm>
          <a:off x="289560" y="1178855"/>
          <a:ext cx="11571006" cy="5196314"/>
        </p:xfrm>
        <a:graphic>
          <a:graphicData uri="http://schemas.openxmlformats.org/drawingml/2006/table">
            <a:tbl>
              <a:tblPr firstRow="1">
                <a:tableStyleId>{D27102A9-8310-4765-A935-A1911B00CA55}</a:tableStyleId>
              </a:tblPr>
              <a:tblGrid>
                <a:gridCol w="1486184">
                  <a:extLst>
                    <a:ext uri="{9D8B030D-6E8A-4147-A177-3AD203B41FA5}">
                      <a16:colId xmlns:a16="http://schemas.microsoft.com/office/drawing/2014/main" val="1080268181"/>
                    </a:ext>
                  </a:extLst>
                </a:gridCol>
                <a:gridCol w="6900142">
                  <a:extLst>
                    <a:ext uri="{9D8B030D-6E8A-4147-A177-3AD203B41FA5}">
                      <a16:colId xmlns:a16="http://schemas.microsoft.com/office/drawing/2014/main" val="1898359982"/>
                    </a:ext>
                  </a:extLst>
                </a:gridCol>
                <a:gridCol w="1592340">
                  <a:extLst>
                    <a:ext uri="{9D8B030D-6E8A-4147-A177-3AD203B41FA5}">
                      <a16:colId xmlns:a16="http://schemas.microsoft.com/office/drawing/2014/main" val="190655166"/>
                    </a:ext>
                  </a:extLst>
                </a:gridCol>
                <a:gridCol w="1592340">
                  <a:extLst>
                    <a:ext uri="{9D8B030D-6E8A-4147-A177-3AD203B41FA5}">
                      <a16:colId xmlns:a16="http://schemas.microsoft.com/office/drawing/2014/main" val="2598908777"/>
                    </a:ext>
                  </a:extLst>
                </a:gridCol>
              </a:tblGrid>
              <a:tr h="457200">
                <a:tc>
                  <a:txBody>
                    <a:bodyPr/>
                    <a:lstStyle/>
                    <a:p>
                      <a:pPr>
                        <a:lnSpc>
                          <a:spcPct val="90000"/>
                        </a:lnSpc>
                      </a:pPr>
                      <a:r>
                        <a:rPr lang="en-US" sz="1200" b="1" baseline="0" dirty="0">
                          <a:solidFill>
                            <a:schemeClr val="bg1"/>
                          </a:solidFill>
                        </a:rPr>
                        <a:t>Simulation</a:t>
                      </a:r>
                      <a:r>
                        <a:rPr lang="en-US" sz="1200" b="1" baseline="0" dirty="0"/>
                        <a:t> Mo</a:t>
                      </a:r>
                    </a:p>
                  </a:txBody>
                  <a:tcPr marL="0" marR="0" marT="0" marB="0" anchor="ctr" anchorCtr="1">
                    <a:lnR w="9525"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tx1"/>
                    </a:solidFill>
                  </a:tcPr>
                </a:tc>
                <a:tc>
                  <a:txBody>
                    <a:bodyPr/>
                    <a:lstStyle/>
                    <a:p>
                      <a:pPr algn="l">
                        <a:lnSpc>
                          <a:spcPct val="90000"/>
                        </a:lnSpc>
                      </a:pPr>
                      <a:r>
                        <a:rPr lang="en-US" sz="1200" b="1" kern="1200" baseline="0" dirty="0">
                          <a:solidFill>
                            <a:schemeClr val="bg1"/>
                          </a:solidFill>
                          <a:latin typeface="+mn-lt"/>
                          <a:ea typeface="+mn-ea"/>
                          <a:cs typeface="+mn-cs"/>
                        </a:rPr>
                        <a:t>Capability</a:t>
                      </a:r>
                    </a:p>
                  </a:txBody>
                  <a:tcPr marL="0" marR="0" marT="0" marB="0" anchor="ctr" anchorCtr="1">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tx1"/>
                    </a:solidFill>
                  </a:tcPr>
                </a:tc>
                <a:tc>
                  <a:txBody>
                    <a:bodyPr/>
                    <a:lstStyle/>
                    <a:p>
                      <a:pPr algn="ctr">
                        <a:lnSpc>
                          <a:spcPct val="90000"/>
                        </a:lnSpc>
                      </a:pPr>
                      <a:r>
                        <a:rPr lang="fr-FR" sz="1200" dirty="0">
                          <a:solidFill>
                            <a:schemeClr val="bg1"/>
                          </a:solidFill>
                        </a:rPr>
                        <a:t>Creo Simulation Live</a:t>
                      </a:r>
                      <a:endParaRPr lang="en-US" sz="1200" b="1" dirty="0">
                        <a:solidFill>
                          <a:schemeClr val="bg1"/>
                        </a:solidFill>
                      </a:endParaRPr>
                    </a:p>
                  </a:txBody>
                  <a:tcPr marL="0" marR="0" marT="0" marB="0" anchor="ctr" anchorCtr="1">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tx1"/>
                    </a:solidFill>
                  </a:tcPr>
                </a:tc>
                <a:tc>
                  <a:txBody>
                    <a:bodyPr/>
                    <a:lstStyle/>
                    <a:p>
                      <a:pPr algn="ctr">
                        <a:lnSpc>
                          <a:spcPct val="90000"/>
                        </a:lnSpc>
                      </a:pPr>
                      <a:r>
                        <a:rPr lang="fr-FR" sz="1200" dirty="0">
                          <a:solidFill>
                            <a:schemeClr val="bg1"/>
                          </a:solidFill>
                        </a:rPr>
                        <a:t>Creo Simulation Live Advanced</a:t>
                      </a:r>
                      <a:endParaRPr lang="en-US" sz="1200" b="1" dirty="0">
                        <a:solidFill>
                          <a:schemeClr val="bg1"/>
                        </a:solidFill>
                      </a:endParaRPr>
                    </a:p>
                  </a:txBody>
                  <a:tcPr marL="0" marR="0" marT="0" marB="0" anchor="ctr" anchorCtr="1">
                    <a:lnL w="9525" cap="flat" cmpd="sng" algn="ctr">
                      <a:solidFill>
                        <a:schemeClr val="bg1"/>
                      </a:solidFill>
                      <a:prstDash val="solid"/>
                      <a:round/>
                      <a:headEnd type="none" w="med" len="med"/>
                      <a:tailEnd type="none" w="med" len="med"/>
                    </a:lnL>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tx1"/>
                    </a:solidFill>
                  </a:tcPr>
                </a:tc>
                <a:extLst>
                  <a:ext uri="{0D108BD9-81ED-4DB2-BD59-A6C34878D82A}">
                    <a16:rowId xmlns:a16="http://schemas.microsoft.com/office/drawing/2014/main" val="1362969083"/>
                  </a:ext>
                </a:extLst>
              </a:tr>
              <a:tr h="229577">
                <a:tc>
                  <a:txBody>
                    <a:bodyPr/>
                    <a:lstStyle/>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100" b="0" kern="1200" dirty="0">
                          <a:solidFill>
                            <a:schemeClr val="tx1"/>
                          </a:solidFill>
                          <a:latin typeface="+mn-lt"/>
                          <a:ea typeface="+mn-ea"/>
                          <a:cs typeface="+mn-cs"/>
                        </a:rPr>
                        <a:t>Structural</a:t>
                      </a:r>
                    </a:p>
                  </a:txBody>
                  <a:tcPr marR="0" marT="0" marB="0" anchor="ctr">
                    <a:lnR w="9525"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9EAEA"/>
                    </a:solidFill>
                  </a:tcPr>
                </a:tc>
                <a:tc>
                  <a:txBody>
                    <a:bodyPr/>
                    <a:lstStyle/>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fr-FR" sz="1100" kern="1200" dirty="0"/>
                        <a:t>Contraints: </a:t>
                      </a:r>
                      <a:r>
                        <a:rPr lang="fr-FR" sz="1100" kern="1200" dirty="0" err="1"/>
                        <a:t>Fixed</a:t>
                      </a:r>
                      <a:r>
                        <a:rPr lang="fr-FR" sz="1100" kern="1200" dirty="0"/>
                        <a:t>, </a:t>
                      </a:r>
                      <a:r>
                        <a:rPr lang="fr-FR" sz="1100" kern="1200" dirty="0" err="1"/>
                        <a:t>Displacement</a:t>
                      </a:r>
                      <a:r>
                        <a:rPr lang="fr-FR" sz="1100" kern="1200" dirty="0"/>
                        <a:t>, </a:t>
                      </a:r>
                      <a:r>
                        <a:rPr lang="fr-FR" sz="1100" kern="1200" dirty="0" err="1"/>
                        <a:t>Frictionless</a:t>
                      </a:r>
                      <a:r>
                        <a:rPr lang="fr-FR" sz="1100" kern="1200" dirty="0"/>
                        <a:t>, </a:t>
                      </a:r>
                      <a:r>
                        <a:rPr lang="fr-FR" sz="1100" kern="1200" dirty="0" err="1"/>
                        <a:t>Cylindrical</a:t>
                      </a:r>
                      <a:r>
                        <a:rPr lang="fr-FR" sz="1100" kern="1200" dirty="0"/>
                        <a:t>, Ball and </a:t>
                      </a:r>
                      <a:r>
                        <a:rPr lang="fr-FR" sz="1100" kern="1200" dirty="0" err="1"/>
                        <a:t>Planar</a:t>
                      </a:r>
                      <a:endParaRPr lang="en-US" sz="1100" kern="1200" dirty="0">
                        <a:solidFill>
                          <a:schemeClr val="tx1"/>
                        </a:solidFill>
                        <a:latin typeface="+mn-lt"/>
                        <a:ea typeface="+mn-ea"/>
                        <a:cs typeface="+mn-cs"/>
                      </a:endParaRPr>
                    </a:p>
                  </a:txBody>
                  <a:tcPr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dirty="0"/>
                        <a:t>✔</a:t>
                      </a:r>
                    </a:p>
                  </a:txBody>
                  <a:tcPr marL="0" marR="0" marT="0" marB="0" anchor="ctr" anchorCtr="1">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dirty="0"/>
                        <a:t>✔</a:t>
                      </a:r>
                    </a:p>
                  </a:txBody>
                  <a:tcPr marL="0" marR="0" marT="0" marB="0" anchor="ctr" anchorCtr="1">
                    <a:lnL w="9525" cap="flat" cmpd="sng" algn="ctr">
                      <a:solidFill>
                        <a:schemeClr val="bg1"/>
                      </a:solidFill>
                      <a:prstDash val="solid"/>
                      <a:round/>
                      <a:headEnd type="none" w="med" len="med"/>
                      <a:tailEnd type="none" w="med" len="med"/>
                    </a:lnL>
                    <a:lnT w="38100" cap="flat" cmpd="sng" algn="ctr">
                      <a:solidFill>
                        <a:schemeClr val="bg1"/>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61831413"/>
                  </a:ext>
                </a:extLst>
              </a:tr>
              <a:tr h="229577">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1100" b="0" kern="1200" dirty="0">
                        <a:solidFill>
                          <a:schemeClr val="tx1"/>
                        </a:solidFill>
                        <a:latin typeface="+mn-lt"/>
                        <a:ea typeface="+mn-ea"/>
                        <a:cs typeface="+mn-cs"/>
                      </a:endParaRPr>
                    </a:p>
                  </a:txBody>
                  <a:tcPr marR="0" marT="0" marB="0" anchor="ctr">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E9EAEA"/>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fr-FR" sz="1100" kern="1200" dirty="0"/>
                        <a:t>Loads: Force, Moment, Pressure, Gravity, Centrifugal, Linear, Acceleration</a:t>
                      </a:r>
                      <a:endParaRPr lang="en-US" sz="1100" kern="1200" dirty="0">
                        <a:solidFill>
                          <a:schemeClr val="tx1"/>
                        </a:solidFill>
                        <a:latin typeface="+mn-lt"/>
                        <a:ea typeface="+mn-ea"/>
                        <a:cs typeface="+mn-cs"/>
                      </a:endParaRPr>
                    </a:p>
                  </a:txBody>
                  <a:tcPr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dirty="0"/>
                        <a:t>✔</a:t>
                      </a:r>
                    </a:p>
                  </a:txBody>
                  <a:tcPr marL="0" marR="0" marT="0" marB="0" anchor="ctr" anchorCtr="1">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dirty="0"/>
                        <a:t>✔</a:t>
                      </a:r>
                    </a:p>
                  </a:txBody>
                  <a:tcPr marL="0" marR="0" marT="0" marB="0" anchor="ctr" anchorCtr="1">
                    <a:lnL w="9525" cap="flat" cmpd="sng" algn="ctr">
                      <a:solidFill>
                        <a:schemeClr val="bg1"/>
                      </a:solidFill>
                      <a:prstDash val="solid"/>
                      <a:round/>
                      <a:headEnd type="none" w="med" len="med"/>
                      <a:tailEnd type="none" w="med" len="med"/>
                    </a:lnL>
                    <a:lnT w="9525" cap="flat" cmpd="sng" algn="ctr">
                      <a:solidFill>
                        <a:schemeClr val="bg1">
                          <a:lumMod val="85000"/>
                        </a:schemeClr>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748361893"/>
                  </a:ext>
                </a:extLst>
              </a:tr>
              <a:tr h="229577">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100" b="0" kern="1200" dirty="0">
                          <a:solidFill>
                            <a:schemeClr val="tx1"/>
                          </a:solidFill>
                          <a:latin typeface="+mn-lt"/>
                          <a:ea typeface="+mn-ea"/>
                          <a:cs typeface="+mn-cs"/>
                        </a:rPr>
                        <a:t>Thermal</a:t>
                      </a:r>
                    </a:p>
                  </a:txBody>
                  <a:tcPr marR="0" marT="0" marB="0" anchor="ctr">
                    <a:lnR w="9525"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9EAEA"/>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fr-FR" sz="1100" kern="1200" dirty="0"/>
                        <a:t>Contraints: Convection, Prescribed Temperature, Initial Temperature</a:t>
                      </a:r>
                      <a:endParaRPr lang="en-US" sz="1100" kern="1200" dirty="0">
                        <a:solidFill>
                          <a:schemeClr val="tx1"/>
                        </a:solidFill>
                        <a:latin typeface="+mn-lt"/>
                        <a:ea typeface="+mn-ea"/>
                        <a:cs typeface="+mn-cs"/>
                      </a:endParaRPr>
                    </a:p>
                  </a:txBody>
                  <a:tcPr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dirty="0"/>
                        <a:t>✔</a:t>
                      </a:r>
                    </a:p>
                  </a:txBody>
                  <a:tcPr marL="0" marR="0" marT="0" marB="0" anchor="ctr" anchorCtr="1">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dirty="0"/>
                        <a:t>✔</a:t>
                      </a:r>
                    </a:p>
                  </a:txBody>
                  <a:tcPr marL="0" marR="0" marT="0" marB="0" anchor="ctr" anchorCtr="1">
                    <a:lnL w="9525" cap="flat" cmpd="sng" algn="ctr">
                      <a:solidFill>
                        <a:schemeClr val="bg1"/>
                      </a:solidFill>
                      <a:prstDash val="solid"/>
                      <a:round/>
                      <a:headEnd type="none" w="med" len="med"/>
                      <a:tailEnd type="none" w="med" len="med"/>
                    </a:lnL>
                    <a:lnT w="6350" cap="flat" cmpd="sng" algn="ctr">
                      <a:solidFill>
                        <a:schemeClr val="tx1"/>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010622203"/>
                  </a:ext>
                </a:extLst>
              </a:tr>
              <a:tr h="229577">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1100" b="0" kern="1200" dirty="0">
                        <a:solidFill>
                          <a:schemeClr val="tx1"/>
                        </a:solidFill>
                        <a:latin typeface="+mn-lt"/>
                        <a:ea typeface="+mn-ea"/>
                        <a:cs typeface="+mn-cs"/>
                      </a:endParaRPr>
                    </a:p>
                  </a:txBody>
                  <a:tcPr marR="0" marT="0" marB="0" anchor="ctr">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9EAEA"/>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fr-FR" sz="1100" kern="1200" dirty="0" err="1"/>
                        <a:t>Steady</a:t>
                      </a:r>
                      <a:r>
                        <a:rPr lang="fr-FR" sz="1100" kern="1200" dirty="0"/>
                        <a:t> State</a:t>
                      </a:r>
                      <a:endParaRPr lang="en-US" sz="1100" kern="1200" dirty="0">
                        <a:solidFill>
                          <a:schemeClr val="tx1"/>
                        </a:solidFill>
                        <a:latin typeface="+mn-lt"/>
                        <a:ea typeface="+mn-ea"/>
                        <a:cs typeface="+mn-cs"/>
                      </a:endParaRPr>
                    </a:p>
                  </a:txBody>
                  <a:tcPr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dirty="0"/>
                        <a:t>✔</a:t>
                      </a:r>
                    </a:p>
                  </a:txBody>
                  <a:tcPr marL="0" marR="0" marT="0" marB="0" anchor="ctr" anchorCtr="1">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dirty="0"/>
                        <a:t>✔</a:t>
                      </a:r>
                    </a:p>
                  </a:txBody>
                  <a:tcPr marL="0" marR="0" marT="0" marB="0" anchor="ctr" anchorCtr="1">
                    <a:lnL w="9525" cap="flat" cmpd="sng" algn="ctr">
                      <a:solidFill>
                        <a:schemeClr val="bg1"/>
                      </a:solidFill>
                      <a:prstDash val="solid"/>
                      <a:round/>
                      <a:headEnd type="none" w="med" len="med"/>
                      <a:tailEnd type="none" w="med" len="med"/>
                    </a:lnL>
                    <a:lnT w="6350"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754412092"/>
                  </a:ext>
                </a:extLst>
              </a:tr>
              <a:tr h="229577">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1100" b="0" kern="1200" dirty="0">
                        <a:solidFill>
                          <a:schemeClr val="tx1"/>
                        </a:solidFill>
                        <a:latin typeface="+mn-lt"/>
                        <a:ea typeface="+mn-ea"/>
                        <a:cs typeface="+mn-cs"/>
                      </a:endParaRPr>
                    </a:p>
                  </a:txBody>
                  <a:tcPr marR="0" marT="0" marB="0" anchor="ctr">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9EAEA"/>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fr-FR" sz="1100" kern="1200" dirty="0">
                          <a:solidFill>
                            <a:schemeClr val="tx1"/>
                          </a:solidFill>
                          <a:latin typeface="+mn-lt"/>
                          <a:ea typeface="+mn-ea"/>
                          <a:cs typeface="+mn-cs"/>
                        </a:rPr>
                        <a:t>Transient </a:t>
                      </a:r>
                      <a:endParaRPr lang="en-US" sz="1100" kern="1200" dirty="0">
                        <a:solidFill>
                          <a:schemeClr val="tx1"/>
                        </a:solidFill>
                        <a:latin typeface="+mn-lt"/>
                        <a:ea typeface="+mn-ea"/>
                        <a:cs typeface="+mn-cs"/>
                      </a:endParaRPr>
                    </a:p>
                  </a:txBody>
                  <a:tcPr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dirty="0"/>
                        <a:t>✔</a:t>
                      </a:r>
                    </a:p>
                  </a:txBody>
                  <a:tcPr marL="0" marR="0" marT="0" marB="0" anchor="ctr" anchorCtr="1">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dirty="0"/>
                        <a:t>✔</a:t>
                      </a:r>
                    </a:p>
                  </a:txBody>
                  <a:tcPr marL="0" marR="0" marT="0" marB="0" anchor="ctr" anchorCtr="1">
                    <a:lnL w="9525" cap="flat" cmpd="sng" algn="ctr">
                      <a:solidFill>
                        <a:schemeClr val="bg1"/>
                      </a:solidFill>
                      <a:prstDash val="solid"/>
                      <a:round/>
                      <a:headEnd type="none" w="med" len="med"/>
                      <a:tailEnd type="none" w="med" len="med"/>
                    </a:lnL>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761536627"/>
                  </a:ext>
                </a:extLst>
              </a:tr>
              <a:tr h="229577">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1100" b="0" kern="1200" dirty="0">
                        <a:solidFill>
                          <a:schemeClr val="tx1"/>
                        </a:solidFill>
                        <a:latin typeface="+mn-lt"/>
                        <a:ea typeface="+mn-ea"/>
                        <a:cs typeface="+mn-cs"/>
                      </a:endParaRPr>
                    </a:p>
                  </a:txBody>
                  <a:tcPr marR="0" marT="0" marB="0" anchor="ctr">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E9EAEA"/>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fr-FR" sz="1100" kern="1200" dirty="0">
                          <a:solidFill>
                            <a:schemeClr val="tx1"/>
                          </a:solidFill>
                          <a:latin typeface="+mn-lt"/>
                          <a:ea typeface="+mn-ea"/>
                          <a:cs typeface="+mn-cs"/>
                        </a:rPr>
                        <a:t>Thermal Heat Loads: Heat Flow, Heat Flux</a:t>
                      </a:r>
                      <a:endParaRPr lang="en-US" sz="1100" kern="1200" dirty="0">
                        <a:solidFill>
                          <a:schemeClr val="tx1"/>
                        </a:solidFill>
                        <a:latin typeface="+mn-lt"/>
                        <a:ea typeface="+mn-ea"/>
                        <a:cs typeface="+mn-cs"/>
                      </a:endParaRPr>
                    </a:p>
                  </a:txBody>
                  <a:tcPr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dirty="0"/>
                        <a:t>✔</a:t>
                      </a:r>
                    </a:p>
                  </a:txBody>
                  <a:tcPr marL="0" marR="0" marT="0" marB="0" anchor="ctr" anchorCtr="1">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dirty="0"/>
                        <a:t>✔</a:t>
                      </a:r>
                    </a:p>
                  </a:txBody>
                  <a:tcPr marL="0" marR="0" marT="0" marB="0" anchor="ctr" anchorCtr="1">
                    <a:lnL w="9525" cap="flat" cmpd="sng" algn="ctr">
                      <a:solidFill>
                        <a:schemeClr val="bg1"/>
                      </a:solidFill>
                      <a:prstDash val="solid"/>
                      <a:round/>
                      <a:headEnd type="none" w="med" len="med"/>
                      <a:tailEnd type="none" w="med" len="med"/>
                    </a:lnL>
                    <a:lnT w="9525" cap="flat" cmpd="sng" algn="ctr">
                      <a:solidFill>
                        <a:schemeClr val="bg1">
                          <a:lumMod val="85000"/>
                        </a:schemeClr>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822328875"/>
                  </a:ext>
                </a:extLst>
              </a:tr>
              <a:tr h="229577">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100" b="0" kern="1200" dirty="0">
                          <a:solidFill>
                            <a:schemeClr val="tx1"/>
                          </a:solidFill>
                          <a:latin typeface="+mn-lt"/>
                          <a:ea typeface="+mn-ea"/>
                          <a:cs typeface="+mn-cs"/>
                        </a:rPr>
                        <a:t>Modal</a:t>
                      </a:r>
                    </a:p>
                  </a:txBody>
                  <a:tcPr marR="0" marT="0" marB="0" anchor="ctr">
                    <a:lnR w="9525"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9EAEA"/>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fr-FR" sz="1100" kern="1200" dirty="0" err="1"/>
                        <a:t>Constraints</a:t>
                      </a:r>
                      <a:r>
                        <a:rPr lang="fr-FR" sz="1100" kern="1200" dirty="0"/>
                        <a:t>: </a:t>
                      </a:r>
                      <a:r>
                        <a:rPr lang="fr-FR" sz="1100" kern="1200" dirty="0" err="1"/>
                        <a:t>Fixed</a:t>
                      </a:r>
                      <a:r>
                        <a:rPr lang="fr-FR" sz="1100" kern="1200" dirty="0"/>
                        <a:t>, </a:t>
                      </a:r>
                      <a:r>
                        <a:rPr lang="fr-FR" sz="1100" kern="1200" dirty="0" err="1"/>
                        <a:t>Displacement</a:t>
                      </a:r>
                      <a:endParaRPr lang="en-US" sz="1100" kern="1200" dirty="0">
                        <a:solidFill>
                          <a:schemeClr val="tx1"/>
                        </a:solidFill>
                        <a:latin typeface="+mn-lt"/>
                        <a:ea typeface="+mn-ea"/>
                        <a:cs typeface="+mn-cs"/>
                      </a:endParaRPr>
                    </a:p>
                  </a:txBody>
                  <a:tcPr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dirty="0"/>
                        <a:t>✔</a:t>
                      </a:r>
                    </a:p>
                  </a:txBody>
                  <a:tcPr marL="0" marR="0" marT="0" marB="0" anchor="ctr" anchorCtr="1">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lvl="0" indent="0" algn="ctr" defTabSz="1086775" rtl="0" eaLnBrk="1" fontAlgn="auto" latinLnBrk="0" hangingPunct="1">
                        <a:lnSpc>
                          <a:spcPct val="100000"/>
                        </a:lnSpc>
                        <a:spcBef>
                          <a:spcPts val="0"/>
                        </a:spcBef>
                        <a:spcAft>
                          <a:spcPts val="0"/>
                        </a:spcAft>
                        <a:buClrTx/>
                        <a:buSzTx/>
                        <a:buFontTx/>
                        <a:buNone/>
                        <a:tabLst/>
                        <a:defRPr/>
                      </a:pPr>
                      <a:r>
                        <a:rPr lang="en-US" sz="1100" dirty="0"/>
                        <a:t>✔</a:t>
                      </a:r>
                    </a:p>
                  </a:txBody>
                  <a:tcPr marL="0" marR="0" marT="0" marB="0" anchor="ctr" anchorCtr="1">
                    <a:lnL w="9525" cap="flat" cmpd="sng" algn="ctr">
                      <a:solidFill>
                        <a:schemeClr val="bg1"/>
                      </a:solidFill>
                      <a:prstDash val="solid"/>
                      <a:round/>
                      <a:headEnd type="none" w="med" len="med"/>
                      <a:tailEnd type="none" w="med" len="med"/>
                    </a:lnL>
                    <a:lnT w="6350" cap="flat" cmpd="sng" algn="ctr">
                      <a:solidFill>
                        <a:schemeClr val="tx1"/>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643441882"/>
                  </a:ext>
                </a:extLst>
              </a:tr>
              <a:tr h="229577">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1100" b="0" kern="1200" dirty="0">
                        <a:solidFill>
                          <a:schemeClr val="tx1"/>
                        </a:solidFill>
                        <a:latin typeface="+mn-lt"/>
                        <a:ea typeface="+mn-ea"/>
                        <a:cs typeface="+mn-cs"/>
                      </a:endParaRPr>
                    </a:p>
                  </a:txBody>
                  <a:tcPr marR="0" marT="0" marB="0" anchor="ctr">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E9EAEA"/>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fr-FR" sz="1100" kern="1200" dirty="0">
                          <a:solidFill>
                            <a:schemeClr val="tx1"/>
                          </a:solidFill>
                          <a:latin typeface="+mn-lt"/>
                          <a:ea typeface="+mn-ea"/>
                          <a:cs typeface="+mn-cs"/>
                        </a:rPr>
                        <a:t>Run on </a:t>
                      </a:r>
                      <a:r>
                        <a:rPr lang="fr-FR" sz="1100" kern="1200" dirty="0" err="1">
                          <a:solidFill>
                            <a:schemeClr val="tx1"/>
                          </a:solidFill>
                          <a:latin typeface="+mn-lt"/>
                          <a:ea typeface="+mn-ea"/>
                          <a:cs typeface="+mn-cs"/>
                        </a:rPr>
                        <a:t>constrained</a:t>
                      </a:r>
                      <a:r>
                        <a:rPr lang="fr-FR" sz="1100" kern="1200" dirty="0">
                          <a:solidFill>
                            <a:schemeClr val="tx1"/>
                          </a:solidFill>
                          <a:latin typeface="+mn-lt"/>
                          <a:ea typeface="+mn-ea"/>
                          <a:cs typeface="+mn-cs"/>
                        </a:rPr>
                        <a:t> or </a:t>
                      </a:r>
                      <a:r>
                        <a:rPr lang="fr-FR" sz="1100" kern="1200" dirty="0" err="1">
                          <a:solidFill>
                            <a:schemeClr val="tx1"/>
                          </a:solidFill>
                          <a:latin typeface="+mn-lt"/>
                          <a:ea typeface="+mn-ea"/>
                          <a:cs typeface="+mn-cs"/>
                        </a:rPr>
                        <a:t>unconstrained</a:t>
                      </a:r>
                      <a:endParaRPr lang="en-US" sz="1100" kern="1200" dirty="0">
                        <a:solidFill>
                          <a:schemeClr val="tx1"/>
                        </a:solidFill>
                        <a:latin typeface="+mn-lt"/>
                        <a:ea typeface="+mn-ea"/>
                        <a:cs typeface="+mn-cs"/>
                      </a:endParaRPr>
                    </a:p>
                  </a:txBody>
                  <a:tcPr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dirty="0"/>
                        <a:t>✔</a:t>
                      </a:r>
                    </a:p>
                  </a:txBody>
                  <a:tcPr marL="0" marR="0" marT="0" marB="0" anchor="ctr" anchorCtr="1">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1086775" rtl="0" eaLnBrk="1" fontAlgn="auto" latinLnBrk="0" hangingPunct="1">
                        <a:lnSpc>
                          <a:spcPct val="100000"/>
                        </a:lnSpc>
                        <a:spcBef>
                          <a:spcPts val="0"/>
                        </a:spcBef>
                        <a:spcAft>
                          <a:spcPts val="0"/>
                        </a:spcAft>
                        <a:buClrTx/>
                        <a:buSzTx/>
                        <a:buFontTx/>
                        <a:buNone/>
                        <a:tabLst/>
                        <a:defRPr/>
                      </a:pPr>
                      <a:r>
                        <a:rPr lang="en-US" sz="1100" dirty="0"/>
                        <a:t>✔</a:t>
                      </a:r>
                    </a:p>
                  </a:txBody>
                  <a:tcPr marL="0" marR="0" marT="0" marB="0" anchor="ctr" anchorCtr="1">
                    <a:lnL w="9525" cap="flat" cmpd="sng" algn="ctr">
                      <a:solidFill>
                        <a:schemeClr val="bg1"/>
                      </a:solidFill>
                      <a:prstDash val="solid"/>
                      <a:round/>
                      <a:headEnd type="none" w="med" len="med"/>
                      <a:tailEnd type="none" w="med" len="med"/>
                    </a:lnL>
                    <a:lnT w="9525" cap="flat" cmpd="sng" algn="ctr">
                      <a:solidFill>
                        <a:schemeClr val="bg1">
                          <a:lumMod val="85000"/>
                        </a:schemeClr>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4136609438"/>
                  </a:ext>
                </a:extLst>
              </a:tr>
              <a:tr h="229577">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100" b="0" kern="1200" dirty="0">
                          <a:solidFill>
                            <a:schemeClr val="tx1"/>
                          </a:solidFill>
                          <a:latin typeface="+mn-lt"/>
                          <a:ea typeface="+mn-ea"/>
                          <a:cs typeface="+mn-cs"/>
                        </a:rPr>
                        <a:t>Fluids</a:t>
                      </a:r>
                    </a:p>
                  </a:txBody>
                  <a:tcPr marR="0" marT="0" marB="0" anchor="ctr">
                    <a:lnR w="9525"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9EAEA"/>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fr-FR" sz="1100" kern="1200" dirty="0"/>
                        <a:t>Fluid domain creation</a:t>
                      </a:r>
                      <a:endParaRPr lang="en-US" sz="1100" kern="1200" dirty="0">
                        <a:solidFill>
                          <a:schemeClr val="tx1"/>
                        </a:solidFill>
                        <a:latin typeface="+mn-lt"/>
                        <a:ea typeface="+mn-ea"/>
                        <a:cs typeface="+mn-cs"/>
                      </a:endParaRPr>
                    </a:p>
                  </a:txBody>
                  <a:tcPr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100" dirty="0"/>
                    </a:p>
                  </a:txBody>
                  <a:tcPr marL="0" marR="0" marT="0" marB="0" anchor="ctr" anchorCtr="1">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lvl="0" indent="0" algn="ctr" defTabSz="1086775" rtl="0" eaLnBrk="1" fontAlgn="auto" latinLnBrk="0" hangingPunct="1">
                        <a:lnSpc>
                          <a:spcPct val="100000"/>
                        </a:lnSpc>
                        <a:spcBef>
                          <a:spcPts val="0"/>
                        </a:spcBef>
                        <a:spcAft>
                          <a:spcPts val="0"/>
                        </a:spcAft>
                        <a:buClrTx/>
                        <a:buSzTx/>
                        <a:buFontTx/>
                        <a:buNone/>
                        <a:tabLst/>
                        <a:defRPr/>
                      </a:pPr>
                      <a:r>
                        <a:rPr lang="en-US" sz="1100" dirty="0"/>
                        <a:t>✔</a:t>
                      </a:r>
                    </a:p>
                  </a:txBody>
                  <a:tcPr marL="0" marR="0" marT="0" marB="0" anchor="ctr" anchorCtr="1">
                    <a:lnL w="9525" cap="flat" cmpd="sng" algn="ctr">
                      <a:solidFill>
                        <a:schemeClr val="bg1"/>
                      </a:solidFill>
                      <a:prstDash val="solid"/>
                      <a:round/>
                      <a:headEnd type="none" w="med" len="med"/>
                      <a:tailEnd type="none" w="med" len="med"/>
                    </a:lnL>
                    <a:lnT w="6350" cap="flat" cmpd="sng" algn="ctr">
                      <a:solidFill>
                        <a:schemeClr val="tx1"/>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258344461"/>
                  </a:ext>
                </a:extLst>
              </a:tr>
              <a:tr h="229577">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1100" b="0" kern="1200" dirty="0">
                        <a:solidFill>
                          <a:schemeClr val="tx1"/>
                        </a:solidFill>
                        <a:latin typeface="+mn-lt"/>
                        <a:ea typeface="+mn-ea"/>
                        <a:cs typeface="+mn-cs"/>
                      </a:endParaRPr>
                    </a:p>
                  </a:txBody>
                  <a:tcPr marR="0" marT="0" marB="0" anchor="ctr">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9EAEA"/>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100" kern="1200" dirty="0">
                          <a:solidFill>
                            <a:schemeClr val="tx1"/>
                          </a:solidFill>
                          <a:latin typeface="+mn-lt"/>
                          <a:ea typeface="+mn-ea"/>
                          <a:cs typeface="+mn-cs"/>
                        </a:rPr>
                        <a:t>External Flow: Transient simulation (with or without time limit)</a:t>
                      </a:r>
                    </a:p>
                  </a:txBody>
                  <a:tcPr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100" dirty="0"/>
                    </a:p>
                  </a:txBody>
                  <a:tcPr marL="0" marR="0" marT="0" marB="0" anchor="ctr" anchorCtr="1">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lvl="0" indent="0" algn="ctr" defTabSz="1086775" rtl="0" eaLnBrk="1" fontAlgn="auto" latinLnBrk="0" hangingPunct="1">
                        <a:lnSpc>
                          <a:spcPct val="100000"/>
                        </a:lnSpc>
                        <a:spcBef>
                          <a:spcPts val="0"/>
                        </a:spcBef>
                        <a:spcAft>
                          <a:spcPts val="0"/>
                        </a:spcAft>
                        <a:buClrTx/>
                        <a:buSzTx/>
                        <a:buFontTx/>
                        <a:buNone/>
                        <a:tabLst/>
                        <a:defRPr/>
                      </a:pPr>
                      <a:r>
                        <a:rPr lang="en-US" sz="1100" dirty="0"/>
                        <a:t>✔</a:t>
                      </a:r>
                    </a:p>
                  </a:txBody>
                  <a:tcPr marL="0" marR="0" marT="0" marB="0" anchor="ctr" anchorCtr="1">
                    <a:lnL w="9525" cap="flat" cmpd="sng" algn="ctr">
                      <a:solidFill>
                        <a:schemeClr val="bg1"/>
                      </a:solidFill>
                      <a:prstDash val="solid"/>
                      <a:round/>
                      <a:headEnd type="none" w="med" len="med"/>
                      <a:tailEnd type="none" w="med" len="med"/>
                    </a:lnL>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88815505"/>
                  </a:ext>
                </a:extLst>
              </a:tr>
              <a:tr h="229577">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1100" b="0" kern="1200" dirty="0">
                        <a:solidFill>
                          <a:schemeClr val="tx1"/>
                        </a:solidFill>
                        <a:latin typeface="+mn-lt"/>
                        <a:ea typeface="+mn-ea"/>
                        <a:cs typeface="+mn-cs"/>
                      </a:endParaRPr>
                    </a:p>
                  </a:txBody>
                  <a:tcPr marR="0" marT="0" marB="0" anchor="ctr">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9EAEA"/>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fr-FR" sz="1100" kern="1200" dirty="0">
                          <a:solidFill>
                            <a:schemeClr val="tx1"/>
                          </a:solidFill>
                          <a:latin typeface="+mn-lt"/>
                          <a:ea typeface="+mn-ea"/>
                          <a:cs typeface="+mn-cs"/>
                        </a:rPr>
                        <a:t>Thermal conditions</a:t>
                      </a:r>
                      <a:endParaRPr lang="en-US" sz="1100" kern="1200" dirty="0">
                        <a:solidFill>
                          <a:schemeClr val="tx1"/>
                        </a:solidFill>
                        <a:latin typeface="+mn-lt"/>
                        <a:ea typeface="+mn-ea"/>
                        <a:cs typeface="+mn-cs"/>
                      </a:endParaRPr>
                    </a:p>
                  </a:txBody>
                  <a:tcPr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100" dirty="0"/>
                    </a:p>
                  </a:txBody>
                  <a:tcPr marL="0" marR="0" marT="0" marB="0" anchor="ctr" anchorCtr="1">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lvl="0" indent="0" algn="ctr" defTabSz="1086775" rtl="0" eaLnBrk="1" fontAlgn="auto" latinLnBrk="0" hangingPunct="1">
                        <a:lnSpc>
                          <a:spcPct val="100000"/>
                        </a:lnSpc>
                        <a:spcBef>
                          <a:spcPts val="0"/>
                        </a:spcBef>
                        <a:spcAft>
                          <a:spcPts val="0"/>
                        </a:spcAft>
                        <a:buClrTx/>
                        <a:buSzTx/>
                        <a:buFontTx/>
                        <a:buNone/>
                        <a:tabLst/>
                        <a:defRPr/>
                      </a:pPr>
                      <a:r>
                        <a:rPr lang="en-US" sz="1100" dirty="0"/>
                        <a:t>✔</a:t>
                      </a:r>
                    </a:p>
                  </a:txBody>
                  <a:tcPr marL="0" marR="0" marT="0" marB="0" anchor="ctr" anchorCtr="1">
                    <a:lnL w="9525" cap="flat" cmpd="sng" algn="ctr">
                      <a:solidFill>
                        <a:schemeClr val="bg1"/>
                      </a:solidFill>
                      <a:prstDash val="solid"/>
                      <a:round/>
                      <a:headEnd type="none" w="med" len="med"/>
                      <a:tailEnd type="none" w="med" len="med"/>
                    </a:lnL>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620350236"/>
                  </a:ext>
                </a:extLst>
              </a:tr>
              <a:tr h="229577">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1100" b="0" kern="1200" dirty="0">
                        <a:solidFill>
                          <a:schemeClr val="tx1"/>
                        </a:solidFill>
                        <a:latin typeface="+mn-lt"/>
                        <a:ea typeface="+mn-ea"/>
                        <a:cs typeface="+mn-cs"/>
                      </a:endParaRPr>
                    </a:p>
                  </a:txBody>
                  <a:tcPr marR="0" marT="0" marB="0" anchor="ctr">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E9EAEA"/>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fr-FR" sz="1100" kern="1200" dirty="0" err="1">
                          <a:solidFill>
                            <a:schemeClr val="tx1"/>
                          </a:solidFill>
                          <a:latin typeface="+mn-lt"/>
                          <a:ea typeface="+mn-ea"/>
                          <a:cs typeface="+mn-cs"/>
                        </a:rPr>
                        <a:t>Internal</a:t>
                      </a:r>
                      <a:r>
                        <a:rPr lang="fr-FR" sz="1100" kern="1200" dirty="0">
                          <a:solidFill>
                            <a:schemeClr val="tx1"/>
                          </a:solidFill>
                          <a:latin typeface="+mn-lt"/>
                          <a:ea typeface="+mn-ea"/>
                          <a:cs typeface="+mn-cs"/>
                        </a:rPr>
                        <a:t> Flow: Flow </a:t>
                      </a:r>
                      <a:r>
                        <a:rPr lang="fr-FR" sz="1100" kern="1200" dirty="0" err="1">
                          <a:solidFill>
                            <a:schemeClr val="tx1"/>
                          </a:solidFill>
                          <a:latin typeface="+mn-lt"/>
                          <a:ea typeface="+mn-ea"/>
                          <a:cs typeface="+mn-cs"/>
                        </a:rPr>
                        <a:t>velocities</a:t>
                      </a:r>
                      <a:r>
                        <a:rPr lang="fr-FR" sz="1100" kern="1200" dirty="0">
                          <a:solidFill>
                            <a:schemeClr val="tx1"/>
                          </a:solidFill>
                          <a:latin typeface="+mn-lt"/>
                          <a:ea typeface="+mn-ea"/>
                          <a:cs typeface="+mn-cs"/>
                        </a:rPr>
                        <a:t>, </a:t>
                      </a:r>
                      <a:r>
                        <a:rPr lang="fr-FR" sz="1100" kern="1200" dirty="0" err="1">
                          <a:solidFill>
                            <a:schemeClr val="tx1"/>
                          </a:solidFill>
                          <a:latin typeface="+mn-lt"/>
                          <a:ea typeface="+mn-ea"/>
                          <a:cs typeface="+mn-cs"/>
                        </a:rPr>
                        <a:t>inlet</a:t>
                      </a:r>
                      <a:r>
                        <a:rPr lang="fr-FR" sz="1100" kern="1200" dirty="0">
                          <a:solidFill>
                            <a:schemeClr val="tx1"/>
                          </a:solidFill>
                          <a:latin typeface="+mn-lt"/>
                          <a:ea typeface="+mn-ea"/>
                          <a:cs typeface="+mn-cs"/>
                        </a:rPr>
                        <a:t> pressures, mass flow inputs</a:t>
                      </a:r>
                      <a:endParaRPr lang="en-US" sz="1100" kern="1200" dirty="0">
                        <a:solidFill>
                          <a:schemeClr val="tx1"/>
                        </a:solidFill>
                        <a:latin typeface="+mn-lt"/>
                        <a:ea typeface="+mn-ea"/>
                        <a:cs typeface="+mn-cs"/>
                      </a:endParaRPr>
                    </a:p>
                  </a:txBody>
                  <a:tcPr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100" dirty="0"/>
                    </a:p>
                  </a:txBody>
                  <a:tcPr marL="0" marR="0" marT="0" marB="0" anchor="ctr" anchorCtr="1">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1086775" rtl="0" eaLnBrk="1" fontAlgn="auto" latinLnBrk="0" hangingPunct="1">
                        <a:lnSpc>
                          <a:spcPct val="100000"/>
                        </a:lnSpc>
                        <a:spcBef>
                          <a:spcPts val="0"/>
                        </a:spcBef>
                        <a:spcAft>
                          <a:spcPts val="0"/>
                        </a:spcAft>
                        <a:buClrTx/>
                        <a:buSzTx/>
                        <a:buFontTx/>
                        <a:buNone/>
                        <a:tabLst/>
                        <a:defRPr/>
                      </a:pPr>
                      <a:r>
                        <a:rPr lang="en-US" sz="1100" dirty="0"/>
                        <a:t>✔</a:t>
                      </a:r>
                    </a:p>
                  </a:txBody>
                  <a:tcPr marL="0" marR="0" marT="0" marB="0" anchor="ctr" anchorCtr="1">
                    <a:lnL w="9525" cap="flat" cmpd="sng" algn="ctr">
                      <a:solidFill>
                        <a:schemeClr val="bg1"/>
                      </a:solidFill>
                      <a:prstDash val="solid"/>
                      <a:round/>
                      <a:headEnd type="none" w="med" len="med"/>
                      <a:tailEnd type="none" w="med" len="med"/>
                    </a:lnL>
                    <a:lnT w="9525" cap="flat" cmpd="sng" algn="ctr">
                      <a:solidFill>
                        <a:schemeClr val="bg1">
                          <a:lumMod val="85000"/>
                        </a:schemeClr>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9541820"/>
                  </a:ext>
                </a:extLst>
              </a:tr>
              <a:tr h="229577">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100" b="0" kern="1200" dirty="0">
                          <a:solidFill>
                            <a:schemeClr val="tx1"/>
                          </a:solidFill>
                          <a:latin typeface="+mn-lt"/>
                          <a:ea typeface="+mn-ea"/>
                          <a:cs typeface="+mn-cs"/>
                        </a:rPr>
                        <a:t>All Modes</a:t>
                      </a:r>
                    </a:p>
                  </a:txBody>
                  <a:tcPr marR="0" marT="0" marB="0" anchor="ctr">
                    <a:lnR w="9525"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E9EAEA"/>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fr-FR" sz="1100" kern="1200" dirty="0"/>
                        <a:t>Multi-body parts</a:t>
                      </a:r>
                      <a:endParaRPr lang="en-US" sz="1100" kern="1200" dirty="0">
                        <a:solidFill>
                          <a:schemeClr val="tx1"/>
                        </a:solidFill>
                        <a:latin typeface="+mn-lt"/>
                        <a:ea typeface="+mn-ea"/>
                        <a:cs typeface="+mn-cs"/>
                      </a:endParaRPr>
                    </a:p>
                  </a:txBody>
                  <a:tcPr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dirty="0"/>
                        <a:t>✔</a:t>
                      </a:r>
                    </a:p>
                  </a:txBody>
                  <a:tcPr marL="0" marR="0" marT="0" marB="0" anchor="ctr" anchorCtr="1">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1086775" rtl="0" eaLnBrk="1" fontAlgn="auto" latinLnBrk="0" hangingPunct="1">
                        <a:lnSpc>
                          <a:spcPct val="100000"/>
                        </a:lnSpc>
                        <a:spcBef>
                          <a:spcPts val="0"/>
                        </a:spcBef>
                        <a:spcAft>
                          <a:spcPts val="0"/>
                        </a:spcAft>
                        <a:buClrTx/>
                        <a:buSzTx/>
                        <a:buFontTx/>
                        <a:buNone/>
                        <a:tabLst/>
                        <a:defRPr/>
                      </a:pPr>
                      <a:r>
                        <a:rPr lang="en-US" sz="1100" dirty="0"/>
                        <a:t>✔</a:t>
                      </a:r>
                    </a:p>
                  </a:txBody>
                  <a:tcPr marL="0" marR="0" marT="0" marB="0" anchor="ctr" anchorCtr="1">
                    <a:lnL w="9525" cap="flat" cmpd="sng" algn="ctr">
                      <a:solidFill>
                        <a:schemeClr val="bg1"/>
                      </a:solidFill>
                      <a:prstDash val="solid"/>
                      <a:round/>
                      <a:headEnd type="none" w="med" len="med"/>
                      <a:tailEnd type="none" w="med" len="med"/>
                    </a:lnL>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687542520"/>
                  </a:ext>
                </a:extLst>
              </a:tr>
              <a:tr h="378128">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100" b="0" kern="1200" dirty="0">
                          <a:solidFill>
                            <a:schemeClr val="tx1"/>
                          </a:solidFill>
                          <a:latin typeface="+mn-lt"/>
                          <a:ea typeface="+mn-ea"/>
                          <a:cs typeface="+mn-cs"/>
                        </a:rPr>
                        <a:t>Results Display</a:t>
                      </a:r>
                    </a:p>
                  </a:txBody>
                  <a:tcPr marR="0" marT="0" marB="0" anchor="ctr">
                    <a:lnR w="9525"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9EAEA"/>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fr-FR" sz="1100" kern="1200" dirty="0"/>
                        <a:t>Structure Results: Von Mises Stress, Deformation, Directional Normal and Shear Stress, Principal Stress, Reaction Forces</a:t>
                      </a:r>
                      <a:endParaRPr lang="en-US" sz="1100" kern="1200" dirty="0">
                        <a:solidFill>
                          <a:schemeClr val="tx1"/>
                        </a:solidFill>
                        <a:latin typeface="+mn-lt"/>
                        <a:ea typeface="+mn-ea"/>
                        <a:cs typeface="+mn-cs"/>
                      </a:endParaRPr>
                    </a:p>
                  </a:txBody>
                  <a:tcPr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dirty="0"/>
                        <a:t>✔</a:t>
                      </a:r>
                    </a:p>
                  </a:txBody>
                  <a:tcPr marL="0" marR="0" marT="0" marB="0" anchor="ctr" anchorCtr="1">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chemeClr val="tx1"/>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lvl="0" indent="0" algn="ctr" defTabSz="1086775" rtl="0" eaLnBrk="1" fontAlgn="auto" latinLnBrk="0" hangingPunct="1">
                        <a:lnSpc>
                          <a:spcPct val="100000"/>
                        </a:lnSpc>
                        <a:spcBef>
                          <a:spcPts val="0"/>
                        </a:spcBef>
                        <a:spcAft>
                          <a:spcPts val="0"/>
                        </a:spcAft>
                        <a:buClrTx/>
                        <a:buSzTx/>
                        <a:buFontTx/>
                        <a:buNone/>
                        <a:tabLst/>
                        <a:defRPr/>
                      </a:pPr>
                      <a:r>
                        <a:rPr lang="en-US" sz="1100" dirty="0"/>
                        <a:t>✔</a:t>
                      </a:r>
                    </a:p>
                  </a:txBody>
                  <a:tcPr marL="0" marR="0" marT="0" marB="0" anchor="ctr" anchorCtr="1">
                    <a:lnL w="9525" cap="flat" cmpd="sng" algn="ctr">
                      <a:solidFill>
                        <a:schemeClr val="bg1"/>
                      </a:solidFill>
                      <a:prstDash val="solid"/>
                      <a:round/>
                      <a:headEnd type="none" w="med" len="med"/>
                      <a:tailEnd type="none" w="med" len="med"/>
                    </a:lnL>
                    <a:lnT w="6350" cap="flat" cmpd="sng" algn="ctr">
                      <a:solidFill>
                        <a:schemeClr val="tx1"/>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792584999"/>
                  </a:ext>
                </a:extLst>
              </a:tr>
              <a:tr h="229577">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1100" b="0" kern="1200" dirty="0">
                        <a:solidFill>
                          <a:schemeClr val="tx1"/>
                        </a:solidFill>
                        <a:latin typeface="+mn-lt"/>
                        <a:ea typeface="+mn-ea"/>
                        <a:cs typeface="+mn-cs"/>
                      </a:endParaRPr>
                    </a:p>
                  </a:txBody>
                  <a:tcPr marR="0" marT="0" marB="0" anchor="ctr">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9EAEA"/>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100" kern="1200" dirty="0">
                          <a:solidFill>
                            <a:schemeClr val="tx1"/>
                          </a:solidFill>
                          <a:latin typeface="+mn-lt"/>
                          <a:ea typeface="+mn-ea"/>
                          <a:cs typeface="+mn-cs"/>
                        </a:rPr>
                        <a:t>Animation, Units Selection, Simulation Probe</a:t>
                      </a:r>
                    </a:p>
                  </a:txBody>
                  <a:tcPr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dirty="0"/>
                        <a:t>✔</a:t>
                      </a:r>
                    </a:p>
                  </a:txBody>
                  <a:tcPr marL="0" marR="0" marT="0" marB="0" anchor="ctr" anchorCtr="1">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lvl="0" indent="0" algn="ctr" defTabSz="1086775" rtl="0" eaLnBrk="1" fontAlgn="auto" latinLnBrk="0" hangingPunct="1">
                        <a:lnSpc>
                          <a:spcPct val="100000"/>
                        </a:lnSpc>
                        <a:spcBef>
                          <a:spcPts val="0"/>
                        </a:spcBef>
                        <a:spcAft>
                          <a:spcPts val="0"/>
                        </a:spcAft>
                        <a:buClrTx/>
                        <a:buSzTx/>
                        <a:buFontTx/>
                        <a:buNone/>
                        <a:tabLst/>
                        <a:defRPr/>
                      </a:pPr>
                      <a:r>
                        <a:rPr lang="en-US" sz="1100" dirty="0"/>
                        <a:t>✔</a:t>
                      </a:r>
                    </a:p>
                  </a:txBody>
                  <a:tcPr marL="0" marR="0" marT="0" marB="0" anchor="ctr" anchorCtr="1">
                    <a:lnL w="9525" cap="flat" cmpd="sng" algn="ctr">
                      <a:solidFill>
                        <a:schemeClr val="bg1"/>
                      </a:solidFill>
                      <a:prstDash val="solid"/>
                      <a:round/>
                      <a:headEnd type="none" w="med" len="med"/>
                      <a:tailEnd type="none" w="med" len="med"/>
                    </a:lnL>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424757087"/>
                  </a:ext>
                </a:extLst>
              </a:tr>
              <a:tr h="229577">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1100" kern="1200" dirty="0">
                        <a:solidFill>
                          <a:schemeClr val="tx1"/>
                        </a:solidFill>
                        <a:latin typeface="+mn-lt"/>
                        <a:ea typeface="+mn-ea"/>
                        <a:cs typeface="+mn-cs"/>
                      </a:endParaRPr>
                    </a:p>
                  </a:txBody>
                  <a:tcPr marR="0" marT="0" marB="0" anchor="ctr">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9EAEA"/>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100" kern="1200" dirty="0">
                          <a:solidFill>
                            <a:schemeClr val="tx1"/>
                          </a:solidFill>
                          <a:latin typeface="+mn-lt"/>
                          <a:ea typeface="+mn-ea"/>
                          <a:cs typeface="+mn-cs"/>
                        </a:rPr>
                        <a:t>Mode shape selection (i.e., 1,2,…)</a:t>
                      </a:r>
                    </a:p>
                  </a:txBody>
                  <a:tcPr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dirty="0"/>
                        <a:t>✔</a:t>
                      </a:r>
                    </a:p>
                  </a:txBody>
                  <a:tcPr marL="0" marR="0" marT="0" marB="0" anchor="ctr" anchorCtr="1">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lvl="0" indent="0" algn="ctr" defTabSz="1086775" rtl="0" eaLnBrk="1" fontAlgn="auto" latinLnBrk="0" hangingPunct="1">
                        <a:lnSpc>
                          <a:spcPct val="100000"/>
                        </a:lnSpc>
                        <a:spcBef>
                          <a:spcPts val="0"/>
                        </a:spcBef>
                        <a:spcAft>
                          <a:spcPts val="0"/>
                        </a:spcAft>
                        <a:buClrTx/>
                        <a:buSzTx/>
                        <a:buFontTx/>
                        <a:buNone/>
                        <a:tabLst/>
                        <a:defRPr/>
                      </a:pPr>
                      <a:r>
                        <a:rPr lang="en-US" sz="1100" dirty="0"/>
                        <a:t>✔</a:t>
                      </a:r>
                    </a:p>
                  </a:txBody>
                  <a:tcPr marL="0" marR="0" marT="0" marB="0" anchor="ctr" anchorCtr="1">
                    <a:lnL w="9525" cap="flat" cmpd="sng" algn="ctr">
                      <a:solidFill>
                        <a:schemeClr val="bg1"/>
                      </a:solidFill>
                      <a:prstDash val="solid"/>
                      <a:round/>
                      <a:headEnd type="none" w="med" len="med"/>
                      <a:tailEnd type="none" w="med" len="med"/>
                    </a:lnL>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20186592"/>
                  </a:ext>
                </a:extLst>
              </a:tr>
              <a:tr h="229577">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1100" kern="1200" dirty="0">
                        <a:solidFill>
                          <a:schemeClr val="tx1"/>
                        </a:solidFill>
                        <a:latin typeface="+mn-lt"/>
                        <a:ea typeface="+mn-ea"/>
                        <a:cs typeface="+mn-cs"/>
                      </a:endParaRPr>
                    </a:p>
                  </a:txBody>
                  <a:tcPr marR="0" marT="0" marB="0" anchor="ctr">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9EAEA"/>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100" kern="1200" dirty="0">
                          <a:solidFill>
                            <a:schemeClr val="tx1"/>
                          </a:solidFill>
                          <a:latin typeface="+mn-lt"/>
                          <a:ea typeface="+mn-ea"/>
                          <a:cs typeface="+mn-cs"/>
                        </a:rPr>
                        <a:t>Thermal Results: Temperature, Heat Flux and Transient Temperature graph</a:t>
                      </a:r>
                    </a:p>
                  </a:txBody>
                  <a:tcPr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dirty="0"/>
                        <a:t>✔</a:t>
                      </a:r>
                    </a:p>
                  </a:txBody>
                  <a:tcPr marL="0" marR="0" marT="0" marB="0" anchor="ctr" anchorCtr="1">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lvl="0" indent="0" algn="ctr" defTabSz="1086775" rtl="0" eaLnBrk="1" fontAlgn="auto" latinLnBrk="0" hangingPunct="1">
                        <a:lnSpc>
                          <a:spcPct val="100000"/>
                        </a:lnSpc>
                        <a:spcBef>
                          <a:spcPts val="0"/>
                        </a:spcBef>
                        <a:spcAft>
                          <a:spcPts val="0"/>
                        </a:spcAft>
                        <a:buClrTx/>
                        <a:buSzTx/>
                        <a:buFontTx/>
                        <a:buNone/>
                        <a:tabLst/>
                        <a:defRPr/>
                      </a:pPr>
                      <a:r>
                        <a:rPr lang="en-US" sz="1100" dirty="0"/>
                        <a:t>✔</a:t>
                      </a:r>
                    </a:p>
                  </a:txBody>
                  <a:tcPr marL="0" marR="0" marT="0" marB="0" anchor="ctr" anchorCtr="1">
                    <a:lnL w="9525" cap="flat" cmpd="sng" algn="ctr">
                      <a:solidFill>
                        <a:schemeClr val="bg1"/>
                      </a:solidFill>
                      <a:prstDash val="solid"/>
                      <a:round/>
                      <a:headEnd type="none" w="med" len="med"/>
                      <a:tailEnd type="none" w="med" len="med"/>
                    </a:lnL>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48716102"/>
                  </a:ext>
                </a:extLst>
              </a:tr>
              <a:tr h="229577">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1100" kern="1200" dirty="0">
                        <a:solidFill>
                          <a:schemeClr val="tx1"/>
                        </a:solidFill>
                        <a:latin typeface="+mn-lt"/>
                        <a:ea typeface="+mn-ea"/>
                        <a:cs typeface="+mn-cs"/>
                      </a:endParaRPr>
                    </a:p>
                  </a:txBody>
                  <a:tcPr marR="0" marT="0" marB="0" anchor="ctr">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9EAEA"/>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100" kern="1200" dirty="0">
                          <a:solidFill>
                            <a:schemeClr val="tx1"/>
                          </a:solidFill>
                          <a:latin typeface="+mn-lt"/>
                          <a:ea typeface="+mn-ea"/>
                          <a:cs typeface="+mn-cs"/>
                        </a:rPr>
                        <a:t>Render Methods: Surface, Composite, Inverse Surface, Iso-Surface, Max/Min Value</a:t>
                      </a:r>
                    </a:p>
                  </a:txBody>
                  <a:tcPr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dirty="0"/>
                        <a:t>✔</a:t>
                      </a:r>
                    </a:p>
                  </a:txBody>
                  <a:tcPr marL="0" marR="0" marT="0" marB="0" anchor="ctr" anchorCtr="1">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lvl="0" indent="0" algn="ctr" defTabSz="1086775" rtl="0" eaLnBrk="1" fontAlgn="auto" latinLnBrk="0" hangingPunct="1">
                        <a:lnSpc>
                          <a:spcPct val="100000"/>
                        </a:lnSpc>
                        <a:spcBef>
                          <a:spcPts val="0"/>
                        </a:spcBef>
                        <a:spcAft>
                          <a:spcPts val="0"/>
                        </a:spcAft>
                        <a:buClrTx/>
                        <a:buSzTx/>
                        <a:buFontTx/>
                        <a:buNone/>
                        <a:tabLst/>
                        <a:defRPr/>
                      </a:pPr>
                      <a:r>
                        <a:rPr lang="en-US" sz="1100" dirty="0"/>
                        <a:t>✔</a:t>
                      </a:r>
                    </a:p>
                  </a:txBody>
                  <a:tcPr marL="0" marR="0" marT="0" marB="0" anchor="ctr" anchorCtr="1">
                    <a:lnL w="9525" cap="flat" cmpd="sng" algn="ctr">
                      <a:solidFill>
                        <a:schemeClr val="bg1"/>
                      </a:solidFill>
                      <a:prstDash val="solid"/>
                      <a:round/>
                      <a:headEnd type="none" w="med" len="med"/>
                      <a:tailEnd type="none" w="med" len="med"/>
                    </a:lnL>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990739497"/>
                  </a:ext>
                </a:extLst>
              </a:tr>
              <a:tr h="229577">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1100" kern="1200" dirty="0">
                        <a:solidFill>
                          <a:schemeClr val="tx1"/>
                        </a:solidFill>
                        <a:latin typeface="+mn-lt"/>
                        <a:ea typeface="+mn-ea"/>
                        <a:cs typeface="+mn-cs"/>
                      </a:endParaRPr>
                    </a:p>
                  </a:txBody>
                  <a:tcPr marR="0" marT="0" marB="0" anchor="ctr">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solidFill>
                      <a:srgbClr val="E9EAEA"/>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100" kern="1200" dirty="0">
                          <a:solidFill>
                            <a:schemeClr val="tx1"/>
                          </a:solidFill>
                          <a:latin typeface="+mn-lt"/>
                          <a:ea typeface="+mn-ea"/>
                          <a:cs typeface="+mn-cs"/>
                        </a:rPr>
                        <a:t>Fluids Results: Velocity, Temperature, Pressure, Time averaged display</a:t>
                      </a:r>
                    </a:p>
                  </a:txBody>
                  <a:tcPr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100" dirty="0"/>
                    </a:p>
                  </a:txBody>
                  <a:tcPr marL="0" marR="0" marT="0" marB="0" anchor="ctr" anchorCtr="1">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solidFill>
                  </a:tcPr>
                </a:tc>
                <a:tc>
                  <a:txBody>
                    <a:bodyPr/>
                    <a:lstStyle/>
                    <a:p>
                      <a:pPr marL="0" marR="0" lvl="0" indent="0" algn="ctr" defTabSz="1086775" rtl="0" eaLnBrk="1" fontAlgn="auto" latinLnBrk="0" hangingPunct="1">
                        <a:lnSpc>
                          <a:spcPct val="100000"/>
                        </a:lnSpc>
                        <a:spcBef>
                          <a:spcPts val="0"/>
                        </a:spcBef>
                        <a:spcAft>
                          <a:spcPts val="0"/>
                        </a:spcAft>
                        <a:buClrTx/>
                        <a:buSzTx/>
                        <a:buFontTx/>
                        <a:buNone/>
                        <a:tabLst/>
                        <a:defRPr/>
                      </a:pPr>
                      <a:r>
                        <a:rPr lang="en-US" sz="1100" dirty="0"/>
                        <a:t>✔</a:t>
                      </a:r>
                    </a:p>
                  </a:txBody>
                  <a:tcPr marL="0" marR="0" marT="0" marB="0" anchor="ctr" anchorCtr="1">
                    <a:lnL w="9525" cap="flat" cmpd="sng" algn="ctr">
                      <a:solidFill>
                        <a:schemeClr val="bg1"/>
                      </a:solidFill>
                      <a:prstDash val="solid"/>
                      <a:round/>
                      <a:headEnd type="none" w="med" len="med"/>
                      <a:tailEnd type="none" w="med" len="med"/>
                    </a:lnL>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531863606"/>
                  </a:ext>
                </a:extLst>
              </a:tr>
              <a:tr h="22860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1100" kern="1200" dirty="0">
                        <a:solidFill>
                          <a:schemeClr val="tx1"/>
                        </a:solidFill>
                        <a:latin typeface="+mn-lt"/>
                        <a:ea typeface="+mn-ea"/>
                        <a:cs typeface="+mn-cs"/>
                      </a:endParaRPr>
                    </a:p>
                  </a:txBody>
                  <a:tcPr marR="0" marT="0" marB="0" anchor="ctr">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E9EAEA"/>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100" kern="1200" dirty="0">
                          <a:solidFill>
                            <a:schemeClr val="tx1"/>
                          </a:solidFill>
                          <a:latin typeface="+mn-lt"/>
                          <a:ea typeface="+mn-ea"/>
                          <a:cs typeface="+mn-cs"/>
                        </a:rPr>
                        <a:t>Fluids Display: Streamlines for velocity results, Cut plane, Particles, Probes, Direction Fields</a:t>
                      </a:r>
                    </a:p>
                  </a:txBody>
                  <a:tcPr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100" dirty="0"/>
                    </a:p>
                  </a:txBody>
                  <a:tcPr marL="0" marR="0" marT="0" marB="0" anchor="ctr" anchorCtr="1">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1086775" rtl="0" eaLnBrk="1" fontAlgn="auto" latinLnBrk="0" hangingPunct="1">
                        <a:lnSpc>
                          <a:spcPct val="100000"/>
                        </a:lnSpc>
                        <a:spcBef>
                          <a:spcPts val="0"/>
                        </a:spcBef>
                        <a:spcAft>
                          <a:spcPts val="0"/>
                        </a:spcAft>
                        <a:buClrTx/>
                        <a:buSzTx/>
                        <a:buFontTx/>
                        <a:buNone/>
                        <a:tabLst/>
                        <a:defRPr/>
                      </a:pPr>
                      <a:r>
                        <a:rPr lang="en-US" sz="1100" dirty="0"/>
                        <a:t>✔</a:t>
                      </a:r>
                    </a:p>
                  </a:txBody>
                  <a:tcPr marL="0" marR="0" marT="0" marB="0" anchor="ctr" anchorCtr="1">
                    <a:lnL w="9525" cap="flat" cmpd="sng" algn="ctr">
                      <a:solidFill>
                        <a:schemeClr val="bg1"/>
                      </a:solidFill>
                      <a:prstDash val="solid"/>
                      <a:round/>
                      <a:headEnd type="none" w="med" len="med"/>
                      <a:tailEnd type="none" w="med" len="med"/>
                    </a:lnL>
                    <a:lnT w="9525" cap="flat" cmpd="sng" algn="ctr">
                      <a:solidFill>
                        <a:schemeClr val="bg1">
                          <a:lumMod val="85000"/>
                        </a:schemeClr>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337732010"/>
                  </a:ext>
                </a:extLst>
              </a:tr>
            </a:tbl>
          </a:graphicData>
        </a:graphic>
      </p:graphicFrame>
      <p:sp>
        <p:nvSpPr>
          <p:cNvPr id="2" name="TextBox 1">
            <a:extLst>
              <a:ext uri="{FF2B5EF4-FFF2-40B4-BE49-F238E27FC236}">
                <a16:creationId xmlns:a16="http://schemas.microsoft.com/office/drawing/2014/main" id="{5E9386B8-5C25-45BC-84E3-F7F7022D92AD}"/>
              </a:ext>
            </a:extLst>
          </p:cNvPr>
          <p:cNvSpPr txBox="1"/>
          <p:nvPr/>
        </p:nvSpPr>
        <p:spPr>
          <a:xfrm>
            <a:off x="3190875" y="6407455"/>
            <a:ext cx="5810250" cy="171450"/>
          </a:xfrm>
          <a:prstGeom prst="rect">
            <a:avLst/>
          </a:prstGeom>
        </p:spPr>
        <p:txBody>
          <a:bodyPr vert="horz" wrap="square" lIns="91440" tIns="45720" rIns="91440" bIns="45720" rtlCol="0">
            <a:noAutofit/>
          </a:bodyPr>
          <a:lstStyle/>
          <a:p>
            <a:pPr marL="0" marR="0" lvl="0" indent="0" algn="ctr" defTabSz="1086775" rtl="0" eaLnBrk="1" fontAlgn="auto" latinLnBrk="0" hangingPunct="1">
              <a:lnSpc>
                <a:spcPct val="90000"/>
              </a:lnSpc>
              <a:spcBef>
                <a:spcPts val="800"/>
              </a:spcBef>
              <a:spcAft>
                <a:spcPts val="0"/>
              </a:spcAft>
              <a:buClrTx/>
              <a:buSzTx/>
              <a:buFontTx/>
              <a:buNone/>
              <a:tabLst/>
              <a:defRPr/>
            </a:pPr>
            <a:r>
              <a:rPr kumimoji="0" lang="en-US" sz="1000" b="0" i="0" u="none" strike="noStrike" kern="1200" cap="none" spc="0" normalizeH="0" baseline="0" noProof="0" dirty="0">
                <a:ln>
                  <a:noFill/>
                </a:ln>
                <a:solidFill>
                  <a:srgbClr val="4D585A"/>
                </a:solidFill>
                <a:effectLst/>
                <a:uLnTx/>
                <a:uFillTx/>
                <a:latin typeface="Century Gothic" panose="020F0302020204030204"/>
                <a:ea typeface="+mn-ea"/>
                <a:cs typeface="+mn-cs"/>
              </a:rPr>
              <a:t>CSL Advanced includes the capabilities of CSL and Fluids</a:t>
            </a:r>
          </a:p>
        </p:txBody>
      </p:sp>
      <p:pic>
        <p:nvPicPr>
          <p:cNvPr id="5" name="Picture 2" descr="D:\000 - CAD Sales Enablement\000 - FY16 CAD Core Plays\SmartHomeSystemIcon.png">
            <a:hlinkClick r:id="rId2" action="ppaction://hlinksldjump"/>
            <a:extLst>
              <a:ext uri="{FF2B5EF4-FFF2-40B4-BE49-F238E27FC236}">
                <a16:creationId xmlns:a16="http://schemas.microsoft.com/office/drawing/2014/main" id="{509C143F-3184-4461-A596-C505F3AC6530}"/>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auto">
          <a:xfrm>
            <a:off x="11287745" y="467045"/>
            <a:ext cx="594300" cy="594300"/>
          </a:xfrm>
          <a:prstGeom prst="rect">
            <a:avLst/>
          </a:prstGeom>
          <a:noFill/>
          <a:ln>
            <a:noFill/>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507315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cap="none" dirty="0"/>
              <a:t>CREO ANSYS SIMULATION</a:t>
            </a:r>
          </a:p>
        </p:txBody>
      </p:sp>
      <p:sp>
        <p:nvSpPr>
          <p:cNvPr id="2" name="Subtitle 1"/>
          <p:cNvSpPr>
            <a:spLocks noGrp="1"/>
          </p:cNvSpPr>
          <p:nvPr>
            <p:ph type="subTitle" idx="4294967295"/>
          </p:nvPr>
        </p:nvSpPr>
        <p:spPr>
          <a:xfrm>
            <a:off x="490760" y="1203870"/>
            <a:ext cx="9459549" cy="467076"/>
          </a:xfrm>
        </p:spPr>
        <p:txBody>
          <a:bodyPr vert="horz" lIns="0" tIns="0" rIns="0" bIns="0" rtlCol="0">
            <a:noAutofit/>
          </a:bodyPr>
          <a:lstStyle/>
          <a:p>
            <a:pPr marL="0" indent="0">
              <a:buNone/>
            </a:pPr>
            <a:r>
              <a:rPr lang="en-US" sz="2000" dirty="0"/>
              <a:t>Ansys Simulation puts best in class design and simulation capabilities at the fingertips of every designer and engineer </a:t>
            </a:r>
          </a:p>
        </p:txBody>
      </p:sp>
      <p:pic>
        <p:nvPicPr>
          <p:cNvPr id="15" name="Picture 2" descr="D:\000 - CAD Sales Enablement\000 - FY16 CAD Core Plays\SmartHomeSystemIcon.png">
            <a:hlinkClick r:id="rId3" action="ppaction://hlinksldjump"/>
            <a:extLst>
              <a:ext uri="{FF2B5EF4-FFF2-40B4-BE49-F238E27FC236}">
                <a16:creationId xmlns:a16="http://schemas.microsoft.com/office/drawing/2014/main" id="{60E4F02E-A259-4F34-9CAC-A15C969EBB66}"/>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tretch>
            <a:fillRect/>
          </a:stretch>
        </p:blipFill>
        <p:spPr bwMode="auto">
          <a:xfrm>
            <a:off x="11287745" y="768126"/>
            <a:ext cx="594300" cy="594300"/>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16" name="Rectangle 15">
            <a:extLst>
              <a:ext uri="{FF2B5EF4-FFF2-40B4-BE49-F238E27FC236}">
                <a16:creationId xmlns:a16="http://schemas.microsoft.com/office/drawing/2014/main" id="{05FA804F-B89D-4A51-923F-338125FEB5BC}"/>
              </a:ext>
            </a:extLst>
          </p:cNvPr>
          <p:cNvSpPr/>
          <p:nvPr/>
        </p:nvSpPr>
        <p:spPr>
          <a:xfrm>
            <a:off x="495300" y="2009431"/>
            <a:ext cx="1510147" cy="727844"/>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r" defTabSz="1086775" rtl="0" eaLnBrk="1" fontAlgn="auto" latinLnBrk="0" hangingPunct="1">
              <a:lnSpc>
                <a:spcPct val="90000"/>
              </a:lnSpc>
              <a:spcBef>
                <a:spcPts val="800"/>
              </a:spcBef>
              <a:spcAft>
                <a:spcPts val="0"/>
              </a:spcAft>
              <a:buClrTx/>
              <a:buSzTx/>
              <a:buFontTx/>
              <a:buNone/>
              <a:tabLst/>
              <a:defRPr/>
            </a:pPr>
            <a:r>
              <a:rPr kumimoji="0" lang="en-US" sz="1500" b="1"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rPr>
              <a:t>Who Needs It?</a:t>
            </a:r>
          </a:p>
        </p:txBody>
      </p:sp>
      <p:sp>
        <p:nvSpPr>
          <p:cNvPr id="17" name="Rectangle 16">
            <a:extLst>
              <a:ext uri="{FF2B5EF4-FFF2-40B4-BE49-F238E27FC236}">
                <a16:creationId xmlns:a16="http://schemas.microsoft.com/office/drawing/2014/main" id="{4173B89E-E5EE-44A0-B407-E8749FE56A48}"/>
              </a:ext>
            </a:extLst>
          </p:cNvPr>
          <p:cNvSpPr/>
          <p:nvPr/>
        </p:nvSpPr>
        <p:spPr>
          <a:xfrm>
            <a:off x="2146155" y="2009431"/>
            <a:ext cx="7508058" cy="72784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rPr>
              <a:t>Customers that require high-fidelity simulation capabilities to support model refinement and validation using Ansys powered static structural, modal and thermal analysis  </a:t>
            </a:r>
          </a:p>
        </p:txBody>
      </p:sp>
      <p:sp>
        <p:nvSpPr>
          <p:cNvPr id="18" name="Rectangle 17">
            <a:extLst>
              <a:ext uri="{FF2B5EF4-FFF2-40B4-BE49-F238E27FC236}">
                <a16:creationId xmlns:a16="http://schemas.microsoft.com/office/drawing/2014/main" id="{E1F57E4F-D4BB-4956-819D-7A603D6FB45C}"/>
              </a:ext>
            </a:extLst>
          </p:cNvPr>
          <p:cNvSpPr/>
          <p:nvPr/>
        </p:nvSpPr>
        <p:spPr>
          <a:xfrm>
            <a:off x="495300" y="2800642"/>
            <a:ext cx="1510147" cy="1188349"/>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r" defTabSz="1086775" rtl="0" eaLnBrk="1" fontAlgn="auto" latinLnBrk="0" hangingPunct="1">
              <a:lnSpc>
                <a:spcPct val="90000"/>
              </a:lnSpc>
              <a:spcBef>
                <a:spcPts val="800"/>
              </a:spcBef>
              <a:spcAft>
                <a:spcPts val="0"/>
              </a:spcAft>
              <a:buClrTx/>
              <a:buSzTx/>
              <a:buFontTx/>
              <a:buNone/>
              <a:tabLst/>
              <a:defRPr/>
            </a:pPr>
            <a:r>
              <a:rPr kumimoji="0" lang="en-US" sz="1500" b="1"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rPr>
              <a:t>Business Value</a:t>
            </a:r>
          </a:p>
        </p:txBody>
      </p:sp>
      <p:sp>
        <p:nvSpPr>
          <p:cNvPr id="19" name="Rectangle 18">
            <a:extLst>
              <a:ext uri="{FF2B5EF4-FFF2-40B4-BE49-F238E27FC236}">
                <a16:creationId xmlns:a16="http://schemas.microsoft.com/office/drawing/2014/main" id="{D20541AF-8B61-4E4B-8B04-2484915A5F14}"/>
              </a:ext>
            </a:extLst>
          </p:cNvPr>
          <p:cNvSpPr/>
          <p:nvPr/>
        </p:nvSpPr>
        <p:spPr>
          <a:xfrm>
            <a:off x="2146158" y="2914246"/>
            <a:ext cx="3668712" cy="9851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spAutoFit/>
          </a:bodyPr>
          <a:lstStyle/>
          <a:p>
            <a:pPr marL="174625" lvl="1" indent="-174625">
              <a:buClr>
                <a:schemeClr val="bg2"/>
              </a:buClr>
              <a:buFont typeface="Wingdings" panose="05000000000000000000" pitchFamily="2" charset="2"/>
              <a:buChar char="§"/>
            </a:pPr>
            <a:r>
              <a:rPr lang="en-US" sz="1400" dirty="0">
                <a:solidFill>
                  <a:schemeClr val="tx1"/>
                </a:solidFill>
              </a:rPr>
              <a:t>Reduce time-to-market</a:t>
            </a:r>
          </a:p>
          <a:p>
            <a:pPr marL="174625" lvl="1" indent="-174625">
              <a:buClr>
                <a:schemeClr val="bg2"/>
              </a:buClr>
              <a:buFont typeface="Wingdings" panose="05000000000000000000" pitchFamily="2" charset="2"/>
              <a:buChar char="§"/>
            </a:pPr>
            <a:r>
              <a:rPr lang="en-US" sz="1400" dirty="0">
                <a:solidFill>
                  <a:schemeClr val="tx1"/>
                </a:solidFill>
              </a:rPr>
              <a:t>Reduce product lifecycle cost</a:t>
            </a:r>
          </a:p>
          <a:p>
            <a:pPr marL="174625" lvl="1" indent="-174625">
              <a:buClr>
                <a:schemeClr val="bg2"/>
              </a:buClr>
              <a:buFont typeface="Wingdings" panose="05000000000000000000" pitchFamily="2" charset="2"/>
              <a:buChar char="§"/>
            </a:pPr>
            <a:r>
              <a:rPr lang="en-US" sz="1400" dirty="0">
                <a:solidFill>
                  <a:schemeClr val="tx1"/>
                </a:solidFill>
              </a:rPr>
              <a:t>Reduce product development cost </a:t>
            </a:r>
          </a:p>
          <a:p>
            <a:pPr marL="174625" lvl="1" indent="-174625">
              <a:buClr>
                <a:schemeClr val="bg2"/>
              </a:buClr>
              <a:buFont typeface="Wingdings" panose="05000000000000000000" pitchFamily="2" charset="2"/>
              <a:buChar char="§"/>
            </a:pPr>
            <a:r>
              <a:rPr lang="en-US" sz="1400" dirty="0">
                <a:solidFill>
                  <a:schemeClr val="tx1"/>
                </a:solidFill>
              </a:rPr>
              <a:t>Improve product quality and innovation</a:t>
            </a:r>
          </a:p>
        </p:txBody>
      </p:sp>
      <p:sp>
        <p:nvSpPr>
          <p:cNvPr id="20" name="Rectangle 19">
            <a:extLst>
              <a:ext uri="{FF2B5EF4-FFF2-40B4-BE49-F238E27FC236}">
                <a16:creationId xmlns:a16="http://schemas.microsoft.com/office/drawing/2014/main" id="{0E566B6A-3E77-48B2-B218-14BB76DF711C}"/>
              </a:ext>
            </a:extLst>
          </p:cNvPr>
          <p:cNvSpPr/>
          <p:nvPr/>
        </p:nvSpPr>
        <p:spPr>
          <a:xfrm>
            <a:off x="495300" y="4052355"/>
            <a:ext cx="1510147" cy="914400"/>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r" defTabSz="1086775" rtl="0" eaLnBrk="1" fontAlgn="auto" latinLnBrk="0" hangingPunct="1">
              <a:lnSpc>
                <a:spcPct val="90000"/>
              </a:lnSpc>
              <a:spcBef>
                <a:spcPts val="800"/>
              </a:spcBef>
              <a:spcAft>
                <a:spcPts val="0"/>
              </a:spcAft>
              <a:buClrTx/>
              <a:buSzTx/>
              <a:buFontTx/>
              <a:buNone/>
              <a:tabLst/>
              <a:defRPr/>
            </a:pPr>
            <a:r>
              <a:rPr kumimoji="0" lang="en-US" sz="1500" b="1"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rPr>
              <a:t>Process Improvement</a:t>
            </a:r>
          </a:p>
        </p:txBody>
      </p:sp>
      <p:sp>
        <p:nvSpPr>
          <p:cNvPr id="21" name="Rectangle 20">
            <a:extLst>
              <a:ext uri="{FF2B5EF4-FFF2-40B4-BE49-F238E27FC236}">
                <a16:creationId xmlns:a16="http://schemas.microsoft.com/office/drawing/2014/main" id="{7CC3C7E9-DD5D-40AC-9C57-B8362D176E33}"/>
              </a:ext>
            </a:extLst>
          </p:cNvPr>
          <p:cNvSpPr/>
          <p:nvPr/>
        </p:nvSpPr>
        <p:spPr>
          <a:xfrm>
            <a:off x="2146154" y="4306355"/>
            <a:ext cx="3891842" cy="52322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spAutoFit/>
          </a:bodyPr>
          <a:lstStyle/>
          <a:p>
            <a:pPr marL="174625" lvl="1" indent="-174625">
              <a:buClr>
                <a:schemeClr val="bg2"/>
              </a:buClr>
              <a:buFont typeface="Wingdings" panose="05000000000000000000" pitchFamily="2" charset="2"/>
              <a:buChar char="§"/>
            </a:pPr>
            <a:r>
              <a:rPr lang="en-US" sz="1400" dirty="0">
                <a:solidFill>
                  <a:schemeClr val="tx1"/>
                </a:solidFill>
              </a:rPr>
              <a:t>Linear static structural, modal and thermal analysis of parts and assemblies</a:t>
            </a:r>
          </a:p>
        </p:txBody>
      </p:sp>
      <p:sp>
        <p:nvSpPr>
          <p:cNvPr id="22" name="Rectangle 21">
            <a:extLst>
              <a:ext uri="{FF2B5EF4-FFF2-40B4-BE49-F238E27FC236}">
                <a16:creationId xmlns:a16="http://schemas.microsoft.com/office/drawing/2014/main" id="{8F789A15-5BB9-4B4E-8F8F-760DCE1E1678}"/>
              </a:ext>
            </a:extLst>
          </p:cNvPr>
          <p:cNvSpPr/>
          <p:nvPr/>
        </p:nvSpPr>
        <p:spPr>
          <a:xfrm>
            <a:off x="495300" y="5052913"/>
            <a:ext cx="1510147" cy="1097280"/>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r" defTabSz="1086775" rtl="0" eaLnBrk="1" fontAlgn="auto" latinLnBrk="0" hangingPunct="1">
              <a:lnSpc>
                <a:spcPct val="90000"/>
              </a:lnSpc>
              <a:spcBef>
                <a:spcPts val="800"/>
              </a:spcBef>
              <a:spcAft>
                <a:spcPts val="0"/>
              </a:spcAft>
              <a:buClrTx/>
              <a:buSzTx/>
              <a:buFontTx/>
              <a:buNone/>
              <a:tabLst/>
              <a:defRPr/>
            </a:pPr>
            <a:r>
              <a:rPr kumimoji="0" lang="en-US" sz="1500" b="1"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rPr>
              <a:t>Technology/ Capability</a:t>
            </a:r>
          </a:p>
        </p:txBody>
      </p:sp>
      <p:sp>
        <p:nvSpPr>
          <p:cNvPr id="23" name="Rectangle 22">
            <a:extLst>
              <a:ext uri="{FF2B5EF4-FFF2-40B4-BE49-F238E27FC236}">
                <a16:creationId xmlns:a16="http://schemas.microsoft.com/office/drawing/2014/main" id="{15AA482B-84C6-4447-83B3-0D3ED429729F}"/>
              </a:ext>
            </a:extLst>
          </p:cNvPr>
          <p:cNvSpPr/>
          <p:nvPr/>
        </p:nvSpPr>
        <p:spPr>
          <a:xfrm>
            <a:off x="2146155" y="5052913"/>
            <a:ext cx="4901189" cy="116955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spAutoFit/>
          </a:bodyPr>
          <a:lstStyle/>
          <a:p>
            <a:pPr marL="174625" lvl="1" indent="-174625">
              <a:buClr>
                <a:schemeClr val="bg2"/>
              </a:buClr>
              <a:buFont typeface="Wingdings" panose="05000000000000000000" pitchFamily="2" charset="2"/>
              <a:buChar char="§"/>
            </a:pPr>
            <a:r>
              <a:rPr lang="en-US" sz="1400" dirty="0">
                <a:solidFill>
                  <a:schemeClr val="tx1"/>
                </a:solidFill>
              </a:rPr>
              <a:t>Seamless integration of design and analysis</a:t>
            </a:r>
          </a:p>
          <a:p>
            <a:pPr marL="174625" lvl="1" indent="-174625">
              <a:buClr>
                <a:schemeClr val="bg2"/>
              </a:buClr>
              <a:buFont typeface="Wingdings" panose="05000000000000000000" pitchFamily="2" charset="2"/>
              <a:buChar char="§"/>
            </a:pPr>
            <a:r>
              <a:rPr lang="en-US" sz="1400" dirty="0">
                <a:solidFill>
                  <a:schemeClr val="tx1"/>
                </a:solidFill>
              </a:rPr>
              <a:t>Fast simulation modeling and setup</a:t>
            </a:r>
          </a:p>
          <a:p>
            <a:pPr marL="174625" lvl="1" indent="-174625">
              <a:buClr>
                <a:schemeClr val="bg2"/>
              </a:buClr>
              <a:buFont typeface="Wingdings" panose="05000000000000000000" pitchFamily="2" charset="2"/>
              <a:buChar char="§"/>
            </a:pPr>
            <a:r>
              <a:rPr lang="en-US" sz="1400" dirty="0">
                <a:solidFill>
                  <a:schemeClr val="tx1"/>
                </a:solidFill>
              </a:rPr>
              <a:t>Automated meshing and contact handling</a:t>
            </a:r>
          </a:p>
          <a:p>
            <a:pPr marL="174625" lvl="1" indent="-174625">
              <a:buClr>
                <a:schemeClr val="bg2"/>
              </a:buClr>
              <a:buFont typeface="Wingdings" panose="05000000000000000000" pitchFamily="2" charset="2"/>
              <a:buChar char="§"/>
            </a:pPr>
            <a:r>
              <a:rPr lang="en-US" sz="1400" dirty="0">
                <a:solidFill>
                  <a:schemeClr val="tx1"/>
                </a:solidFill>
              </a:rPr>
              <a:t>High-fidelity results using Ansys powered solver and meshing technology running in Creo </a:t>
            </a:r>
          </a:p>
        </p:txBody>
      </p:sp>
      <p:cxnSp>
        <p:nvCxnSpPr>
          <p:cNvPr id="24" name="Straight Connector 23">
            <a:extLst>
              <a:ext uri="{FF2B5EF4-FFF2-40B4-BE49-F238E27FC236}">
                <a16:creationId xmlns:a16="http://schemas.microsoft.com/office/drawing/2014/main" id="{AB6F73CB-F21A-4563-BFE4-EC45BDAF13DD}"/>
              </a:ext>
            </a:extLst>
          </p:cNvPr>
          <p:cNvCxnSpPr>
            <a:cxnSpLocks/>
          </p:cNvCxnSpPr>
          <p:nvPr/>
        </p:nvCxnSpPr>
        <p:spPr>
          <a:xfrm>
            <a:off x="2102432" y="2009434"/>
            <a:ext cx="0" cy="727844"/>
          </a:xfrm>
          <a:prstGeom prst="line">
            <a:avLst/>
          </a:prstGeom>
          <a:ln w="381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E40C08B-7A91-4942-93F3-69DF00B4BFAE}"/>
              </a:ext>
            </a:extLst>
          </p:cNvPr>
          <p:cNvCxnSpPr>
            <a:cxnSpLocks/>
          </p:cNvCxnSpPr>
          <p:nvPr/>
        </p:nvCxnSpPr>
        <p:spPr>
          <a:xfrm>
            <a:off x="2102432" y="2800642"/>
            <a:ext cx="0" cy="1188349"/>
          </a:xfrm>
          <a:prstGeom prst="line">
            <a:avLst/>
          </a:prstGeom>
          <a:ln w="381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08EFFFC5-EE6D-4C6F-BDD9-14CBBBBC8E34}"/>
              </a:ext>
            </a:extLst>
          </p:cNvPr>
          <p:cNvCxnSpPr>
            <a:cxnSpLocks/>
          </p:cNvCxnSpPr>
          <p:nvPr/>
        </p:nvCxnSpPr>
        <p:spPr>
          <a:xfrm>
            <a:off x="2102432" y="4052352"/>
            <a:ext cx="0" cy="914400"/>
          </a:xfrm>
          <a:prstGeom prst="line">
            <a:avLst/>
          </a:prstGeom>
          <a:ln w="381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D073A492-EF94-47DA-B6B5-6D0C36B88682}"/>
              </a:ext>
            </a:extLst>
          </p:cNvPr>
          <p:cNvCxnSpPr>
            <a:cxnSpLocks/>
          </p:cNvCxnSpPr>
          <p:nvPr/>
        </p:nvCxnSpPr>
        <p:spPr>
          <a:xfrm>
            <a:off x="2102432" y="5052912"/>
            <a:ext cx="0" cy="1097280"/>
          </a:xfrm>
          <a:prstGeom prst="line">
            <a:avLst/>
          </a:prstGeom>
          <a:ln w="38100">
            <a:solidFill>
              <a:schemeClr val="bg2"/>
            </a:solidFill>
          </a:ln>
        </p:spPr>
        <p:style>
          <a:lnRef idx="1">
            <a:schemeClr val="accent1"/>
          </a:lnRef>
          <a:fillRef idx="0">
            <a:schemeClr val="accent1"/>
          </a:fillRef>
          <a:effectRef idx="0">
            <a:schemeClr val="accent1"/>
          </a:effectRef>
          <a:fontRef idx="minor">
            <a:schemeClr val="tx1"/>
          </a:fontRef>
        </p:style>
      </p:cxnSp>
      <p:pic>
        <p:nvPicPr>
          <p:cNvPr id="29" name="Picture 28">
            <a:extLst>
              <a:ext uri="{FF2B5EF4-FFF2-40B4-BE49-F238E27FC236}">
                <a16:creationId xmlns:a16="http://schemas.microsoft.com/office/drawing/2014/main" id="{041DC312-D982-416B-AEE5-969709D50EAA}"/>
              </a:ext>
            </a:extLst>
          </p:cNvPr>
          <p:cNvPicPr>
            <a:picLocks noChangeAspect="1"/>
          </p:cNvPicPr>
          <p:nvPr/>
        </p:nvPicPr>
        <p:blipFill>
          <a:blip r:embed="rId5"/>
          <a:stretch>
            <a:fillRect/>
          </a:stretch>
        </p:blipFill>
        <p:spPr>
          <a:xfrm>
            <a:off x="7456424" y="3841207"/>
            <a:ext cx="4332446" cy="2437001"/>
          </a:xfrm>
          <a:prstGeom prst="rect">
            <a:avLst/>
          </a:prstGeom>
          <a:ln w="9525">
            <a:solidFill>
              <a:schemeClr val="bg2"/>
            </a:solidFill>
          </a:ln>
        </p:spPr>
      </p:pic>
      <p:pic>
        <p:nvPicPr>
          <p:cNvPr id="30" name="Picture 29">
            <a:extLst>
              <a:ext uri="{FF2B5EF4-FFF2-40B4-BE49-F238E27FC236}">
                <a16:creationId xmlns:a16="http://schemas.microsoft.com/office/drawing/2014/main" id="{BDDBA99A-19B8-4159-B1C2-0AAF9836077C}"/>
              </a:ext>
            </a:extLst>
          </p:cNvPr>
          <p:cNvPicPr>
            <a:picLocks noChangeAspect="1"/>
          </p:cNvPicPr>
          <p:nvPr/>
        </p:nvPicPr>
        <p:blipFill rotWithShape="1">
          <a:blip r:embed="rId6">
            <a:clrChange>
              <a:clrFrom>
                <a:srgbClr val="FFFFFF"/>
              </a:clrFrom>
              <a:clrTo>
                <a:srgbClr val="FFFFFF">
                  <a:alpha val="0"/>
                </a:srgbClr>
              </a:clrTo>
            </a:clrChange>
          </a:blip>
          <a:srcRect l="10800" t="-1330" r="7156" b="-1151"/>
          <a:stretch/>
        </p:blipFill>
        <p:spPr>
          <a:xfrm>
            <a:off x="5736671" y="2579033"/>
            <a:ext cx="3195666" cy="2245141"/>
          </a:xfrm>
          <a:prstGeom prst="rect">
            <a:avLst/>
          </a:prstGeom>
        </p:spPr>
      </p:pic>
    </p:spTree>
    <p:extLst>
      <p:ext uri="{BB962C8B-B14F-4D97-AF65-F5344CB8AC3E}">
        <p14:creationId xmlns:p14="http://schemas.microsoft.com/office/powerpoint/2010/main" val="1888800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E8E2477-ED4E-4FB1-873E-581735A41B32}"/>
              </a:ext>
            </a:extLst>
          </p:cNvPr>
          <p:cNvSpPr>
            <a:spLocks noGrp="1"/>
          </p:cNvSpPr>
          <p:nvPr>
            <p:ph type="title"/>
          </p:nvPr>
        </p:nvSpPr>
        <p:spPr/>
        <p:txBody>
          <a:bodyPr/>
          <a:lstStyle/>
          <a:p>
            <a:r>
              <a:rPr lang="fr-FR"/>
              <a:t>Creo Simulation Product Overview</a:t>
            </a:r>
            <a:endParaRPr lang="fr-FR" dirty="0"/>
          </a:p>
        </p:txBody>
      </p:sp>
      <p:graphicFrame>
        <p:nvGraphicFramePr>
          <p:cNvPr id="5" name="Content Placeholder 6">
            <a:extLst>
              <a:ext uri="{FF2B5EF4-FFF2-40B4-BE49-F238E27FC236}">
                <a16:creationId xmlns:a16="http://schemas.microsoft.com/office/drawing/2014/main" id="{C6896FA8-A78B-4EA7-BE17-18D72A2617E2}"/>
              </a:ext>
            </a:extLst>
          </p:cNvPr>
          <p:cNvGraphicFramePr>
            <a:graphicFrameLocks/>
          </p:cNvGraphicFramePr>
          <p:nvPr/>
        </p:nvGraphicFramePr>
        <p:xfrm>
          <a:off x="482600" y="1311435"/>
          <a:ext cx="11311041" cy="4990668"/>
        </p:xfrm>
        <a:graphic>
          <a:graphicData uri="http://schemas.openxmlformats.org/drawingml/2006/table">
            <a:tbl>
              <a:tblPr firstRow="1" bandRow="1">
                <a:tableStyleId>{D27102A9-8310-4765-A935-A1911B00CA55}</a:tableStyleId>
              </a:tblPr>
              <a:tblGrid>
                <a:gridCol w="3749040">
                  <a:extLst>
                    <a:ext uri="{9D8B030D-6E8A-4147-A177-3AD203B41FA5}">
                      <a16:colId xmlns:a16="http://schemas.microsoft.com/office/drawing/2014/main" val="20000"/>
                    </a:ext>
                  </a:extLst>
                </a:gridCol>
                <a:gridCol w="2194560">
                  <a:extLst>
                    <a:ext uri="{9D8B030D-6E8A-4147-A177-3AD203B41FA5}">
                      <a16:colId xmlns:a16="http://schemas.microsoft.com/office/drawing/2014/main" val="20001"/>
                    </a:ext>
                  </a:extLst>
                </a:gridCol>
                <a:gridCol w="1789147">
                  <a:extLst>
                    <a:ext uri="{9D8B030D-6E8A-4147-A177-3AD203B41FA5}">
                      <a16:colId xmlns:a16="http://schemas.microsoft.com/office/drawing/2014/main" val="1298929262"/>
                    </a:ext>
                  </a:extLst>
                </a:gridCol>
                <a:gridCol w="1789147">
                  <a:extLst>
                    <a:ext uri="{9D8B030D-6E8A-4147-A177-3AD203B41FA5}">
                      <a16:colId xmlns:a16="http://schemas.microsoft.com/office/drawing/2014/main" val="20002"/>
                    </a:ext>
                  </a:extLst>
                </a:gridCol>
                <a:gridCol w="1789147">
                  <a:extLst>
                    <a:ext uri="{9D8B030D-6E8A-4147-A177-3AD203B41FA5}">
                      <a16:colId xmlns:a16="http://schemas.microsoft.com/office/drawing/2014/main" val="20003"/>
                    </a:ext>
                  </a:extLst>
                </a:gridCol>
              </a:tblGrid>
              <a:tr h="548640">
                <a:tc>
                  <a:txBody>
                    <a:bodyPr/>
                    <a:lstStyle/>
                    <a:p>
                      <a:pPr marL="0" algn="l" defTabSz="914400" rtl="0" eaLnBrk="1" latinLnBrk="0" hangingPunct="1"/>
                      <a:r>
                        <a:rPr lang="en-US" sz="1200" kern="1200" dirty="0">
                          <a:solidFill>
                            <a:schemeClr val="bg1"/>
                          </a:solidFill>
                          <a:latin typeface="+mn-lt"/>
                        </a:rPr>
                        <a:t>Capability</a:t>
                      </a:r>
                      <a:endParaRPr lang="en-US" sz="1200" b="1" kern="1200" dirty="0">
                        <a:solidFill>
                          <a:schemeClr val="bg1"/>
                        </a:solidFill>
                        <a:latin typeface="+mn-lt"/>
                        <a:ea typeface="+mn-ea"/>
                        <a:cs typeface="+mn-cs"/>
                      </a:endParaRPr>
                    </a:p>
                  </a:txBody>
                  <a:tcPr marL="182880" marR="0" marT="0" marB="0" anchor="ctr">
                    <a:lnL w="9525" cap="flat" cmpd="sng" algn="ctr">
                      <a:no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no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4D585A"/>
                    </a:solidFill>
                  </a:tcPr>
                </a:tc>
                <a:tc>
                  <a:txBody>
                    <a:bodyPr/>
                    <a:lstStyle/>
                    <a:p>
                      <a:pPr algn="ctr" rtl="0" fontAlgn="ctr"/>
                      <a:r>
                        <a:rPr lang="en-US" sz="1200" b="1" i="0" u="none" strike="noStrike" dirty="0">
                          <a:solidFill>
                            <a:schemeClr val="bg1"/>
                          </a:solidFill>
                          <a:effectLst/>
                          <a:latin typeface="+mn-lt"/>
                        </a:rPr>
                        <a:t>Creo Ansys Simulation</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no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4D585A"/>
                    </a:solidFill>
                  </a:tcPr>
                </a:tc>
                <a:tc>
                  <a:txBody>
                    <a:bodyPr/>
                    <a:lstStyle/>
                    <a:p>
                      <a:pPr algn="ctr" rtl="0" fontAlgn="ctr"/>
                      <a:r>
                        <a:rPr lang="en-US" sz="1200" b="1" i="0" u="none" strike="noStrike" dirty="0">
                          <a:solidFill>
                            <a:schemeClr val="bg1"/>
                          </a:solidFill>
                          <a:effectLst/>
                          <a:latin typeface="+mn-lt"/>
                        </a:rPr>
                        <a:t>Creo Ansys Advanced </a:t>
                      </a:r>
                      <a:br>
                        <a:rPr lang="en-US" sz="1200" b="1" i="0" u="none" strike="noStrike" dirty="0">
                          <a:solidFill>
                            <a:schemeClr val="bg1"/>
                          </a:solidFill>
                          <a:effectLst/>
                          <a:latin typeface="+mn-lt"/>
                        </a:rPr>
                      </a:br>
                      <a:r>
                        <a:rPr lang="en-US" sz="1200" b="1" i="0" u="none" strike="noStrike" dirty="0">
                          <a:solidFill>
                            <a:schemeClr val="bg1"/>
                          </a:solidFill>
                          <a:effectLst/>
                          <a:latin typeface="+mn-lt"/>
                        </a:rPr>
                        <a:t>(Future) Creo 9.0+</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no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4D585A"/>
                    </a:solidFill>
                  </a:tcPr>
                </a:tc>
                <a:tc>
                  <a:txBody>
                    <a:bodyPr/>
                    <a:lstStyle/>
                    <a:p>
                      <a:pPr algn="ctr" rtl="0" fontAlgn="ctr"/>
                      <a:r>
                        <a:rPr lang="en-US" sz="1200" b="1" i="0" u="none" strike="noStrike" dirty="0">
                          <a:solidFill>
                            <a:schemeClr val="bg1"/>
                          </a:solidFill>
                          <a:effectLst/>
                          <a:latin typeface="+mn-lt"/>
                        </a:rPr>
                        <a:t>PTC Creo Simulation Extension</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no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4D585A"/>
                    </a:solidFill>
                  </a:tcPr>
                </a:tc>
                <a:tc>
                  <a:txBody>
                    <a:bodyPr/>
                    <a:lstStyle/>
                    <a:p>
                      <a:pPr algn="ctr" rtl="0" fontAlgn="ctr"/>
                      <a:r>
                        <a:rPr lang="en-US" sz="1200" b="1" i="0" u="none" strike="noStrike" dirty="0">
                          <a:solidFill>
                            <a:schemeClr val="bg1"/>
                          </a:solidFill>
                          <a:effectLst/>
                          <a:latin typeface="+mn-lt"/>
                        </a:rPr>
                        <a:t>PTC Creo Advanced  Simulation Extension</a:t>
                      </a:r>
                    </a:p>
                  </a:txBody>
                  <a:tcPr marL="0" marR="0" marT="0" marB="0" anchor="ctr">
                    <a:lnL w="9525" cap="flat" cmpd="sng" algn="ctr">
                      <a:solidFill>
                        <a:schemeClr val="bg1"/>
                      </a:solid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4D585A"/>
                    </a:solidFill>
                  </a:tcPr>
                </a:tc>
                <a:extLst>
                  <a:ext uri="{0D108BD9-81ED-4DB2-BD59-A6C34878D82A}">
                    <a16:rowId xmlns:a16="http://schemas.microsoft.com/office/drawing/2014/main" val="10000"/>
                  </a:ext>
                </a:extLst>
              </a:tr>
              <a:tr h="370169">
                <a:tc>
                  <a:txBody>
                    <a:bodyPr/>
                    <a:lstStyle/>
                    <a:p>
                      <a:pPr algn="l" fontAlgn="b"/>
                      <a:r>
                        <a:rPr lang="en-US" sz="1200" b="0" i="0" u="none" strike="noStrike" dirty="0">
                          <a:solidFill>
                            <a:srgbClr val="000000"/>
                          </a:solidFill>
                          <a:effectLst/>
                          <a:latin typeface="+mn-lt"/>
                        </a:rPr>
                        <a:t>Midsurface shell compression</a:t>
                      </a:r>
                    </a:p>
                  </a:txBody>
                  <a:tcPr marL="182880" marR="9525" marT="9525" marB="0" anchor="ctr">
                    <a:lnL w="9525" cap="flat" cmpd="sng" algn="ctr">
                      <a:no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9EAEA"/>
                    </a:solidFill>
                  </a:tcPr>
                </a:tc>
                <a:tc>
                  <a:txBody>
                    <a:bodyPr/>
                    <a:lstStyle/>
                    <a:p>
                      <a:pPr algn="ctr" rtl="0" fontAlgn="ctr"/>
                      <a:r>
                        <a:rPr lang="en-US" sz="1200" b="0" i="0" u="none" strike="noStrike" dirty="0">
                          <a:solidFill>
                            <a:srgbClr val="3D4647"/>
                          </a:solidFill>
                          <a:effectLst/>
                          <a:latin typeface="+mn-lt"/>
                        </a:rPr>
                        <a:t>✔ (Creo 9.0)</a:t>
                      </a:r>
                    </a:p>
                  </a:txBody>
                  <a:tcPr marL="9525" marR="9525" marT="9525"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sz="1200" b="0" i="0" u="none" strike="noStrike" dirty="0">
                          <a:solidFill>
                            <a:srgbClr val="3D4647"/>
                          </a:solidFill>
                          <a:effectLst/>
                          <a:latin typeface="+mn-lt"/>
                        </a:rPr>
                        <a:t>✔ (Creo 9.0)</a:t>
                      </a:r>
                    </a:p>
                  </a:txBody>
                  <a:tcPr marL="9525" marR="9525" marT="9525"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sz="1200" b="0" i="0" u="none" strike="noStrike" dirty="0">
                          <a:solidFill>
                            <a:srgbClr val="3D4647"/>
                          </a:solidFill>
                          <a:effectLst/>
                          <a:latin typeface="+mn-lt"/>
                        </a:rPr>
                        <a:t>✔</a:t>
                      </a:r>
                    </a:p>
                  </a:txBody>
                  <a:tcPr marL="9525" marR="9525" marT="9525"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sz="1200" b="0" i="0" u="none" strike="noStrike" dirty="0">
                          <a:solidFill>
                            <a:srgbClr val="3D4647"/>
                          </a:solidFill>
                          <a:effectLst/>
                          <a:latin typeface="+mn-lt"/>
                        </a:rPr>
                        <a:t>✔</a:t>
                      </a:r>
                    </a:p>
                  </a:txBody>
                  <a:tcPr marL="9525" marR="9525" marT="9525" marB="0" anchor="ctr">
                    <a:lnL w="9525" cap="flat" cmpd="sng" algn="ctr">
                      <a:solidFill>
                        <a:schemeClr val="bg1"/>
                      </a:solid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bg1"/>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1"/>
                  </a:ext>
                </a:extLst>
              </a:tr>
              <a:tr h="370169">
                <a:tc>
                  <a:txBody>
                    <a:bodyPr/>
                    <a:lstStyle/>
                    <a:p>
                      <a:pPr algn="l" fontAlgn="b"/>
                      <a:r>
                        <a:rPr lang="en-US" sz="1200" b="0" i="0" u="none" strike="noStrike" dirty="0">
                          <a:solidFill>
                            <a:srgbClr val="000000"/>
                          </a:solidFill>
                          <a:effectLst/>
                          <a:latin typeface="+mn-lt"/>
                        </a:rPr>
                        <a:t>Joints</a:t>
                      </a:r>
                    </a:p>
                  </a:txBody>
                  <a:tcPr marL="182880" marR="9525" marT="9525" marB="0" anchor="ctr">
                    <a:lnL w="9525" cap="flat" cmpd="sng" algn="ctr">
                      <a:no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9EAEA"/>
                    </a:solidFill>
                  </a:tcPr>
                </a:tc>
                <a:tc>
                  <a:txBody>
                    <a:bodyPr/>
                    <a:lstStyle/>
                    <a:p>
                      <a:pPr algn="ctr" rtl="0" fontAlgn="ctr"/>
                      <a:r>
                        <a:rPr lang="en-US" sz="1200" b="0" i="0" u="none" strike="noStrike" dirty="0">
                          <a:solidFill>
                            <a:srgbClr val="3D4647"/>
                          </a:solidFill>
                          <a:effectLst/>
                          <a:latin typeface="+mn-lt"/>
                        </a:rPr>
                        <a:t>✔</a:t>
                      </a:r>
                    </a:p>
                  </a:txBody>
                  <a:tcPr marL="9525" marR="9525" marT="9525"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sz="1200" b="0" i="0" u="none" strike="noStrike" dirty="0">
                          <a:solidFill>
                            <a:srgbClr val="3D4647"/>
                          </a:solidFill>
                          <a:effectLst/>
                          <a:latin typeface="+mn-lt"/>
                        </a:rPr>
                        <a:t>✔</a:t>
                      </a:r>
                    </a:p>
                  </a:txBody>
                  <a:tcPr marL="9525" marR="9525" marT="9525"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r>
                        <a:rPr lang="en-US" sz="1100" b="0" i="0" u="none" strike="noStrike">
                          <a:solidFill>
                            <a:srgbClr val="000000"/>
                          </a:solidFill>
                          <a:effectLst/>
                          <a:latin typeface="+mn-lt"/>
                        </a:rPr>
                        <a:t> </a:t>
                      </a:r>
                    </a:p>
                  </a:txBody>
                  <a:tcPr marL="9525" marR="9525" marT="9525"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r>
                        <a:rPr lang="en-US" sz="1100" b="0" i="0" u="none" strike="noStrike" dirty="0">
                          <a:solidFill>
                            <a:srgbClr val="000000"/>
                          </a:solidFill>
                          <a:effectLst/>
                          <a:latin typeface="+mn-lt"/>
                        </a:rPr>
                        <a:t> </a:t>
                      </a:r>
                    </a:p>
                  </a:txBody>
                  <a:tcPr marL="9525" marR="9525" marT="9525" marB="0" anchor="ctr">
                    <a:lnL w="9525" cap="flat" cmpd="sng" algn="ctr">
                      <a:solidFill>
                        <a:schemeClr val="bg1"/>
                      </a:solidFill>
                      <a:prstDash val="solid"/>
                      <a:round/>
                      <a:headEnd type="none" w="med" len="med"/>
                      <a:tailEnd type="none" w="med" len="med"/>
                    </a:lnL>
                    <a:lnR w="9525"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3"/>
                  </a:ext>
                </a:extLst>
              </a:tr>
              <a:tr h="370169">
                <a:tc>
                  <a:txBody>
                    <a:bodyPr/>
                    <a:lstStyle/>
                    <a:p>
                      <a:pPr algn="l" rtl="0" fontAlgn="b"/>
                      <a:r>
                        <a:rPr lang="en-US" sz="1200" b="0" i="0" u="none" strike="noStrike" kern="1200" dirty="0">
                          <a:solidFill>
                            <a:srgbClr val="000000"/>
                          </a:solidFill>
                          <a:effectLst/>
                          <a:latin typeface="+mn-lt"/>
                          <a:ea typeface="+mn-ea"/>
                          <a:cs typeface="+mn-cs"/>
                        </a:rPr>
                        <a:t>Non-linear</a:t>
                      </a:r>
                      <a:r>
                        <a:rPr lang="en-US" sz="1200" b="0" i="0" u="none" strike="noStrike" dirty="0">
                          <a:solidFill>
                            <a:srgbClr val="3D4647"/>
                          </a:solidFill>
                          <a:effectLst/>
                          <a:latin typeface="+mn-lt"/>
                        </a:rPr>
                        <a:t> </a:t>
                      </a:r>
                      <a:r>
                        <a:rPr lang="en-US" sz="1200" b="0" i="0" u="none" strike="noStrike" kern="1200" dirty="0">
                          <a:solidFill>
                            <a:srgbClr val="000000"/>
                          </a:solidFill>
                          <a:effectLst/>
                          <a:latin typeface="+mn-lt"/>
                          <a:ea typeface="+mn-ea"/>
                          <a:cs typeface="+mn-cs"/>
                        </a:rPr>
                        <a:t>Contact</a:t>
                      </a:r>
                      <a:r>
                        <a:rPr lang="en-US" sz="1200" b="0" i="0" u="none" strike="noStrike" dirty="0">
                          <a:solidFill>
                            <a:srgbClr val="3D4647"/>
                          </a:solidFill>
                          <a:effectLst/>
                          <a:latin typeface="+mn-lt"/>
                        </a:rPr>
                        <a:t> </a:t>
                      </a:r>
                    </a:p>
                  </a:txBody>
                  <a:tcPr marL="182880" marR="9525" marT="9525" marB="0" anchor="ctr">
                    <a:lnL w="9525" cap="flat" cmpd="sng" algn="ctr">
                      <a:no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9EAEA"/>
                    </a:solidFill>
                  </a:tcPr>
                </a:tc>
                <a:tc>
                  <a:txBody>
                    <a:bodyPr/>
                    <a:lstStyle/>
                    <a:p>
                      <a:pPr algn="ctr" rtl="0" fontAlgn="ctr"/>
                      <a:endParaRPr lang="en-US" sz="1100" b="0" i="0" u="none" strike="noStrike" dirty="0">
                        <a:solidFill>
                          <a:srgbClr val="3D4647"/>
                        </a:solidFill>
                        <a:effectLst/>
                        <a:latin typeface="+mn-lt"/>
                      </a:endParaRP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sz="1200" b="0" i="0" u="none" strike="noStrike" dirty="0">
                          <a:solidFill>
                            <a:srgbClr val="3D4647"/>
                          </a:solidFill>
                          <a:effectLst/>
                          <a:latin typeface="+mn-lt"/>
                        </a:rPr>
                        <a:t>✔ (Creo 10+)</a:t>
                      </a:r>
                    </a:p>
                  </a:txBody>
                  <a:tcPr marL="9525" marR="9525" marT="9525"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sz="1200" b="0" i="0" u="none" strike="noStrike">
                          <a:solidFill>
                            <a:srgbClr val="3D4647"/>
                          </a:solidFill>
                          <a:effectLst/>
                          <a:latin typeface="+mn-lt"/>
                        </a:rPr>
                        <a:t> </a:t>
                      </a:r>
                    </a:p>
                  </a:txBody>
                  <a:tcPr marL="9525" marR="9525" marT="9525"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sz="1200" b="0" i="0" u="none" strike="noStrike" dirty="0">
                          <a:solidFill>
                            <a:srgbClr val="3D4647"/>
                          </a:solidFill>
                          <a:effectLst/>
                          <a:latin typeface="+mn-lt"/>
                        </a:rPr>
                        <a:t>✔</a:t>
                      </a:r>
                    </a:p>
                  </a:txBody>
                  <a:tcPr marL="9525" marR="9525" marT="9525" marB="0" anchor="ctr">
                    <a:lnL w="9525" cap="flat" cmpd="sng" algn="ctr">
                      <a:solidFill>
                        <a:schemeClr val="bg1"/>
                      </a:solidFill>
                      <a:prstDash val="solid"/>
                      <a:round/>
                      <a:headEnd type="none" w="med" len="med"/>
                      <a:tailEnd type="none" w="med" len="med"/>
                    </a:lnL>
                    <a:lnR w="9525"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4"/>
                  </a:ext>
                </a:extLst>
              </a:tr>
              <a:tr h="370169">
                <a:tc>
                  <a:txBody>
                    <a:bodyPr/>
                    <a:lstStyle/>
                    <a:p>
                      <a:pPr algn="l" rtl="0" fontAlgn="b"/>
                      <a:r>
                        <a:rPr lang="en-US" sz="1200" b="0" i="0" u="none" strike="noStrike" kern="1200" dirty="0">
                          <a:solidFill>
                            <a:srgbClr val="000000"/>
                          </a:solidFill>
                          <a:effectLst/>
                          <a:latin typeface="+mn-lt"/>
                          <a:ea typeface="+mn-ea"/>
                          <a:cs typeface="+mn-cs"/>
                        </a:rPr>
                        <a:t>Nonlinear</a:t>
                      </a:r>
                      <a:r>
                        <a:rPr lang="en-US" sz="1200" b="0" i="0" u="none" strike="noStrike" dirty="0">
                          <a:solidFill>
                            <a:srgbClr val="3D4647"/>
                          </a:solidFill>
                          <a:effectLst/>
                          <a:latin typeface="+mn-lt"/>
                        </a:rPr>
                        <a:t> </a:t>
                      </a:r>
                      <a:r>
                        <a:rPr lang="en-US" sz="1200" b="0" i="0" u="none" strike="noStrike" kern="1200" dirty="0">
                          <a:solidFill>
                            <a:srgbClr val="000000"/>
                          </a:solidFill>
                          <a:effectLst/>
                          <a:latin typeface="+mn-lt"/>
                          <a:ea typeface="+mn-ea"/>
                          <a:cs typeface="+mn-cs"/>
                        </a:rPr>
                        <a:t>Materials</a:t>
                      </a:r>
                      <a:r>
                        <a:rPr lang="en-US" sz="1200" b="0" i="0" u="none" strike="noStrike" dirty="0">
                          <a:solidFill>
                            <a:srgbClr val="3D4647"/>
                          </a:solidFill>
                          <a:effectLst/>
                          <a:latin typeface="+mn-lt"/>
                        </a:rPr>
                        <a:t> </a:t>
                      </a:r>
                    </a:p>
                  </a:txBody>
                  <a:tcPr marL="182880" marR="9525" marT="9525" marB="0" anchor="ctr">
                    <a:lnL w="9525" cap="flat" cmpd="sng" algn="ctr">
                      <a:no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9EAEA"/>
                    </a:solidFill>
                  </a:tcPr>
                </a:tc>
                <a:tc>
                  <a:txBody>
                    <a:bodyPr/>
                    <a:lstStyle/>
                    <a:p>
                      <a:pPr algn="ctr" rtl="0" fontAlgn="ctr"/>
                      <a:endParaRPr lang="en-US" sz="1100" b="0" i="0" u="none" strike="noStrike" dirty="0">
                        <a:solidFill>
                          <a:srgbClr val="3D4647"/>
                        </a:solidFill>
                        <a:effectLst/>
                        <a:latin typeface="+mn-lt"/>
                      </a:endParaRP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sz="1200" b="0" i="0" u="none" strike="noStrike" dirty="0">
                          <a:solidFill>
                            <a:srgbClr val="3D4647"/>
                          </a:solidFill>
                          <a:effectLst/>
                          <a:latin typeface="+mn-lt"/>
                        </a:rPr>
                        <a:t>✔ (Creo 10+)</a:t>
                      </a:r>
                    </a:p>
                  </a:txBody>
                  <a:tcPr marL="9525" marR="9525" marT="9525"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sz="1200" b="0" i="0" u="none" strike="noStrike">
                          <a:solidFill>
                            <a:srgbClr val="3D4647"/>
                          </a:solidFill>
                          <a:effectLst/>
                          <a:latin typeface="+mn-lt"/>
                        </a:rPr>
                        <a:t> </a:t>
                      </a:r>
                    </a:p>
                  </a:txBody>
                  <a:tcPr marL="9525" marR="9525" marT="9525"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sz="1200" b="0" i="0" u="none" strike="noStrike" dirty="0">
                          <a:solidFill>
                            <a:srgbClr val="3D4647"/>
                          </a:solidFill>
                          <a:effectLst/>
                          <a:latin typeface="+mn-lt"/>
                        </a:rPr>
                        <a:t>✔</a:t>
                      </a:r>
                    </a:p>
                  </a:txBody>
                  <a:tcPr marL="9525" marR="9525" marT="9525" marB="0" anchor="ctr">
                    <a:lnL w="9525" cap="flat" cmpd="sng" algn="ctr">
                      <a:solidFill>
                        <a:schemeClr val="bg1"/>
                      </a:solidFill>
                      <a:prstDash val="solid"/>
                      <a:round/>
                      <a:headEnd type="none" w="med" len="med"/>
                      <a:tailEnd type="none" w="med" len="med"/>
                    </a:lnL>
                    <a:lnR w="9525"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5"/>
                  </a:ext>
                </a:extLst>
              </a:tr>
              <a:tr h="370169">
                <a:tc>
                  <a:txBody>
                    <a:bodyPr/>
                    <a:lstStyle/>
                    <a:p>
                      <a:pPr algn="l" rtl="0" fontAlgn="b"/>
                      <a:r>
                        <a:rPr lang="en-US" sz="1200" b="0" i="0" u="none" strike="noStrike" kern="1200" dirty="0">
                          <a:solidFill>
                            <a:srgbClr val="000000"/>
                          </a:solidFill>
                          <a:effectLst/>
                          <a:latin typeface="+mn-lt"/>
                          <a:ea typeface="+mn-ea"/>
                          <a:cs typeface="+mn-cs"/>
                        </a:rPr>
                        <a:t>Advanced</a:t>
                      </a:r>
                      <a:r>
                        <a:rPr lang="en-US" sz="1200" b="0" i="0" u="none" strike="noStrike" dirty="0">
                          <a:solidFill>
                            <a:srgbClr val="3D4647"/>
                          </a:solidFill>
                          <a:effectLst/>
                          <a:latin typeface="+mn-lt"/>
                        </a:rPr>
                        <a:t> </a:t>
                      </a:r>
                      <a:r>
                        <a:rPr lang="en-US" sz="1200" b="0" i="0" u="none" strike="noStrike" kern="1200" dirty="0">
                          <a:solidFill>
                            <a:srgbClr val="000000"/>
                          </a:solidFill>
                          <a:effectLst/>
                          <a:latin typeface="+mn-lt"/>
                          <a:ea typeface="+mn-ea"/>
                          <a:cs typeface="+mn-cs"/>
                        </a:rPr>
                        <a:t>Finite</a:t>
                      </a:r>
                      <a:r>
                        <a:rPr lang="en-US" sz="1200" b="0" i="0" u="none" strike="noStrike" dirty="0">
                          <a:solidFill>
                            <a:srgbClr val="3D4647"/>
                          </a:solidFill>
                          <a:effectLst/>
                          <a:latin typeface="+mn-lt"/>
                        </a:rPr>
                        <a:t> </a:t>
                      </a:r>
                      <a:r>
                        <a:rPr lang="en-US" sz="1200" b="0" i="0" u="none" strike="noStrike" kern="1200" dirty="0">
                          <a:solidFill>
                            <a:srgbClr val="000000"/>
                          </a:solidFill>
                          <a:effectLst/>
                          <a:latin typeface="+mn-lt"/>
                          <a:ea typeface="+mn-ea"/>
                          <a:cs typeface="+mn-cs"/>
                        </a:rPr>
                        <a:t>Element</a:t>
                      </a:r>
                      <a:r>
                        <a:rPr lang="en-US" sz="1200" b="0" i="0" u="none" strike="noStrike" dirty="0">
                          <a:solidFill>
                            <a:srgbClr val="3D4647"/>
                          </a:solidFill>
                          <a:effectLst/>
                          <a:latin typeface="+mn-lt"/>
                        </a:rPr>
                        <a:t> </a:t>
                      </a:r>
                      <a:r>
                        <a:rPr lang="en-US" sz="1200" b="0" i="0" u="none" strike="noStrike" kern="1200" dirty="0">
                          <a:solidFill>
                            <a:srgbClr val="000000"/>
                          </a:solidFill>
                          <a:effectLst/>
                          <a:latin typeface="+mn-lt"/>
                          <a:ea typeface="+mn-ea"/>
                          <a:cs typeface="+mn-cs"/>
                        </a:rPr>
                        <a:t>Idealization</a:t>
                      </a:r>
                    </a:p>
                  </a:txBody>
                  <a:tcPr marL="182880" marR="9525" marT="9525" marB="0" anchor="ctr">
                    <a:lnL w="9525" cap="flat" cmpd="sng" algn="ctr">
                      <a:no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9EAEA"/>
                    </a:solidFill>
                  </a:tcPr>
                </a:tc>
                <a:tc>
                  <a:txBody>
                    <a:bodyPr/>
                    <a:lstStyle/>
                    <a:p>
                      <a:pPr algn="ctr" rtl="0" fontAlgn="ctr"/>
                      <a:r>
                        <a:rPr lang="en-US" sz="1100" b="0" i="0" u="none" strike="noStrike" dirty="0">
                          <a:solidFill>
                            <a:srgbClr val="3D4647"/>
                          </a:solidFill>
                          <a:effectLst/>
                          <a:latin typeface="+mn-lt"/>
                        </a:rPr>
                        <a:t>NA</a:t>
                      </a: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sz="1200" b="0" i="0" u="none" strike="noStrike" dirty="0">
                          <a:solidFill>
                            <a:srgbClr val="3D4647"/>
                          </a:solidFill>
                          <a:effectLst/>
                          <a:latin typeface="+mn-lt"/>
                        </a:rPr>
                        <a:t>NA</a:t>
                      </a:r>
                    </a:p>
                  </a:txBody>
                  <a:tcPr marL="9525" marR="9525" marT="9525"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t"/>
                      <a:r>
                        <a:rPr lang="en-US" sz="1800" b="0" i="0" u="none" strike="noStrike">
                          <a:solidFill>
                            <a:srgbClr val="000000"/>
                          </a:solidFill>
                          <a:effectLst/>
                          <a:latin typeface="+mn-lt"/>
                        </a:rPr>
                        <a:t> </a:t>
                      </a:r>
                    </a:p>
                  </a:txBody>
                  <a:tcPr marL="9525" marR="9525" marT="9525"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sz="1200" b="0" i="0" u="none" strike="noStrike" dirty="0">
                          <a:solidFill>
                            <a:srgbClr val="3D4647"/>
                          </a:solidFill>
                          <a:effectLst/>
                          <a:latin typeface="+mn-lt"/>
                        </a:rPr>
                        <a:t>✔</a:t>
                      </a:r>
                    </a:p>
                  </a:txBody>
                  <a:tcPr marL="9525" marR="9525" marT="9525" marB="0" anchor="ctr">
                    <a:lnL w="9525" cap="flat" cmpd="sng" algn="ctr">
                      <a:solidFill>
                        <a:schemeClr val="bg1"/>
                      </a:solidFill>
                      <a:prstDash val="solid"/>
                      <a:round/>
                      <a:headEnd type="none" w="med" len="med"/>
                      <a:tailEnd type="none" w="med" len="med"/>
                    </a:lnL>
                    <a:lnR w="9525"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6"/>
                  </a:ext>
                </a:extLst>
              </a:tr>
              <a:tr h="370169">
                <a:tc>
                  <a:txBody>
                    <a:bodyPr/>
                    <a:lstStyle/>
                    <a:p>
                      <a:pPr algn="l" rtl="0" fontAlgn="b"/>
                      <a:r>
                        <a:rPr lang="en-US" sz="1200" b="0" i="0" u="none" strike="noStrike" kern="1200" dirty="0">
                          <a:solidFill>
                            <a:srgbClr val="000000"/>
                          </a:solidFill>
                          <a:effectLst/>
                          <a:latin typeface="+mn-lt"/>
                          <a:ea typeface="+mn-ea"/>
                          <a:cs typeface="+mn-cs"/>
                        </a:rPr>
                        <a:t>Pre-stress</a:t>
                      </a:r>
                      <a:r>
                        <a:rPr lang="en-US" sz="1200" b="0" i="0" u="none" strike="noStrike" dirty="0">
                          <a:solidFill>
                            <a:srgbClr val="3D4647"/>
                          </a:solidFill>
                          <a:effectLst/>
                          <a:latin typeface="+mn-lt"/>
                        </a:rPr>
                        <a:t> </a:t>
                      </a:r>
                      <a:r>
                        <a:rPr lang="en-US" sz="1200" b="0" i="0" u="none" strike="noStrike" kern="1200" dirty="0">
                          <a:solidFill>
                            <a:srgbClr val="000000"/>
                          </a:solidFill>
                          <a:effectLst/>
                          <a:latin typeface="+mn-lt"/>
                          <a:ea typeface="+mn-ea"/>
                          <a:cs typeface="+mn-cs"/>
                        </a:rPr>
                        <a:t>Static</a:t>
                      </a:r>
                      <a:r>
                        <a:rPr lang="en-US" sz="1200" b="0" i="0" u="none" strike="noStrike" dirty="0">
                          <a:solidFill>
                            <a:srgbClr val="3D4647"/>
                          </a:solidFill>
                          <a:effectLst/>
                          <a:latin typeface="+mn-lt"/>
                        </a:rPr>
                        <a:t> </a:t>
                      </a:r>
                      <a:r>
                        <a:rPr lang="en-US" sz="1200" b="0" i="0" u="none" strike="noStrike" kern="1200" dirty="0">
                          <a:solidFill>
                            <a:srgbClr val="000000"/>
                          </a:solidFill>
                          <a:effectLst/>
                          <a:latin typeface="+mn-lt"/>
                          <a:ea typeface="+mn-ea"/>
                          <a:cs typeface="+mn-cs"/>
                        </a:rPr>
                        <a:t>and</a:t>
                      </a:r>
                      <a:r>
                        <a:rPr lang="en-US" sz="1200" b="0" i="0" u="none" strike="noStrike" dirty="0">
                          <a:solidFill>
                            <a:srgbClr val="3D4647"/>
                          </a:solidFill>
                          <a:effectLst/>
                          <a:latin typeface="+mn-lt"/>
                        </a:rPr>
                        <a:t> </a:t>
                      </a:r>
                      <a:r>
                        <a:rPr lang="en-US" sz="1200" b="0" i="0" u="none" strike="noStrike" kern="1200" dirty="0">
                          <a:solidFill>
                            <a:srgbClr val="000000"/>
                          </a:solidFill>
                          <a:effectLst/>
                          <a:latin typeface="+mn-lt"/>
                          <a:ea typeface="+mn-ea"/>
                          <a:cs typeface="+mn-cs"/>
                        </a:rPr>
                        <a:t>Modal</a:t>
                      </a:r>
                    </a:p>
                  </a:txBody>
                  <a:tcPr marL="182880" marR="9525" marT="9525" marB="0" anchor="ctr">
                    <a:lnL w="9525" cap="flat" cmpd="sng" algn="ctr">
                      <a:no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9EAEA"/>
                    </a:solidFill>
                  </a:tcPr>
                </a:tc>
                <a:tc>
                  <a:txBody>
                    <a:bodyPr/>
                    <a:lstStyle/>
                    <a:p>
                      <a:pPr algn="ctr" rtl="0" fontAlgn="ctr"/>
                      <a:endParaRPr lang="en-US" sz="1100" b="0" i="0" u="none" strike="noStrike">
                        <a:solidFill>
                          <a:srgbClr val="3D4647"/>
                        </a:solidFill>
                        <a:effectLst/>
                        <a:latin typeface="+mn-lt"/>
                      </a:endParaRP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sz="1200" b="0" i="0" u="none" strike="noStrike" dirty="0">
                          <a:solidFill>
                            <a:srgbClr val="3D4647"/>
                          </a:solidFill>
                          <a:effectLst/>
                          <a:latin typeface="+mn-lt"/>
                        </a:rPr>
                        <a:t>✔ (Creo 10+)</a:t>
                      </a:r>
                    </a:p>
                  </a:txBody>
                  <a:tcPr marL="9525" marR="9525" marT="9525"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sz="1200" b="0" i="0" u="none" strike="noStrike" dirty="0">
                          <a:solidFill>
                            <a:srgbClr val="3D4647"/>
                          </a:solidFill>
                          <a:effectLst/>
                          <a:latin typeface="+mn-lt"/>
                        </a:rPr>
                        <a:t> </a:t>
                      </a:r>
                    </a:p>
                  </a:txBody>
                  <a:tcPr marL="9525" marR="9525" marT="9525"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sz="1200" b="0" i="0" u="none" strike="noStrike" dirty="0">
                          <a:solidFill>
                            <a:srgbClr val="3D4647"/>
                          </a:solidFill>
                          <a:effectLst/>
                          <a:latin typeface="+mn-lt"/>
                        </a:rPr>
                        <a:t>✔</a:t>
                      </a:r>
                    </a:p>
                  </a:txBody>
                  <a:tcPr marL="9525" marR="9525" marT="9525" marB="0" anchor="ctr">
                    <a:lnL w="9525" cap="flat" cmpd="sng" algn="ctr">
                      <a:solidFill>
                        <a:schemeClr val="bg1"/>
                      </a:solidFill>
                      <a:prstDash val="solid"/>
                      <a:round/>
                      <a:headEnd type="none" w="med" len="med"/>
                      <a:tailEnd type="none" w="med" len="med"/>
                    </a:lnL>
                    <a:lnR w="9525"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7"/>
                  </a:ext>
                </a:extLst>
              </a:tr>
              <a:tr h="370169">
                <a:tc>
                  <a:txBody>
                    <a:bodyPr/>
                    <a:lstStyle/>
                    <a:p>
                      <a:pPr algn="l" fontAlgn="b"/>
                      <a:r>
                        <a:rPr lang="en-US" sz="1200" b="0" i="0" u="none" strike="noStrike" dirty="0">
                          <a:solidFill>
                            <a:srgbClr val="000000"/>
                          </a:solidFill>
                          <a:effectLst/>
                          <a:latin typeface="+mn-lt"/>
                        </a:rPr>
                        <a:t>Fatigue</a:t>
                      </a:r>
                    </a:p>
                  </a:txBody>
                  <a:tcPr marL="182880" marR="9525" marT="9525" marB="0" anchor="ctr">
                    <a:lnL w="9525" cap="flat" cmpd="sng" algn="ctr">
                      <a:no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9EAEA"/>
                    </a:solidFill>
                  </a:tcPr>
                </a:tc>
                <a:tc>
                  <a:txBody>
                    <a:bodyPr/>
                    <a:lstStyle/>
                    <a:p>
                      <a:pPr algn="ctr" rtl="0" fontAlgn="ctr"/>
                      <a:endParaRPr lang="en-US" sz="1100" b="0" i="0" u="none" strike="noStrike" dirty="0">
                        <a:solidFill>
                          <a:srgbClr val="3D4647"/>
                        </a:solidFill>
                        <a:effectLst/>
                        <a:latin typeface="+mn-lt"/>
                      </a:endParaRP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sz="1200" b="0" i="0" u="none" strike="noStrike" dirty="0">
                          <a:solidFill>
                            <a:srgbClr val="3D4647"/>
                          </a:solidFill>
                          <a:effectLst/>
                          <a:latin typeface="+mn-lt"/>
                        </a:rPr>
                        <a:t>✔ (Creo 10+)</a:t>
                      </a:r>
                    </a:p>
                  </a:txBody>
                  <a:tcPr marL="9525" marR="9525" marT="9525"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r>
                        <a:rPr lang="en-US" sz="1100" b="0" i="0" u="none" strike="noStrike" dirty="0">
                          <a:solidFill>
                            <a:srgbClr val="000000"/>
                          </a:solidFill>
                          <a:effectLst/>
                          <a:latin typeface="+mn-lt"/>
                        </a:rPr>
                        <a:t> </a:t>
                      </a:r>
                    </a:p>
                  </a:txBody>
                  <a:tcPr marL="9525" marR="9525" marT="9525"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r>
                        <a:rPr lang="en-US" sz="1100" b="0" i="0" u="none" strike="noStrike" dirty="0">
                          <a:solidFill>
                            <a:srgbClr val="000000"/>
                          </a:solidFill>
                          <a:effectLst/>
                          <a:latin typeface="+mn-lt"/>
                        </a:rPr>
                        <a:t> </a:t>
                      </a:r>
                    </a:p>
                  </a:txBody>
                  <a:tcPr marL="9525" marR="9525" marT="9525" marB="0" anchor="ctr">
                    <a:lnL w="9525" cap="flat" cmpd="sng" algn="ctr">
                      <a:solidFill>
                        <a:schemeClr val="bg1"/>
                      </a:solidFill>
                      <a:prstDash val="solid"/>
                      <a:round/>
                      <a:headEnd type="none" w="med" len="med"/>
                      <a:tailEnd type="none" w="med" len="med"/>
                    </a:lnL>
                    <a:lnR w="9525"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8"/>
                  </a:ext>
                </a:extLst>
              </a:tr>
              <a:tr h="370169">
                <a:tc>
                  <a:txBody>
                    <a:bodyPr/>
                    <a:lstStyle/>
                    <a:p>
                      <a:pPr algn="l" fontAlgn="b"/>
                      <a:r>
                        <a:rPr lang="en-US" sz="1200" b="0" i="0" u="none" strike="noStrike" dirty="0">
                          <a:solidFill>
                            <a:srgbClr val="000000"/>
                          </a:solidFill>
                          <a:effectLst/>
                          <a:latin typeface="+mn-lt"/>
                        </a:rPr>
                        <a:t>Transient Structural</a:t>
                      </a:r>
                    </a:p>
                  </a:txBody>
                  <a:tcPr marL="182880" marR="9525" marT="9525" marB="0" anchor="ctr">
                    <a:lnL w="9525" cap="flat" cmpd="sng" algn="ctr">
                      <a:no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9EAEA"/>
                    </a:solidFill>
                  </a:tcPr>
                </a:tc>
                <a:tc>
                  <a:txBody>
                    <a:bodyPr/>
                    <a:lstStyle/>
                    <a:p>
                      <a:pPr algn="ctr" rtl="0" fontAlgn="ctr"/>
                      <a:endParaRPr lang="en-US" sz="1100" b="0" i="0" u="none" strike="noStrike" dirty="0">
                        <a:solidFill>
                          <a:srgbClr val="3D4647"/>
                        </a:solidFill>
                        <a:effectLst/>
                        <a:latin typeface="+mn-lt"/>
                      </a:endParaRP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sz="1200" b="0" i="0" u="none" strike="noStrike" dirty="0">
                          <a:solidFill>
                            <a:srgbClr val="3D4647"/>
                          </a:solidFill>
                          <a:effectLst/>
                          <a:latin typeface="+mn-lt"/>
                        </a:rPr>
                        <a:t>✔ (Creo 10+)</a:t>
                      </a:r>
                    </a:p>
                  </a:txBody>
                  <a:tcPr marL="9525" marR="9525" marT="9525"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r>
                        <a:rPr lang="en-US" sz="1100" b="0" i="0" u="none" strike="noStrike" dirty="0">
                          <a:solidFill>
                            <a:srgbClr val="000000"/>
                          </a:solidFill>
                          <a:effectLst/>
                          <a:latin typeface="+mn-lt"/>
                        </a:rPr>
                        <a:t> </a:t>
                      </a:r>
                    </a:p>
                  </a:txBody>
                  <a:tcPr marL="9525" marR="9525" marT="9525"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sz="1200" b="0" i="0" u="none" strike="noStrike" dirty="0">
                          <a:solidFill>
                            <a:srgbClr val="3D4647"/>
                          </a:solidFill>
                          <a:effectLst/>
                          <a:latin typeface="+mn-lt"/>
                        </a:rPr>
                        <a:t>✔</a:t>
                      </a:r>
                    </a:p>
                  </a:txBody>
                  <a:tcPr marL="9525" marR="9525" marT="9525" marB="0" anchor="ctr">
                    <a:lnL w="9525" cap="flat" cmpd="sng" algn="ctr">
                      <a:solidFill>
                        <a:schemeClr val="bg1"/>
                      </a:solidFill>
                      <a:prstDash val="solid"/>
                      <a:round/>
                      <a:headEnd type="none" w="med" len="med"/>
                      <a:tailEnd type="none" w="med" len="med"/>
                    </a:lnL>
                    <a:lnR w="9525"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9"/>
                  </a:ext>
                </a:extLst>
              </a:tr>
              <a:tr h="370169">
                <a:tc>
                  <a:txBody>
                    <a:bodyPr/>
                    <a:lstStyle/>
                    <a:p>
                      <a:pPr algn="l" fontAlgn="b"/>
                      <a:r>
                        <a:rPr lang="en-US" sz="1200" b="0" i="0" u="none" strike="noStrike" dirty="0">
                          <a:solidFill>
                            <a:srgbClr val="000000"/>
                          </a:solidFill>
                          <a:effectLst/>
                          <a:latin typeface="+mn-lt"/>
                        </a:rPr>
                        <a:t>Transient Thermal</a:t>
                      </a:r>
                    </a:p>
                  </a:txBody>
                  <a:tcPr marL="182880" marR="9525" marT="9525" marB="0" anchor="ctr">
                    <a:lnL w="9525" cap="flat" cmpd="sng" algn="ctr">
                      <a:no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9EAEA"/>
                    </a:solidFill>
                  </a:tcPr>
                </a:tc>
                <a:tc>
                  <a:txBody>
                    <a:bodyPr/>
                    <a:lstStyle/>
                    <a:p>
                      <a:pPr marL="0" marR="0" lvl="0" indent="0" algn="ctr" defTabSz="1086775" rtl="0" eaLnBrk="1" fontAlgn="ctr" latinLnBrk="0" hangingPunct="1">
                        <a:lnSpc>
                          <a:spcPct val="100000"/>
                        </a:lnSpc>
                        <a:spcBef>
                          <a:spcPts val="0"/>
                        </a:spcBef>
                        <a:spcAft>
                          <a:spcPts val="0"/>
                        </a:spcAft>
                        <a:buClrTx/>
                        <a:buSzTx/>
                        <a:buFontTx/>
                        <a:buNone/>
                        <a:tabLst/>
                        <a:defRPr/>
                      </a:pPr>
                      <a:endParaRPr lang="en-US" sz="1100" b="0" i="0" u="none" strike="noStrike" dirty="0">
                        <a:solidFill>
                          <a:srgbClr val="3D4647"/>
                        </a:solidFill>
                        <a:effectLst/>
                        <a:latin typeface="+mn-lt"/>
                      </a:endParaRPr>
                    </a:p>
                    <a:p>
                      <a:pPr algn="ctr" rtl="0" fontAlgn="ctr"/>
                      <a:endParaRPr lang="en-US" sz="1100" b="0" i="0" u="none" strike="noStrike" dirty="0">
                        <a:solidFill>
                          <a:srgbClr val="3D4647"/>
                        </a:solidFill>
                        <a:effectLst/>
                        <a:latin typeface="+mn-lt"/>
                      </a:endParaRP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1086775" rtl="0" eaLnBrk="1" fontAlgn="ctr" latinLnBrk="0" hangingPunct="1">
                        <a:lnSpc>
                          <a:spcPct val="100000"/>
                        </a:lnSpc>
                        <a:spcBef>
                          <a:spcPts val="0"/>
                        </a:spcBef>
                        <a:spcAft>
                          <a:spcPts val="0"/>
                        </a:spcAft>
                        <a:buClrTx/>
                        <a:buSzTx/>
                        <a:buFontTx/>
                        <a:buNone/>
                        <a:tabLst/>
                        <a:defRPr/>
                      </a:pPr>
                      <a:r>
                        <a:rPr lang="en-US" sz="1200" b="0" i="0" u="none" strike="noStrike" dirty="0">
                          <a:solidFill>
                            <a:srgbClr val="3D4647"/>
                          </a:solidFill>
                          <a:effectLst/>
                          <a:latin typeface="+mn-lt"/>
                        </a:rPr>
                        <a:t>✔ (Creo 10+)</a:t>
                      </a:r>
                    </a:p>
                  </a:txBody>
                  <a:tcPr marL="9525" marR="9525" marT="9525"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endParaRPr lang="en-US" sz="1100" b="0" i="0" u="none" strike="noStrike" dirty="0">
                        <a:solidFill>
                          <a:srgbClr val="000000"/>
                        </a:solidFill>
                        <a:effectLst/>
                        <a:latin typeface="+mn-lt"/>
                      </a:endParaRPr>
                    </a:p>
                  </a:txBody>
                  <a:tcPr marL="9525" marR="9525" marT="9525"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1086775" rtl="0" eaLnBrk="1" fontAlgn="ctr" latinLnBrk="0" hangingPunct="1">
                        <a:lnSpc>
                          <a:spcPct val="100000"/>
                        </a:lnSpc>
                        <a:spcBef>
                          <a:spcPts val="0"/>
                        </a:spcBef>
                        <a:spcAft>
                          <a:spcPts val="0"/>
                        </a:spcAft>
                        <a:buClrTx/>
                        <a:buSzTx/>
                        <a:buFontTx/>
                        <a:buNone/>
                        <a:tabLst/>
                        <a:defRPr/>
                      </a:pPr>
                      <a:r>
                        <a:rPr lang="en-US" sz="1200" b="0" i="0" u="none" strike="noStrike" dirty="0">
                          <a:solidFill>
                            <a:srgbClr val="3D4647"/>
                          </a:solidFill>
                          <a:effectLst/>
                          <a:latin typeface="+mn-lt"/>
                        </a:rPr>
                        <a:t>✔</a:t>
                      </a:r>
                    </a:p>
                  </a:txBody>
                  <a:tcPr marL="9525" marR="9525" marT="9525" marB="0" anchor="ctr">
                    <a:lnL w="9525" cap="flat" cmpd="sng" algn="ctr">
                      <a:solidFill>
                        <a:schemeClr val="bg1"/>
                      </a:solidFill>
                      <a:prstDash val="solid"/>
                      <a:round/>
                      <a:headEnd type="none" w="med" len="med"/>
                      <a:tailEnd type="none" w="med" len="med"/>
                    </a:lnL>
                    <a:lnR w="9525"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41884471"/>
                  </a:ext>
                </a:extLst>
              </a:tr>
              <a:tr h="370169">
                <a:tc>
                  <a:txBody>
                    <a:bodyPr/>
                    <a:lstStyle/>
                    <a:p>
                      <a:pPr algn="l" fontAlgn="b"/>
                      <a:r>
                        <a:rPr lang="en-US" sz="1200" b="0" i="0" u="none" strike="noStrike" dirty="0">
                          <a:solidFill>
                            <a:srgbClr val="000000"/>
                          </a:solidFill>
                          <a:effectLst/>
                          <a:latin typeface="+mn-lt"/>
                        </a:rPr>
                        <a:t>Random Vibration</a:t>
                      </a:r>
                    </a:p>
                  </a:txBody>
                  <a:tcPr marL="182880" marR="9525" marT="9525" marB="0" anchor="ctr">
                    <a:lnL w="9525" cap="flat" cmpd="sng" algn="ctr">
                      <a:no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9EAEA"/>
                    </a:solidFill>
                  </a:tcPr>
                </a:tc>
                <a:tc>
                  <a:txBody>
                    <a:bodyPr/>
                    <a:lstStyle/>
                    <a:p>
                      <a:pPr algn="ctr" rtl="0" fontAlgn="ctr"/>
                      <a:endParaRPr lang="en-US" sz="1100" b="0" i="0" u="none" strike="noStrike" dirty="0">
                        <a:solidFill>
                          <a:srgbClr val="3D4647"/>
                        </a:solidFill>
                        <a:effectLst/>
                        <a:latin typeface="+mn-lt"/>
                      </a:endParaRP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sz="1200" b="0" i="0" u="none" strike="noStrike" dirty="0">
                          <a:solidFill>
                            <a:srgbClr val="3D4647"/>
                          </a:solidFill>
                          <a:effectLst/>
                          <a:latin typeface="+mn-lt"/>
                        </a:rPr>
                        <a:t>✔ (Creo 10+)</a:t>
                      </a:r>
                    </a:p>
                  </a:txBody>
                  <a:tcPr marL="9525" marR="9525" marT="9525"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r>
                        <a:rPr lang="en-US" sz="1100" b="0" i="0" u="none" strike="noStrike" dirty="0">
                          <a:solidFill>
                            <a:srgbClr val="000000"/>
                          </a:solidFill>
                          <a:effectLst/>
                          <a:latin typeface="+mn-lt"/>
                        </a:rPr>
                        <a:t> </a:t>
                      </a:r>
                    </a:p>
                  </a:txBody>
                  <a:tcPr marL="9525" marR="9525" marT="9525"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sz="1200" b="0" i="0" u="none" strike="noStrike" dirty="0">
                          <a:solidFill>
                            <a:srgbClr val="3D4647"/>
                          </a:solidFill>
                          <a:effectLst/>
                          <a:latin typeface="+mn-lt"/>
                        </a:rPr>
                        <a:t>✔</a:t>
                      </a:r>
                    </a:p>
                  </a:txBody>
                  <a:tcPr marL="9525" marR="9525" marT="9525" marB="0" anchor="ctr">
                    <a:lnL w="9525" cap="flat" cmpd="sng" algn="ctr">
                      <a:solidFill>
                        <a:schemeClr val="bg1"/>
                      </a:solidFill>
                      <a:prstDash val="solid"/>
                      <a:round/>
                      <a:headEnd type="none" w="med" len="med"/>
                      <a:tailEnd type="none" w="med" len="med"/>
                    </a:lnL>
                    <a:lnR w="9525"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10"/>
                  </a:ext>
                </a:extLst>
              </a:tr>
              <a:tr h="370169">
                <a:tc>
                  <a:txBody>
                    <a:bodyPr/>
                    <a:lstStyle/>
                    <a:p>
                      <a:pPr algn="l" fontAlgn="b"/>
                      <a:r>
                        <a:rPr lang="en-US" sz="1200" b="0" i="0" u="none" strike="noStrike" dirty="0">
                          <a:solidFill>
                            <a:srgbClr val="000000"/>
                          </a:solidFill>
                          <a:effectLst/>
                          <a:latin typeface="+mn-lt"/>
                        </a:rPr>
                        <a:t>Basic </a:t>
                      </a:r>
                      <a:r>
                        <a:rPr lang="en-US" sz="1200" b="0" i="0" u="none" strike="noStrike" kern="1200" dirty="0">
                          <a:solidFill>
                            <a:srgbClr val="000000"/>
                          </a:solidFill>
                          <a:effectLst/>
                          <a:latin typeface="+mn-lt"/>
                          <a:ea typeface="+mn-ea"/>
                          <a:cs typeface="+mn-cs"/>
                        </a:rPr>
                        <a:t>Drop</a:t>
                      </a:r>
                      <a:r>
                        <a:rPr lang="en-US" sz="1200" b="0" i="0" u="none" strike="noStrike" dirty="0">
                          <a:solidFill>
                            <a:srgbClr val="000000"/>
                          </a:solidFill>
                          <a:effectLst/>
                          <a:latin typeface="+mn-lt"/>
                        </a:rPr>
                        <a:t> Test</a:t>
                      </a:r>
                    </a:p>
                  </a:txBody>
                  <a:tcPr marL="182880" marR="9525" marT="9525" marB="0" anchor="ctr">
                    <a:lnL w="9525" cap="flat" cmpd="sng" algn="ctr">
                      <a:no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9EAEA"/>
                    </a:solidFill>
                  </a:tcPr>
                </a:tc>
                <a:tc>
                  <a:txBody>
                    <a:bodyPr/>
                    <a:lstStyle/>
                    <a:p>
                      <a:pPr algn="ctr" rtl="0" fontAlgn="ctr"/>
                      <a:endParaRPr lang="en-US" sz="1100" b="0" i="0" u="none" strike="noStrike" dirty="0">
                        <a:solidFill>
                          <a:srgbClr val="3D4647"/>
                        </a:solidFill>
                        <a:effectLst/>
                        <a:latin typeface="+mn-lt"/>
                      </a:endParaRP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sz="1200" b="0" i="0" u="none" strike="noStrike" dirty="0">
                          <a:solidFill>
                            <a:srgbClr val="3D4647"/>
                          </a:solidFill>
                          <a:effectLst/>
                          <a:latin typeface="+mn-lt"/>
                        </a:rPr>
                        <a:t>✔ (Planned)</a:t>
                      </a:r>
                    </a:p>
                  </a:txBody>
                  <a:tcPr marL="9525" marR="9525" marT="9525"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r>
                        <a:rPr lang="en-US" sz="1100" b="0" i="0" u="none" strike="noStrike" dirty="0">
                          <a:solidFill>
                            <a:srgbClr val="000000"/>
                          </a:solidFill>
                          <a:effectLst/>
                          <a:latin typeface="+mn-lt"/>
                        </a:rPr>
                        <a:t> </a:t>
                      </a:r>
                    </a:p>
                  </a:txBody>
                  <a:tcPr marL="9525" marR="9525" marT="9525"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fontAlgn="b"/>
                      <a:r>
                        <a:rPr lang="en-US" sz="1100" b="0" i="0" u="none" strike="noStrike" dirty="0">
                          <a:solidFill>
                            <a:srgbClr val="000000"/>
                          </a:solidFill>
                          <a:effectLst/>
                          <a:latin typeface="+mn-lt"/>
                        </a:rPr>
                        <a:t> </a:t>
                      </a:r>
                    </a:p>
                  </a:txBody>
                  <a:tcPr marL="9525" marR="9525" marT="9525" marB="0" anchor="ctr">
                    <a:lnL w="9525" cap="flat" cmpd="sng" algn="ctr">
                      <a:solidFill>
                        <a:schemeClr val="bg1"/>
                      </a:solidFill>
                      <a:prstDash val="solid"/>
                      <a:round/>
                      <a:headEnd type="none" w="med" len="med"/>
                      <a:tailEnd type="none" w="med" len="med"/>
                    </a:lnL>
                    <a:lnR w="9525"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11"/>
                  </a:ext>
                </a:extLst>
              </a:tr>
              <a:tr h="370169">
                <a:tc>
                  <a:txBody>
                    <a:bodyPr/>
                    <a:lstStyle/>
                    <a:p>
                      <a:pPr algn="l" rtl="0" fontAlgn="b"/>
                      <a:r>
                        <a:rPr lang="en-US" sz="1200" b="0" i="0" u="none" strike="noStrike" kern="1200" dirty="0">
                          <a:solidFill>
                            <a:srgbClr val="000000"/>
                          </a:solidFill>
                          <a:effectLst/>
                          <a:latin typeface="+mn-lt"/>
                          <a:ea typeface="+mn-ea"/>
                          <a:cs typeface="+mn-cs"/>
                        </a:rPr>
                        <a:t>Dynamic</a:t>
                      </a:r>
                      <a:r>
                        <a:rPr lang="en-US" sz="1200" b="0" i="0" u="none" strike="noStrike" dirty="0">
                          <a:solidFill>
                            <a:srgbClr val="3D4647"/>
                          </a:solidFill>
                          <a:effectLst/>
                          <a:latin typeface="+mn-lt"/>
                        </a:rPr>
                        <a:t> </a:t>
                      </a:r>
                      <a:r>
                        <a:rPr lang="en-US" sz="1200" b="0" i="0" u="none" strike="noStrike" kern="1200" dirty="0">
                          <a:solidFill>
                            <a:srgbClr val="000000"/>
                          </a:solidFill>
                          <a:effectLst/>
                          <a:latin typeface="+mn-lt"/>
                          <a:ea typeface="+mn-ea"/>
                          <a:cs typeface="+mn-cs"/>
                        </a:rPr>
                        <a:t>Analysis</a:t>
                      </a:r>
                    </a:p>
                  </a:txBody>
                  <a:tcPr marL="182880" marR="9525" marT="9525" marB="0" anchor="ctr">
                    <a:lnL w="9525" cap="flat" cmpd="sng" algn="ctr">
                      <a:no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E9EAEA"/>
                    </a:solidFill>
                  </a:tcPr>
                </a:tc>
                <a:tc>
                  <a:txBody>
                    <a:bodyPr/>
                    <a:lstStyle/>
                    <a:p>
                      <a:pPr algn="ctr" rtl="0" fontAlgn="ctr"/>
                      <a:endParaRPr lang="en-US" sz="1100" b="0" i="0" u="none" strike="noStrike" dirty="0">
                        <a:solidFill>
                          <a:srgbClr val="3D4647"/>
                        </a:solidFill>
                        <a:effectLst/>
                        <a:latin typeface="+mn-lt"/>
                      </a:endParaRPr>
                    </a:p>
                  </a:txBody>
                  <a:tcPr marL="0" marR="0" marT="0"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sz="1200" b="0" i="0" u="none" strike="noStrike" dirty="0">
                          <a:solidFill>
                            <a:srgbClr val="3D4647"/>
                          </a:solidFill>
                          <a:effectLst/>
                          <a:latin typeface="+mn-lt"/>
                        </a:rPr>
                        <a:t> </a:t>
                      </a:r>
                    </a:p>
                  </a:txBody>
                  <a:tcPr marL="9525" marR="9525" marT="9525"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t"/>
                      <a:r>
                        <a:rPr lang="en-US" sz="1800" b="0" i="0" u="none" strike="noStrike" dirty="0">
                          <a:solidFill>
                            <a:srgbClr val="000000"/>
                          </a:solidFill>
                          <a:effectLst/>
                          <a:latin typeface="+mn-lt"/>
                        </a:rPr>
                        <a:t> </a:t>
                      </a:r>
                    </a:p>
                  </a:txBody>
                  <a:tcPr marL="9525" marR="9525" marT="9525" marB="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rtl="0" fontAlgn="ctr"/>
                      <a:r>
                        <a:rPr lang="en-US" sz="1200" b="0" i="0" u="none" strike="noStrike" dirty="0">
                          <a:solidFill>
                            <a:srgbClr val="3D4647"/>
                          </a:solidFill>
                          <a:effectLst/>
                          <a:latin typeface="+mn-lt"/>
                        </a:rPr>
                        <a:t>✔</a:t>
                      </a:r>
                    </a:p>
                  </a:txBody>
                  <a:tcPr marL="9525" marR="9525" marT="9525" marB="0" anchor="ctr">
                    <a:lnL w="9525" cap="flat" cmpd="sng" algn="ctr">
                      <a:solidFill>
                        <a:schemeClr val="bg1"/>
                      </a:solidFill>
                      <a:prstDash val="solid"/>
                      <a:round/>
                      <a:headEnd type="none" w="med" len="med"/>
                      <a:tailEnd type="none" w="med" len="med"/>
                    </a:lnL>
                    <a:lnR w="9525"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12"/>
                  </a:ext>
                </a:extLst>
              </a:tr>
            </a:tbl>
          </a:graphicData>
        </a:graphic>
      </p:graphicFrame>
      <p:pic>
        <p:nvPicPr>
          <p:cNvPr id="4" name="Picture 2" descr="D:\000 - CAD Sales Enablement\000 - FY16 CAD Core Plays\SmartHomeSystemIcon.png">
            <a:hlinkClick r:id="rId3" action="ppaction://hlinksldjump"/>
            <a:extLst>
              <a:ext uri="{FF2B5EF4-FFF2-40B4-BE49-F238E27FC236}">
                <a16:creationId xmlns:a16="http://schemas.microsoft.com/office/drawing/2014/main" id="{C143C185-5D50-4E4A-AA36-F9ED4BED00F6}"/>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tretch>
            <a:fillRect/>
          </a:stretch>
        </p:blipFill>
        <p:spPr bwMode="auto">
          <a:xfrm>
            <a:off x="11287745" y="670846"/>
            <a:ext cx="594300" cy="594300"/>
          </a:xfrm>
          <a:prstGeom prst="rect">
            <a:avLst/>
          </a:prstGeom>
          <a:noFill/>
          <a:ln>
            <a:noFill/>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705609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cap="none"/>
              <a:t>CREO FATIGUE ADVISOR EXTENSION  </a:t>
            </a:r>
          </a:p>
        </p:txBody>
      </p:sp>
      <p:sp>
        <p:nvSpPr>
          <p:cNvPr id="2" name="Subtitle 1"/>
          <p:cNvSpPr>
            <a:spLocks noGrp="1"/>
          </p:cNvSpPr>
          <p:nvPr>
            <p:ph type="subTitle" idx="4294967295"/>
          </p:nvPr>
        </p:nvSpPr>
        <p:spPr>
          <a:xfrm>
            <a:off x="490760" y="1208685"/>
            <a:ext cx="9538571" cy="467076"/>
          </a:xfrm>
        </p:spPr>
        <p:txBody>
          <a:bodyPr vert="horz" lIns="0" tIns="0" rIns="0" bIns="0" rtlCol="0">
            <a:noAutofit/>
          </a:bodyPr>
          <a:lstStyle/>
          <a:p>
            <a:pPr marL="0" indent="0">
              <a:buNone/>
            </a:pPr>
            <a:r>
              <a:rPr lang="en-US" sz="2000" dirty="0"/>
              <a:t>Analyze and optimize the structural integrity of part and assembly models</a:t>
            </a:r>
          </a:p>
        </p:txBody>
      </p:sp>
      <p:grpSp>
        <p:nvGrpSpPr>
          <p:cNvPr id="14" name="Group 13"/>
          <p:cNvGrpSpPr/>
          <p:nvPr/>
        </p:nvGrpSpPr>
        <p:grpSpPr>
          <a:xfrm>
            <a:off x="5883764" y="2804399"/>
            <a:ext cx="5905500" cy="1830536"/>
            <a:chOff x="914400" y="4619228"/>
            <a:chExt cx="5905500" cy="1830536"/>
          </a:xfrm>
        </p:grpSpPr>
        <p:pic>
          <p:nvPicPr>
            <p:cNvPr id="15" name="Picture 5" descr="fatigue4gif_01.gif"/>
            <p:cNvPicPr>
              <a:picLocks noChangeAspect="1"/>
            </p:cNvPicPr>
            <p:nvPr/>
          </p:nvPicPr>
          <p:blipFill>
            <a:blip r:embed="rId3" cstate="print"/>
            <a:srcRect r="56281" b="55556"/>
            <a:stretch>
              <a:fillRect/>
            </a:stretch>
          </p:blipFill>
          <p:spPr bwMode="auto">
            <a:xfrm>
              <a:off x="914400" y="4667250"/>
              <a:ext cx="1560513" cy="1200150"/>
            </a:xfrm>
            <a:prstGeom prst="rect">
              <a:avLst/>
            </a:prstGeom>
            <a:noFill/>
            <a:ln w="9525">
              <a:noFill/>
              <a:miter lim="800000"/>
              <a:headEnd/>
              <a:tailEnd/>
            </a:ln>
          </p:spPr>
        </p:pic>
        <p:pic>
          <p:nvPicPr>
            <p:cNvPr id="16" name="Picture 6" descr="fatigue4gif_01.gif"/>
            <p:cNvPicPr>
              <a:picLocks noChangeAspect="1"/>
            </p:cNvPicPr>
            <p:nvPr/>
          </p:nvPicPr>
          <p:blipFill>
            <a:blip r:embed="rId3" cstate="print"/>
            <a:srcRect l="54839" r="1613" b="55237"/>
            <a:stretch>
              <a:fillRect/>
            </a:stretch>
          </p:blipFill>
          <p:spPr bwMode="auto">
            <a:xfrm>
              <a:off x="5276850" y="4667250"/>
              <a:ext cx="1543050" cy="1200150"/>
            </a:xfrm>
            <a:prstGeom prst="rect">
              <a:avLst/>
            </a:prstGeom>
            <a:noFill/>
            <a:ln w="9525">
              <a:noFill/>
              <a:miter lim="800000"/>
              <a:headEnd/>
              <a:tailEnd/>
            </a:ln>
          </p:spPr>
        </p:pic>
        <p:pic>
          <p:nvPicPr>
            <p:cNvPr id="17" name="Picture 7" descr="fatigue4gif_01.gif"/>
            <p:cNvPicPr>
              <a:picLocks noChangeAspect="1"/>
            </p:cNvPicPr>
            <p:nvPr/>
          </p:nvPicPr>
          <p:blipFill>
            <a:blip r:embed="rId3" cstate="print"/>
            <a:srcRect t="58150" r="36000"/>
            <a:stretch>
              <a:fillRect/>
            </a:stretch>
          </p:blipFill>
          <p:spPr bwMode="auto">
            <a:xfrm>
              <a:off x="2578101" y="4619228"/>
              <a:ext cx="2425700" cy="1200150"/>
            </a:xfrm>
            <a:prstGeom prst="rect">
              <a:avLst/>
            </a:prstGeom>
            <a:noFill/>
            <a:ln w="9525">
              <a:noFill/>
              <a:miter lim="800000"/>
              <a:headEnd/>
              <a:tailEnd/>
            </a:ln>
          </p:spPr>
        </p:pic>
        <p:cxnSp>
          <p:nvCxnSpPr>
            <p:cNvPr id="18" name="Straight Arrow Connector 9"/>
            <p:cNvCxnSpPr>
              <a:cxnSpLocks noChangeShapeType="1"/>
              <a:stCxn id="21" idx="1"/>
            </p:cNvCxnSpPr>
            <p:nvPr/>
          </p:nvCxnSpPr>
          <p:spPr bwMode="auto">
            <a:xfrm flipH="1" flipV="1">
              <a:off x="1809751" y="5038924"/>
              <a:ext cx="904874" cy="1218480"/>
            </a:xfrm>
            <a:prstGeom prst="straightConnector1">
              <a:avLst/>
            </a:prstGeom>
            <a:noFill/>
            <a:ln w="25400" algn="ctr">
              <a:solidFill>
                <a:schemeClr val="accent5"/>
              </a:solidFill>
              <a:round/>
              <a:headEnd type="none" w="med" len="med"/>
              <a:tailEnd type="triangle" w="lg" len="lg"/>
            </a:ln>
            <a:effectLst>
              <a:outerShdw blurRad="50800" dist="38100" dir="2700000" algn="tl" rotWithShape="0">
                <a:prstClr val="black">
                  <a:alpha val="40000"/>
                </a:prstClr>
              </a:outerShdw>
            </a:effectLst>
          </p:spPr>
        </p:cxnSp>
        <p:cxnSp>
          <p:nvCxnSpPr>
            <p:cNvPr id="19" name="Straight Arrow Connector 13"/>
            <p:cNvCxnSpPr>
              <a:cxnSpLocks noChangeShapeType="1"/>
            </p:cNvCxnSpPr>
            <p:nvPr/>
          </p:nvCxnSpPr>
          <p:spPr bwMode="auto">
            <a:xfrm flipV="1">
              <a:off x="5019095" y="5181202"/>
              <a:ext cx="895023" cy="1038101"/>
            </a:xfrm>
            <a:prstGeom prst="straightConnector1">
              <a:avLst/>
            </a:prstGeom>
            <a:noFill/>
            <a:ln w="25400" algn="ctr">
              <a:solidFill>
                <a:schemeClr val="accent5"/>
              </a:solidFill>
              <a:round/>
              <a:headEnd type="none" w="med" len="med"/>
              <a:tailEnd type="triangle" w="lg" len="lg"/>
            </a:ln>
            <a:effectLst>
              <a:outerShdw blurRad="50800" dist="38100" dir="2700000" algn="tl" rotWithShape="0">
                <a:prstClr val="black">
                  <a:alpha val="40000"/>
                </a:prstClr>
              </a:outerShdw>
            </a:effectLst>
          </p:spPr>
        </p:cxnSp>
        <p:cxnSp>
          <p:nvCxnSpPr>
            <p:cNvPr id="20" name="Straight Arrow Connector 16"/>
            <p:cNvCxnSpPr>
              <a:cxnSpLocks noChangeShapeType="1"/>
            </p:cNvCxnSpPr>
            <p:nvPr/>
          </p:nvCxnSpPr>
          <p:spPr bwMode="auto">
            <a:xfrm flipH="1" flipV="1">
              <a:off x="3331030" y="4867275"/>
              <a:ext cx="549438" cy="1197768"/>
            </a:xfrm>
            <a:prstGeom prst="straightConnector1">
              <a:avLst/>
            </a:prstGeom>
            <a:noFill/>
            <a:ln w="25400" algn="ctr">
              <a:solidFill>
                <a:schemeClr val="accent5"/>
              </a:solidFill>
              <a:round/>
              <a:headEnd type="none" w="med" len="med"/>
              <a:tailEnd type="triangle" w="lg" len="lg"/>
            </a:ln>
            <a:effectLst>
              <a:outerShdw blurRad="50800" dist="38100" dir="2700000" algn="tl" rotWithShape="0">
                <a:prstClr val="black">
                  <a:alpha val="40000"/>
                </a:prstClr>
              </a:outerShdw>
            </a:effectLst>
          </p:spPr>
        </p:cxnSp>
        <p:sp>
          <p:nvSpPr>
            <p:cNvPr id="21" name="TextBox 19"/>
            <p:cNvSpPr txBox="1">
              <a:spLocks noChangeArrowheads="1"/>
            </p:cNvSpPr>
            <p:nvPr/>
          </p:nvSpPr>
          <p:spPr bwMode="auto">
            <a:xfrm>
              <a:off x="2714625" y="6065043"/>
              <a:ext cx="2299027" cy="384721"/>
            </a:xfrm>
            <a:prstGeom prst="rect">
              <a:avLst/>
            </a:prstGeom>
            <a:solidFill>
              <a:schemeClr val="accent5"/>
            </a:solidFill>
            <a:ln w="25400" algn="ctr">
              <a:solidFill>
                <a:schemeClr val="accent5"/>
              </a:solidFill>
              <a:round/>
              <a:headEnd type="none" w="med" len="med"/>
              <a:tailEnd type="triangle" w="lg" len="lg"/>
            </a:ln>
            <a:effectLst>
              <a:outerShdw blurRad="50800" dist="38100" dir="2700000" algn="tl" rotWithShape="0">
                <a:prstClr val="black">
                  <a:alpha val="40000"/>
                </a:prstClr>
              </a:outerShdw>
            </a:effectLst>
          </p:spPr>
          <p:txBody>
            <a:bodyPr wrap="none">
              <a:spAutoFit/>
            </a:bodyPr>
            <a:lstStyle/>
            <a:p>
              <a:r>
                <a:rPr lang="en-US" sz="1900" dirty="0">
                  <a:solidFill>
                    <a:schemeClr val="bg1"/>
                  </a:solidFill>
                </a:rPr>
                <a:t>Crack Initiation site</a:t>
              </a:r>
            </a:p>
          </p:txBody>
        </p:sp>
      </p:grpSp>
      <p:pic>
        <p:nvPicPr>
          <p:cNvPr id="23" name="Picture 2" descr="D:\000 - CAD Sales Enablement\000 - FY16 CAD Core Plays\SmartHomeSystemIcon.png">
            <a:hlinkClick r:id="rId4" action="ppaction://hlinksldjump"/>
            <a:extLst>
              <a:ext uri="{FF2B5EF4-FFF2-40B4-BE49-F238E27FC236}">
                <a16:creationId xmlns:a16="http://schemas.microsoft.com/office/drawing/2014/main" id="{D00EEB0C-342A-44D2-AF1F-4300A05FB510}"/>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tretch>
            <a:fillRect/>
          </a:stretch>
        </p:blipFill>
        <p:spPr bwMode="auto">
          <a:xfrm>
            <a:off x="11287745" y="768126"/>
            <a:ext cx="594300" cy="594300"/>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24" name="Rectangle 23">
            <a:extLst>
              <a:ext uri="{FF2B5EF4-FFF2-40B4-BE49-F238E27FC236}">
                <a16:creationId xmlns:a16="http://schemas.microsoft.com/office/drawing/2014/main" id="{DBB8289B-3BA7-4638-94BD-1796E6B5C34B}"/>
              </a:ext>
            </a:extLst>
          </p:cNvPr>
          <p:cNvSpPr/>
          <p:nvPr/>
        </p:nvSpPr>
        <p:spPr>
          <a:xfrm>
            <a:off x="499263" y="1876835"/>
            <a:ext cx="1510147" cy="727844"/>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lnSpc>
                <a:spcPct val="90000"/>
              </a:lnSpc>
              <a:spcBef>
                <a:spcPts val="800"/>
              </a:spcBef>
            </a:pPr>
            <a:r>
              <a:rPr lang="en-US" sz="1500" b="1">
                <a:solidFill>
                  <a:schemeClr val="tx1"/>
                </a:solidFill>
              </a:rPr>
              <a:t>Who Needs It?</a:t>
            </a:r>
          </a:p>
        </p:txBody>
      </p:sp>
      <p:sp>
        <p:nvSpPr>
          <p:cNvPr id="25" name="Rectangle 24">
            <a:extLst>
              <a:ext uri="{FF2B5EF4-FFF2-40B4-BE49-F238E27FC236}">
                <a16:creationId xmlns:a16="http://schemas.microsoft.com/office/drawing/2014/main" id="{C794EB67-1481-4DCC-A710-D95AA440C440}"/>
              </a:ext>
            </a:extLst>
          </p:cNvPr>
          <p:cNvSpPr/>
          <p:nvPr/>
        </p:nvSpPr>
        <p:spPr>
          <a:xfrm>
            <a:off x="2150117" y="1876835"/>
            <a:ext cx="4241405" cy="72784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dirty="0">
                <a:solidFill>
                  <a:schemeClr val="tx1"/>
                </a:solidFill>
              </a:rPr>
              <a:t>Customers that need to analyze the structural integrity of components subject to cyclical loading conditions and real world constraints</a:t>
            </a:r>
          </a:p>
        </p:txBody>
      </p:sp>
      <p:sp>
        <p:nvSpPr>
          <p:cNvPr id="26" name="Rectangle 25">
            <a:extLst>
              <a:ext uri="{FF2B5EF4-FFF2-40B4-BE49-F238E27FC236}">
                <a16:creationId xmlns:a16="http://schemas.microsoft.com/office/drawing/2014/main" id="{42159C86-7046-44FA-B365-D143A69ACAEA}"/>
              </a:ext>
            </a:extLst>
          </p:cNvPr>
          <p:cNvSpPr/>
          <p:nvPr/>
        </p:nvSpPr>
        <p:spPr>
          <a:xfrm>
            <a:off x="499263" y="2668046"/>
            <a:ext cx="1510147" cy="1144257"/>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lnSpc>
                <a:spcPct val="90000"/>
              </a:lnSpc>
              <a:spcBef>
                <a:spcPts val="800"/>
              </a:spcBef>
            </a:pPr>
            <a:r>
              <a:rPr lang="en-US" sz="1500" b="1">
                <a:solidFill>
                  <a:schemeClr val="tx1"/>
                </a:solidFill>
              </a:rPr>
              <a:t>Business Value</a:t>
            </a:r>
          </a:p>
        </p:txBody>
      </p:sp>
      <p:sp>
        <p:nvSpPr>
          <p:cNvPr id="27" name="Rectangle 26">
            <a:extLst>
              <a:ext uri="{FF2B5EF4-FFF2-40B4-BE49-F238E27FC236}">
                <a16:creationId xmlns:a16="http://schemas.microsoft.com/office/drawing/2014/main" id="{37C3F1FF-8981-4079-95D7-D9EF0EDB2F9B}"/>
              </a:ext>
            </a:extLst>
          </p:cNvPr>
          <p:cNvSpPr/>
          <p:nvPr/>
        </p:nvSpPr>
        <p:spPr>
          <a:xfrm>
            <a:off x="2150121" y="2668046"/>
            <a:ext cx="3469564" cy="11442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spAutoFit/>
          </a:bodyPr>
          <a:lstStyle/>
          <a:p>
            <a:pPr marL="174625" lvl="1" indent="-174625">
              <a:buClr>
                <a:schemeClr val="bg2"/>
              </a:buClr>
              <a:buFont typeface="Wingdings" panose="05000000000000000000" pitchFamily="2" charset="2"/>
              <a:buChar char="§"/>
            </a:pPr>
            <a:r>
              <a:rPr lang="en-US" sz="1400" dirty="0">
                <a:solidFill>
                  <a:schemeClr val="tx1"/>
                </a:solidFill>
              </a:rPr>
              <a:t>Reduce time-to-market</a:t>
            </a:r>
          </a:p>
          <a:p>
            <a:pPr marL="174625" lvl="1" indent="-174625">
              <a:buClr>
                <a:schemeClr val="bg2"/>
              </a:buClr>
              <a:buFont typeface="Wingdings" panose="05000000000000000000" pitchFamily="2" charset="2"/>
              <a:buChar char="§"/>
            </a:pPr>
            <a:r>
              <a:rPr lang="en-US" sz="1400" dirty="0">
                <a:solidFill>
                  <a:schemeClr val="tx1"/>
                </a:solidFill>
              </a:rPr>
              <a:t>Reduce product lifecycle cost</a:t>
            </a:r>
          </a:p>
          <a:p>
            <a:pPr marL="174625" lvl="1" indent="-174625">
              <a:buClr>
                <a:schemeClr val="bg2"/>
              </a:buClr>
              <a:buFont typeface="Wingdings" panose="05000000000000000000" pitchFamily="2" charset="2"/>
              <a:buChar char="§"/>
            </a:pPr>
            <a:r>
              <a:rPr lang="en-US" sz="1400" dirty="0">
                <a:solidFill>
                  <a:schemeClr val="tx1"/>
                </a:solidFill>
              </a:rPr>
              <a:t>Reduce product development cost </a:t>
            </a:r>
          </a:p>
          <a:p>
            <a:pPr marL="174625" lvl="1" indent="-174625">
              <a:buClr>
                <a:schemeClr val="bg2"/>
              </a:buClr>
              <a:buFont typeface="Wingdings" panose="05000000000000000000" pitchFamily="2" charset="2"/>
              <a:buChar char="§"/>
            </a:pPr>
            <a:r>
              <a:rPr lang="en-US" sz="1400" dirty="0">
                <a:solidFill>
                  <a:schemeClr val="tx1"/>
                </a:solidFill>
              </a:rPr>
              <a:t>Improve product quality and innovation</a:t>
            </a:r>
          </a:p>
        </p:txBody>
      </p:sp>
      <p:sp>
        <p:nvSpPr>
          <p:cNvPr id="28" name="Rectangle 27">
            <a:extLst>
              <a:ext uri="{FF2B5EF4-FFF2-40B4-BE49-F238E27FC236}">
                <a16:creationId xmlns:a16="http://schemas.microsoft.com/office/drawing/2014/main" id="{15928587-16B1-4D9D-A640-D5801CE4CFCD}"/>
              </a:ext>
            </a:extLst>
          </p:cNvPr>
          <p:cNvSpPr/>
          <p:nvPr/>
        </p:nvSpPr>
        <p:spPr>
          <a:xfrm>
            <a:off x="499263" y="3876888"/>
            <a:ext cx="1510147" cy="1464342"/>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lnSpc>
                <a:spcPct val="90000"/>
              </a:lnSpc>
              <a:spcBef>
                <a:spcPts val="800"/>
              </a:spcBef>
            </a:pPr>
            <a:r>
              <a:rPr lang="en-US" sz="1500" b="1">
                <a:solidFill>
                  <a:schemeClr val="tx1"/>
                </a:solidFill>
              </a:rPr>
              <a:t>Process Improvement</a:t>
            </a:r>
          </a:p>
        </p:txBody>
      </p:sp>
      <p:sp>
        <p:nvSpPr>
          <p:cNvPr id="29" name="Rectangle 28">
            <a:extLst>
              <a:ext uri="{FF2B5EF4-FFF2-40B4-BE49-F238E27FC236}">
                <a16:creationId xmlns:a16="http://schemas.microsoft.com/office/drawing/2014/main" id="{31E5A958-98E1-4A94-A76C-ED220FF1E769}"/>
              </a:ext>
            </a:extLst>
          </p:cNvPr>
          <p:cNvSpPr/>
          <p:nvPr/>
        </p:nvSpPr>
        <p:spPr>
          <a:xfrm>
            <a:off x="2150117" y="3876888"/>
            <a:ext cx="3469568" cy="146434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spAutoFit/>
          </a:bodyPr>
          <a:lstStyle/>
          <a:p>
            <a:pPr marL="174625" lvl="1" indent="-174625">
              <a:buClr>
                <a:schemeClr val="bg2"/>
              </a:buClr>
              <a:buFont typeface="Wingdings" panose="05000000000000000000" pitchFamily="2" charset="2"/>
              <a:buChar char="§"/>
            </a:pPr>
            <a:r>
              <a:rPr lang="en-US" sz="1400" dirty="0">
                <a:solidFill>
                  <a:schemeClr val="tx1"/>
                </a:solidFill>
              </a:rPr>
              <a:t>Analyze and understand cycle fatigue and product durability</a:t>
            </a:r>
          </a:p>
          <a:p>
            <a:pPr marL="174625" lvl="1" indent="-174625">
              <a:buClr>
                <a:schemeClr val="bg2"/>
              </a:buClr>
              <a:buFont typeface="Wingdings" panose="05000000000000000000" pitchFamily="2" charset="2"/>
              <a:buChar char="§"/>
            </a:pPr>
            <a:r>
              <a:rPr lang="en-US" sz="1400" dirty="0">
                <a:solidFill>
                  <a:schemeClr val="tx1"/>
                </a:solidFill>
              </a:rPr>
              <a:t>Accurately predict fatigue cycles and determine confidence of life</a:t>
            </a:r>
          </a:p>
          <a:p>
            <a:pPr marL="174625" lvl="1" indent="-174625">
              <a:buClr>
                <a:schemeClr val="bg2"/>
              </a:buClr>
              <a:buFont typeface="Wingdings" panose="05000000000000000000" pitchFamily="2" charset="2"/>
              <a:buChar char="§"/>
            </a:pPr>
            <a:r>
              <a:rPr lang="en-US" sz="1400" dirty="0">
                <a:solidFill>
                  <a:schemeClr val="tx1"/>
                </a:solidFill>
              </a:rPr>
              <a:t>Calculate result quantities such as life, damage and factor of safety</a:t>
            </a:r>
          </a:p>
        </p:txBody>
      </p:sp>
      <p:sp>
        <p:nvSpPr>
          <p:cNvPr id="30" name="Rectangle 29">
            <a:extLst>
              <a:ext uri="{FF2B5EF4-FFF2-40B4-BE49-F238E27FC236}">
                <a16:creationId xmlns:a16="http://schemas.microsoft.com/office/drawing/2014/main" id="{70DFBE47-1B41-45B0-A234-2A58C0E18E3B}"/>
              </a:ext>
            </a:extLst>
          </p:cNvPr>
          <p:cNvSpPr/>
          <p:nvPr/>
        </p:nvSpPr>
        <p:spPr>
          <a:xfrm>
            <a:off x="499263" y="5405815"/>
            <a:ext cx="1510147" cy="944317"/>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lnSpc>
                <a:spcPct val="90000"/>
              </a:lnSpc>
              <a:spcBef>
                <a:spcPts val="800"/>
              </a:spcBef>
            </a:pPr>
            <a:r>
              <a:rPr lang="en-US" sz="1500" b="1">
                <a:solidFill>
                  <a:schemeClr val="tx1"/>
                </a:solidFill>
              </a:rPr>
              <a:t>Technology/ Capability</a:t>
            </a:r>
          </a:p>
        </p:txBody>
      </p:sp>
      <p:sp>
        <p:nvSpPr>
          <p:cNvPr id="31" name="Rectangle 30">
            <a:extLst>
              <a:ext uri="{FF2B5EF4-FFF2-40B4-BE49-F238E27FC236}">
                <a16:creationId xmlns:a16="http://schemas.microsoft.com/office/drawing/2014/main" id="{B308617B-6DAE-4340-9BED-BD12E059C5F0}"/>
              </a:ext>
            </a:extLst>
          </p:cNvPr>
          <p:cNvSpPr/>
          <p:nvPr/>
        </p:nvSpPr>
        <p:spPr>
          <a:xfrm>
            <a:off x="2150118" y="5405815"/>
            <a:ext cx="6947562" cy="94431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spAutoFit/>
          </a:bodyPr>
          <a:lstStyle/>
          <a:p>
            <a:pPr marL="174625" lvl="1" indent="-174625">
              <a:buClr>
                <a:schemeClr val="bg2"/>
              </a:buClr>
              <a:buFont typeface="Wingdings" panose="05000000000000000000" pitchFamily="2" charset="2"/>
              <a:buChar char="§"/>
            </a:pPr>
            <a:r>
              <a:rPr lang="en-US" sz="1400" dirty="0">
                <a:solidFill>
                  <a:schemeClr val="tx1"/>
                </a:solidFill>
              </a:rPr>
              <a:t>Accurately models surface finish and treatment effects </a:t>
            </a:r>
          </a:p>
          <a:p>
            <a:pPr marL="174625" lvl="1" indent="-174625">
              <a:buClr>
                <a:schemeClr val="bg2"/>
              </a:buClr>
              <a:buFont typeface="Wingdings" panose="05000000000000000000" pitchFamily="2" charset="2"/>
              <a:buChar char="§"/>
            </a:pPr>
            <a:r>
              <a:rPr lang="en-US" sz="1400" dirty="0">
                <a:solidFill>
                  <a:schemeClr val="tx1"/>
                </a:solidFill>
              </a:rPr>
              <a:t>Analyze the impact of  repeated loading and unloading cycles</a:t>
            </a:r>
          </a:p>
          <a:p>
            <a:pPr marL="174625" lvl="1" indent="-174625">
              <a:buClr>
                <a:schemeClr val="bg2"/>
              </a:buClr>
              <a:buFont typeface="Wingdings" panose="05000000000000000000" pitchFamily="2" charset="2"/>
              <a:buChar char="§"/>
            </a:pPr>
            <a:r>
              <a:rPr lang="en-US" sz="1400" dirty="0">
                <a:solidFill>
                  <a:schemeClr val="tx1"/>
                </a:solidFill>
              </a:rPr>
              <a:t>Predict how surface finish and treatment affect design durability</a:t>
            </a:r>
          </a:p>
          <a:p>
            <a:pPr marL="174625" lvl="1" indent="-174625">
              <a:buClr>
                <a:schemeClr val="bg2"/>
              </a:buClr>
              <a:buFont typeface="Wingdings" panose="05000000000000000000" pitchFamily="2" charset="2"/>
              <a:buChar char="§"/>
            </a:pPr>
            <a:r>
              <a:rPr lang="en-US" sz="1400" dirty="0">
                <a:solidFill>
                  <a:schemeClr val="tx1"/>
                </a:solidFill>
              </a:rPr>
              <a:t>Determine the number of load cycles components can sustain before failure</a:t>
            </a:r>
          </a:p>
        </p:txBody>
      </p:sp>
      <p:cxnSp>
        <p:nvCxnSpPr>
          <p:cNvPr id="32" name="Straight Connector 31">
            <a:extLst>
              <a:ext uri="{FF2B5EF4-FFF2-40B4-BE49-F238E27FC236}">
                <a16:creationId xmlns:a16="http://schemas.microsoft.com/office/drawing/2014/main" id="{6277A52D-E649-44E3-96FB-8AC3F78D4210}"/>
              </a:ext>
            </a:extLst>
          </p:cNvPr>
          <p:cNvCxnSpPr>
            <a:cxnSpLocks/>
          </p:cNvCxnSpPr>
          <p:nvPr/>
        </p:nvCxnSpPr>
        <p:spPr>
          <a:xfrm>
            <a:off x="2106395" y="1876838"/>
            <a:ext cx="0" cy="727844"/>
          </a:xfrm>
          <a:prstGeom prst="line">
            <a:avLst/>
          </a:prstGeom>
          <a:ln w="381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975EA088-FAF9-46A1-9C71-524D720A7939}"/>
              </a:ext>
            </a:extLst>
          </p:cNvPr>
          <p:cNvCxnSpPr>
            <a:cxnSpLocks/>
          </p:cNvCxnSpPr>
          <p:nvPr/>
        </p:nvCxnSpPr>
        <p:spPr>
          <a:xfrm>
            <a:off x="2106395" y="2668046"/>
            <a:ext cx="0" cy="1144257"/>
          </a:xfrm>
          <a:prstGeom prst="line">
            <a:avLst/>
          </a:prstGeom>
          <a:ln w="381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4F72D84C-D640-4C52-84B4-3C5E134962BE}"/>
              </a:ext>
            </a:extLst>
          </p:cNvPr>
          <p:cNvCxnSpPr>
            <a:cxnSpLocks/>
          </p:cNvCxnSpPr>
          <p:nvPr/>
        </p:nvCxnSpPr>
        <p:spPr>
          <a:xfrm>
            <a:off x="2106395" y="3876885"/>
            <a:ext cx="0" cy="1464342"/>
          </a:xfrm>
          <a:prstGeom prst="line">
            <a:avLst/>
          </a:prstGeom>
          <a:ln w="381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4338D03F-8300-4CD0-9D62-6B0291A9B5CD}"/>
              </a:ext>
            </a:extLst>
          </p:cNvPr>
          <p:cNvCxnSpPr>
            <a:cxnSpLocks/>
          </p:cNvCxnSpPr>
          <p:nvPr/>
        </p:nvCxnSpPr>
        <p:spPr>
          <a:xfrm>
            <a:off x="2106395" y="5405814"/>
            <a:ext cx="0" cy="944317"/>
          </a:xfrm>
          <a:prstGeom prst="line">
            <a:avLst/>
          </a:prstGeom>
          <a:ln w="38100">
            <a:solidFill>
              <a:schemeClr val="bg2"/>
            </a:solidFill>
          </a:ln>
        </p:spPr>
        <p:style>
          <a:lnRef idx="1">
            <a:schemeClr val="accent1"/>
          </a:lnRef>
          <a:fillRef idx="0">
            <a:schemeClr val="accent1"/>
          </a:fillRef>
          <a:effectRef idx="0">
            <a:schemeClr val="accent1"/>
          </a:effectRef>
          <a:fontRef idx="minor">
            <a:schemeClr val="tx1"/>
          </a:fontRef>
        </p:style>
      </p:cxnSp>
      <p:sp>
        <p:nvSpPr>
          <p:cNvPr id="4" name="Rectangle: Rounded Corners 3">
            <a:extLst>
              <a:ext uri="{FF2B5EF4-FFF2-40B4-BE49-F238E27FC236}">
                <a16:creationId xmlns:a16="http://schemas.microsoft.com/office/drawing/2014/main" id="{7A80F909-94A6-479C-A73F-7C3B2E88747F}"/>
              </a:ext>
            </a:extLst>
          </p:cNvPr>
          <p:cNvSpPr/>
          <p:nvPr/>
        </p:nvSpPr>
        <p:spPr>
          <a:xfrm>
            <a:off x="8452757" y="2804399"/>
            <a:ext cx="190500" cy="45719"/>
          </a:xfrm>
          <a:prstGeom prst="roundRect">
            <a:avLst/>
          </a:prstGeom>
          <a:solidFill>
            <a:schemeClr val="bg1"/>
          </a:solidFill>
          <a:ln w="285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90000"/>
              </a:lnSpc>
              <a:spcBef>
                <a:spcPts val="800"/>
              </a:spcBef>
            </a:pPr>
            <a:endParaRPr lang="en-US" dirty="0" err="1">
              <a:solidFill>
                <a:schemeClr val="bg1"/>
              </a:solidFill>
            </a:endParaRPr>
          </a:p>
        </p:txBody>
      </p:sp>
    </p:spTree>
    <p:extLst>
      <p:ext uri="{BB962C8B-B14F-4D97-AF65-F5344CB8AC3E}">
        <p14:creationId xmlns:p14="http://schemas.microsoft.com/office/powerpoint/2010/main" val="5759562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BFE42A94-3F44-46D7-87A5-1C5E544D0088}"/>
              </a:ext>
            </a:extLst>
          </p:cNvPr>
          <p:cNvPicPr>
            <a:picLocks noChangeAspect="1"/>
          </p:cNvPicPr>
          <p:nvPr/>
        </p:nvPicPr>
        <p:blipFill>
          <a:blip r:embed="rId3"/>
          <a:stretch>
            <a:fillRect/>
          </a:stretch>
        </p:blipFill>
        <p:spPr>
          <a:xfrm>
            <a:off x="5912664" y="904044"/>
            <a:ext cx="6279336" cy="5232780"/>
          </a:xfrm>
          <a:prstGeom prst="rect">
            <a:avLst/>
          </a:prstGeom>
        </p:spPr>
      </p:pic>
      <p:sp>
        <p:nvSpPr>
          <p:cNvPr id="5" name="Title 4"/>
          <p:cNvSpPr>
            <a:spLocks noGrp="1"/>
          </p:cNvSpPr>
          <p:nvPr>
            <p:ph type="title"/>
          </p:nvPr>
        </p:nvSpPr>
        <p:spPr/>
        <p:txBody>
          <a:bodyPr/>
          <a:lstStyle/>
          <a:p>
            <a:r>
              <a:rPr lang="en-US" cap="none"/>
              <a:t>CREO FLOW ANALYSIS EXTENSION </a:t>
            </a:r>
          </a:p>
        </p:txBody>
      </p:sp>
      <p:sp>
        <p:nvSpPr>
          <p:cNvPr id="2" name="Subtitle 1"/>
          <p:cNvSpPr>
            <a:spLocks noGrp="1"/>
          </p:cNvSpPr>
          <p:nvPr>
            <p:ph type="subTitle" idx="4294967295"/>
          </p:nvPr>
        </p:nvSpPr>
        <p:spPr>
          <a:xfrm>
            <a:off x="559339" y="1195705"/>
            <a:ext cx="10494737" cy="467076"/>
          </a:xfrm>
        </p:spPr>
        <p:txBody>
          <a:bodyPr vert="horz" lIns="0" tIns="0" rIns="0" bIns="0" rtlCol="0">
            <a:noAutofit/>
          </a:bodyPr>
          <a:lstStyle/>
          <a:p>
            <a:pPr marL="0" indent="0">
              <a:buNone/>
            </a:pPr>
            <a:r>
              <a:rPr lang="en-US" sz="2000" dirty="0"/>
              <a:t>Analyze and optimize fluid and gas flow to improve product performance and function </a:t>
            </a:r>
          </a:p>
        </p:txBody>
      </p:sp>
      <p:sp>
        <p:nvSpPr>
          <p:cNvPr id="3" name="Right Brace 2">
            <a:extLst>
              <a:ext uri="{FF2B5EF4-FFF2-40B4-BE49-F238E27FC236}">
                <a16:creationId xmlns:a16="http://schemas.microsoft.com/office/drawing/2014/main" id="{8BB1079C-29BB-4C32-829D-A46A380783B0}"/>
              </a:ext>
            </a:extLst>
          </p:cNvPr>
          <p:cNvSpPr/>
          <p:nvPr/>
        </p:nvSpPr>
        <p:spPr>
          <a:xfrm>
            <a:off x="4498908" y="4821286"/>
            <a:ext cx="399107" cy="1329002"/>
          </a:xfrm>
          <a:prstGeom prst="rightBrace">
            <a:avLst/>
          </a:prstGeom>
          <a:ln w="9525">
            <a:solidFill>
              <a:schemeClr val="bg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4" name="TextBox 3">
            <a:extLst>
              <a:ext uri="{FF2B5EF4-FFF2-40B4-BE49-F238E27FC236}">
                <a16:creationId xmlns:a16="http://schemas.microsoft.com/office/drawing/2014/main" id="{43FBD2AC-B288-45D5-AF7D-E569AE804147}"/>
              </a:ext>
            </a:extLst>
          </p:cNvPr>
          <p:cNvSpPr txBox="1"/>
          <p:nvPr/>
        </p:nvSpPr>
        <p:spPr>
          <a:xfrm>
            <a:off x="5082128" y="4887348"/>
            <a:ext cx="4696977" cy="1723549"/>
          </a:xfrm>
          <a:prstGeom prst="rect">
            <a:avLst/>
          </a:prstGeom>
          <a:noFill/>
        </p:spPr>
        <p:txBody>
          <a:bodyPr wrap="square" lIns="0" tIns="0" rIns="0" bIns="0" rtlCol="0">
            <a:spAutoFit/>
          </a:bodyPr>
          <a:lstStyle/>
          <a:p>
            <a:r>
              <a:rPr lang="en-US" sz="1400" b="1" dirty="0"/>
              <a:t>3 Packages </a:t>
            </a:r>
            <a:r>
              <a:rPr lang="en-US" sz="1400" dirty="0"/>
              <a:t>to address customer need</a:t>
            </a:r>
          </a:p>
          <a:p>
            <a:r>
              <a:rPr lang="en-US" sz="1400" dirty="0"/>
              <a:t>− See next page for capability comparison</a:t>
            </a:r>
            <a:br>
              <a:rPr lang="en-US" sz="1400" dirty="0"/>
            </a:br>
            <a:endParaRPr lang="en-US" sz="1400" dirty="0"/>
          </a:p>
          <a:p>
            <a:r>
              <a:rPr lang="en-US" sz="1400" dirty="0"/>
              <a:t>Creo Flow Analysis extension requires the installation of Creo 4.0 Maintenance release (M040) or later as well as the installation of Creo Advanced Assembly Ext.</a:t>
            </a:r>
          </a:p>
          <a:p>
            <a:r>
              <a:rPr lang="en-US" sz="1400" b="1" dirty="0"/>
              <a:t>The requirement to have AAX was resolved with Creo 4.0 M050.</a:t>
            </a:r>
          </a:p>
        </p:txBody>
      </p:sp>
      <p:pic>
        <p:nvPicPr>
          <p:cNvPr id="9" name="Picture 2" descr="D:\000 - CAD Sales Enablement\000 - FY16 CAD Core Plays\SmartHomeSystemIcon.png">
            <a:hlinkClick r:id="rId4" action="ppaction://hlinksldjump"/>
            <a:extLst>
              <a:ext uri="{FF2B5EF4-FFF2-40B4-BE49-F238E27FC236}">
                <a16:creationId xmlns:a16="http://schemas.microsoft.com/office/drawing/2014/main" id="{89106B18-6854-415A-9A40-820B19C5A7C2}"/>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tretch>
            <a:fillRect/>
          </a:stretch>
        </p:blipFill>
        <p:spPr bwMode="auto">
          <a:xfrm>
            <a:off x="11287745" y="768126"/>
            <a:ext cx="594300" cy="594300"/>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10" name="Rectangle 9">
            <a:extLst>
              <a:ext uri="{FF2B5EF4-FFF2-40B4-BE49-F238E27FC236}">
                <a16:creationId xmlns:a16="http://schemas.microsoft.com/office/drawing/2014/main" id="{752A4472-FFA0-4168-AD60-A998029DF9E9}"/>
              </a:ext>
            </a:extLst>
          </p:cNvPr>
          <p:cNvSpPr/>
          <p:nvPr/>
        </p:nvSpPr>
        <p:spPr>
          <a:xfrm>
            <a:off x="495300" y="1879303"/>
            <a:ext cx="1510147" cy="715617"/>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lnSpc>
                <a:spcPct val="90000"/>
              </a:lnSpc>
              <a:spcBef>
                <a:spcPts val="800"/>
              </a:spcBef>
            </a:pPr>
            <a:r>
              <a:rPr lang="en-US" sz="1500" b="1">
                <a:solidFill>
                  <a:schemeClr val="tx1"/>
                </a:solidFill>
              </a:rPr>
              <a:t>Who Needs It?</a:t>
            </a:r>
          </a:p>
        </p:txBody>
      </p:sp>
      <p:sp>
        <p:nvSpPr>
          <p:cNvPr id="11" name="Rectangle 10">
            <a:extLst>
              <a:ext uri="{FF2B5EF4-FFF2-40B4-BE49-F238E27FC236}">
                <a16:creationId xmlns:a16="http://schemas.microsoft.com/office/drawing/2014/main" id="{FB9B1C86-48E6-4C97-B000-61F358C11A9D}"/>
              </a:ext>
            </a:extLst>
          </p:cNvPr>
          <p:cNvSpPr/>
          <p:nvPr/>
        </p:nvSpPr>
        <p:spPr>
          <a:xfrm>
            <a:off x="2146155" y="1879303"/>
            <a:ext cx="6962990" cy="71561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a:solidFill>
                  <a:schemeClr val="tx1"/>
                </a:solidFill>
              </a:rPr>
              <a:t>Customers that need to analyze computational fluid dynamics (CFD) to understand and improve the functional performance and quality of products</a:t>
            </a:r>
          </a:p>
        </p:txBody>
      </p:sp>
      <p:sp>
        <p:nvSpPr>
          <p:cNvPr id="12" name="Rectangle 11">
            <a:extLst>
              <a:ext uri="{FF2B5EF4-FFF2-40B4-BE49-F238E27FC236}">
                <a16:creationId xmlns:a16="http://schemas.microsoft.com/office/drawing/2014/main" id="{6482CE58-3A60-426A-9359-FCFB611914B3}"/>
              </a:ext>
            </a:extLst>
          </p:cNvPr>
          <p:cNvSpPr/>
          <p:nvPr/>
        </p:nvSpPr>
        <p:spPr>
          <a:xfrm>
            <a:off x="495300" y="2663246"/>
            <a:ext cx="1510147" cy="955295"/>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lnSpc>
                <a:spcPct val="90000"/>
              </a:lnSpc>
              <a:spcBef>
                <a:spcPts val="800"/>
              </a:spcBef>
            </a:pPr>
            <a:r>
              <a:rPr lang="en-US" sz="1500" b="1">
                <a:solidFill>
                  <a:schemeClr val="tx1"/>
                </a:solidFill>
              </a:rPr>
              <a:t>Business Value</a:t>
            </a:r>
          </a:p>
        </p:txBody>
      </p:sp>
      <p:sp>
        <p:nvSpPr>
          <p:cNvPr id="14" name="Rectangle 13">
            <a:extLst>
              <a:ext uri="{FF2B5EF4-FFF2-40B4-BE49-F238E27FC236}">
                <a16:creationId xmlns:a16="http://schemas.microsoft.com/office/drawing/2014/main" id="{9763B7DB-73D6-4BB4-BDF5-67FCDEA7B0BB}"/>
              </a:ext>
            </a:extLst>
          </p:cNvPr>
          <p:cNvSpPr/>
          <p:nvPr/>
        </p:nvSpPr>
        <p:spPr>
          <a:xfrm>
            <a:off x="2146157" y="2663246"/>
            <a:ext cx="3958689" cy="95529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spAutoFit/>
          </a:bodyPr>
          <a:lstStyle/>
          <a:p>
            <a:pPr marL="174625" lvl="1" indent="-174625">
              <a:buClr>
                <a:schemeClr val="bg2"/>
              </a:buClr>
              <a:buFont typeface="Wingdings" panose="05000000000000000000" pitchFamily="2" charset="2"/>
              <a:buChar char="§"/>
            </a:pPr>
            <a:r>
              <a:rPr lang="en-US" sz="1400" dirty="0">
                <a:solidFill>
                  <a:schemeClr val="tx1"/>
                </a:solidFill>
              </a:rPr>
              <a:t>Reduce time-to-market</a:t>
            </a:r>
          </a:p>
          <a:p>
            <a:pPr marL="174625" lvl="1" indent="-174625">
              <a:buClr>
                <a:schemeClr val="bg2"/>
              </a:buClr>
              <a:buFont typeface="Wingdings" panose="05000000000000000000" pitchFamily="2" charset="2"/>
              <a:buChar char="§"/>
            </a:pPr>
            <a:r>
              <a:rPr lang="en-US" sz="1400" dirty="0">
                <a:solidFill>
                  <a:schemeClr val="tx1"/>
                </a:solidFill>
              </a:rPr>
              <a:t>Reduce product lifecycle cost</a:t>
            </a:r>
          </a:p>
          <a:p>
            <a:pPr marL="174625" lvl="1" indent="-174625">
              <a:buClr>
                <a:schemeClr val="bg2"/>
              </a:buClr>
              <a:buFont typeface="Wingdings" panose="05000000000000000000" pitchFamily="2" charset="2"/>
              <a:buChar char="§"/>
            </a:pPr>
            <a:r>
              <a:rPr lang="en-US" sz="1400" dirty="0">
                <a:solidFill>
                  <a:schemeClr val="tx1"/>
                </a:solidFill>
              </a:rPr>
              <a:t>Reduce product development cost </a:t>
            </a:r>
          </a:p>
          <a:p>
            <a:pPr marL="174625" lvl="1" indent="-174625">
              <a:buClr>
                <a:schemeClr val="bg2"/>
              </a:buClr>
              <a:buFont typeface="Wingdings" panose="05000000000000000000" pitchFamily="2" charset="2"/>
              <a:buChar char="§"/>
            </a:pPr>
            <a:r>
              <a:rPr lang="en-US" sz="1400" dirty="0">
                <a:solidFill>
                  <a:schemeClr val="tx1"/>
                </a:solidFill>
              </a:rPr>
              <a:t>Improve product quality and innovation</a:t>
            </a:r>
          </a:p>
        </p:txBody>
      </p:sp>
      <p:sp>
        <p:nvSpPr>
          <p:cNvPr id="15" name="Rectangle 14">
            <a:extLst>
              <a:ext uri="{FF2B5EF4-FFF2-40B4-BE49-F238E27FC236}">
                <a16:creationId xmlns:a16="http://schemas.microsoft.com/office/drawing/2014/main" id="{36F15075-30DC-4D96-8BAE-8203B018594E}"/>
              </a:ext>
            </a:extLst>
          </p:cNvPr>
          <p:cNvSpPr/>
          <p:nvPr/>
        </p:nvSpPr>
        <p:spPr>
          <a:xfrm>
            <a:off x="495300" y="3702534"/>
            <a:ext cx="1510147" cy="938074"/>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lnSpc>
                <a:spcPct val="90000"/>
              </a:lnSpc>
              <a:spcBef>
                <a:spcPts val="800"/>
              </a:spcBef>
            </a:pPr>
            <a:r>
              <a:rPr lang="en-US" sz="1500" b="1">
                <a:solidFill>
                  <a:schemeClr val="tx1"/>
                </a:solidFill>
              </a:rPr>
              <a:t>Process Improvement</a:t>
            </a:r>
          </a:p>
        </p:txBody>
      </p:sp>
      <p:sp>
        <p:nvSpPr>
          <p:cNvPr id="16" name="Rectangle 15">
            <a:extLst>
              <a:ext uri="{FF2B5EF4-FFF2-40B4-BE49-F238E27FC236}">
                <a16:creationId xmlns:a16="http://schemas.microsoft.com/office/drawing/2014/main" id="{FF8DC356-D3FA-4336-A6AF-E952CFFF7FE2}"/>
              </a:ext>
            </a:extLst>
          </p:cNvPr>
          <p:cNvSpPr/>
          <p:nvPr/>
        </p:nvSpPr>
        <p:spPr>
          <a:xfrm>
            <a:off x="2146154" y="3702534"/>
            <a:ext cx="6962991" cy="93807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169863" lvl="1" indent="-169863">
              <a:buClr>
                <a:schemeClr val="bg2"/>
              </a:buClr>
              <a:buFont typeface="Wingdings" panose="05000000000000000000" pitchFamily="2" charset="2"/>
              <a:buChar char="§"/>
            </a:pPr>
            <a:r>
              <a:rPr lang="en-US" sz="1400" dirty="0">
                <a:solidFill>
                  <a:srgbClr val="3D4647"/>
                </a:solidFill>
                <a:latin typeface="PTCRaleway" panose="020B0503030101060003" pitchFamily="34" charset="0"/>
              </a:rPr>
              <a:t>Analyze computational fluid dynamics (CFD) to improve product performance and function</a:t>
            </a:r>
          </a:p>
          <a:p>
            <a:pPr marL="344488" lvl="2" indent="-157163">
              <a:buSzPct val="90000"/>
              <a:buBlip>
                <a:blip r:embed="rId6"/>
              </a:buBlip>
            </a:pPr>
            <a:r>
              <a:rPr lang="en-US" sz="1400" dirty="0">
                <a:solidFill>
                  <a:srgbClr val="3D4647"/>
                </a:solidFill>
                <a:latin typeface="PTCRaleway" panose="020B0503030101060003" pitchFamily="34" charset="0"/>
              </a:rPr>
              <a:t>CFD model preparation (one step creation of solid and fluid domains)</a:t>
            </a:r>
          </a:p>
          <a:p>
            <a:pPr marL="344488" lvl="2" indent="-157163">
              <a:buSzPct val="90000"/>
              <a:buBlip>
                <a:blip r:embed="rId6"/>
              </a:buBlip>
            </a:pPr>
            <a:r>
              <a:rPr lang="en-US" sz="1400" dirty="0">
                <a:solidFill>
                  <a:srgbClr val="3D4647"/>
                </a:solidFill>
                <a:latin typeface="PTCRaleway" panose="020B0503030101060003" pitchFamily="34" charset="0"/>
              </a:rPr>
              <a:t>CFD model analysis (calculation speed and accuracy)</a:t>
            </a:r>
          </a:p>
        </p:txBody>
      </p:sp>
      <p:sp>
        <p:nvSpPr>
          <p:cNvPr id="17" name="Rectangle 16">
            <a:extLst>
              <a:ext uri="{FF2B5EF4-FFF2-40B4-BE49-F238E27FC236}">
                <a16:creationId xmlns:a16="http://schemas.microsoft.com/office/drawing/2014/main" id="{DA17AC9A-5BB5-4A28-91A0-5DF8322E5624}"/>
              </a:ext>
            </a:extLst>
          </p:cNvPr>
          <p:cNvSpPr/>
          <p:nvPr/>
        </p:nvSpPr>
        <p:spPr>
          <a:xfrm>
            <a:off x="495300" y="4724601"/>
            <a:ext cx="1510147" cy="1424424"/>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lnSpc>
                <a:spcPct val="90000"/>
              </a:lnSpc>
              <a:spcBef>
                <a:spcPts val="800"/>
              </a:spcBef>
            </a:pPr>
            <a:r>
              <a:rPr lang="en-US" sz="1500" b="1">
                <a:solidFill>
                  <a:schemeClr val="tx1"/>
                </a:solidFill>
              </a:rPr>
              <a:t>Technology/ Capability</a:t>
            </a:r>
          </a:p>
        </p:txBody>
      </p:sp>
      <p:sp>
        <p:nvSpPr>
          <p:cNvPr id="18" name="Rectangle 17">
            <a:extLst>
              <a:ext uri="{FF2B5EF4-FFF2-40B4-BE49-F238E27FC236}">
                <a16:creationId xmlns:a16="http://schemas.microsoft.com/office/drawing/2014/main" id="{7ED7FDE2-E79F-4B2E-84E3-46AE6CBDD977}"/>
              </a:ext>
            </a:extLst>
          </p:cNvPr>
          <p:cNvSpPr/>
          <p:nvPr/>
        </p:nvSpPr>
        <p:spPr>
          <a:xfrm>
            <a:off x="2146155" y="4724601"/>
            <a:ext cx="2540709" cy="142442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spAutoFit/>
          </a:bodyPr>
          <a:lstStyle/>
          <a:p>
            <a:pPr marL="174625" lvl="1" indent="-174625">
              <a:buClr>
                <a:schemeClr val="bg2"/>
              </a:buClr>
              <a:buFont typeface="Wingdings" panose="05000000000000000000" pitchFamily="2" charset="2"/>
              <a:buChar char="§"/>
            </a:pPr>
            <a:r>
              <a:rPr lang="en-US" sz="1400" dirty="0">
                <a:solidFill>
                  <a:schemeClr val="tx1"/>
                </a:solidFill>
              </a:rPr>
              <a:t>Calculate internal and external flows</a:t>
            </a:r>
          </a:p>
          <a:p>
            <a:pPr marL="174625" lvl="1" indent="-174625">
              <a:buClr>
                <a:schemeClr val="bg2"/>
              </a:buClr>
              <a:buFont typeface="Wingdings" panose="05000000000000000000" pitchFamily="2" charset="2"/>
              <a:buChar char="§"/>
            </a:pPr>
            <a:r>
              <a:rPr lang="en-US" sz="1400" dirty="0">
                <a:solidFill>
                  <a:schemeClr val="tx1"/>
                </a:solidFill>
              </a:rPr>
              <a:t>Animate flow results in real-time</a:t>
            </a:r>
          </a:p>
          <a:p>
            <a:pPr marL="174625" lvl="1" indent="-174625">
              <a:buClr>
                <a:schemeClr val="bg2"/>
              </a:buClr>
              <a:buFont typeface="Wingdings" panose="05000000000000000000" pitchFamily="2" charset="2"/>
              <a:buChar char="§"/>
            </a:pPr>
            <a:r>
              <a:rPr lang="en-US" sz="1400" dirty="0">
                <a:solidFill>
                  <a:schemeClr val="tx1"/>
                </a:solidFill>
              </a:rPr>
              <a:t>Heat transfer analysis</a:t>
            </a:r>
          </a:p>
          <a:p>
            <a:pPr marL="174625" lvl="1" indent="-174625">
              <a:buClr>
                <a:schemeClr val="bg2"/>
              </a:buClr>
              <a:buFont typeface="Wingdings" panose="05000000000000000000" pitchFamily="2" charset="2"/>
              <a:buChar char="§"/>
            </a:pPr>
            <a:r>
              <a:rPr lang="en-US" sz="1400" dirty="0">
                <a:solidFill>
                  <a:schemeClr val="tx1"/>
                </a:solidFill>
              </a:rPr>
              <a:t>Turbulence analysis</a:t>
            </a:r>
          </a:p>
        </p:txBody>
      </p:sp>
      <p:cxnSp>
        <p:nvCxnSpPr>
          <p:cNvPr id="19" name="Straight Connector 18">
            <a:extLst>
              <a:ext uri="{FF2B5EF4-FFF2-40B4-BE49-F238E27FC236}">
                <a16:creationId xmlns:a16="http://schemas.microsoft.com/office/drawing/2014/main" id="{A8EC7C31-6A42-4162-BAE3-8455B0ECC89F}"/>
              </a:ext>
            </a:extLst>
          </p:cNvPr>
          <p:cNvCxnSpPr>
            <a:cxnSpLocks/>
          </p:cNvCxnSpPr>
          <p:nvPr/>
        </p:nvCxnSpPr>
        <p:spPr>
          <a:xfrm>
            <a:off x="2102432" y="1879305"/>
            <a:ext cx="0" cy="715617"/>
          </a:xfrm>
          <a:prstGeom prst="line">
            <a:avLst/>
          </a:prstGeom>
          <a:ln w="381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458C5FE-4934-4147-8CB1-83EA0A1C7823}"/>
              </a:ext>
            </a:extLst>
          </p:cNvPr>
          <p:cNvCxnSpPr>
            <a:cxnSpLocks/>
          </p:cNvCxnSpPr>
          <p:nvPr/>
        </p:nvCxnSpPr>
        <p:spPr>
          <a:xfrm>
            <a:off x="2102432" y="2663245"/>
            <a:ext cx="0" cy="955295"/>
          </a:xfrm>
          <a:prstGeom prst="line">
            <a:avLst/>
          </a:prstGeom>
          <a:ln w="381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9A721C1F-64E2-400B-9473-DE778CD6ED2D}"/>
              </a:ext>
            </a:extLst>
          </p:cNvPr>
          <p:cNvCxnSpPr>
            <a:cxnSpLocks/>
          </p:cNvCxnSpPr>
          <p:nvPr/>
        </p:nvCxnSpPr>
        <p:spPr>
          <a:xfrm>
            <a:off x="2102432" y="3702531"/>
            <a:ext cx="0" cy="938074"/>
          </a:xfrm>
          <a:prstGeom prst="line">
            <a:avLst/>
          </a:prstGeom>
          <a:ln w="381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774AB4F2-C2B9-4F53-B17A-DF0CC2D6374F}"/>
              </a:ext>
            </a:extLst>
          </p:cNvPr>
          <p:cNvCxnSpPr>
            <a:cxnSpLocks/>
          </p:cNvCxnSpPr>
          <p:nvPr/>
        </p:nvCxnSpPr>
        <p:spPr>
          <a:xfrm>
            <a:off x="2102432" y="4724599"/>
            <a:ext cx="0" cy="1424424"/>
          </a:xfrm>
          <a:prstGeom prst="line">
            <a:avLst/>
          </a:prstGeom>
          <a:ln w="38100">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726779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Content Placeholder 6">
            <a:extLst>
              <a:ext uri="{FF2B5EF4-FFF2-40B4-BE49-F238E27FC236}">
                <a16:creationId xmlns:a16="http://schemas.microsoft.com/office/drawing/2014/main" id="{2A3B3914-05EB-4FC6-9A6C-5211A6EE97E2}"/>
              </a:ext>
            </a:extLst>
          </p:cNvPr>
          <p:cNvGraphicFramePr>
            <a:graphicFrameLocks/>
          </p:cNvGraphicFramePr>
          <p:nvPr>
            <p:extLst>
              <p:ext uri="{D42A27DB-BD31-4B8C-83A1-F6EECF244321}">
                <p14:modId xmlns:p14="http://schemas.microsoft.com/office/powerpoint/2010/main" val="1652729405"/>
              </p:ext>
            </p:extLst>
          </p:nvPr>
        </p:nvGraphicFramePr>
        <p:xfrm>
          <a:off x="495300" y="1311435"/>
          <a:ext cx="11277599" cy="4297680"/>
        </p:xfrm>
        <a:graphic>
          <a:graphicData uri="http://schemas.openxmlformats.org/drawingml/2006/table">
            <a:tbl>
              <a:tblPr firstRow="1" bandRow="1">
                <a:tableStyleId>{D27102A9-8310-4765-A935-A1911B00CA55}</a:tableStyleId>
              </a:tblPr>
              <a:tblGrid>
                <a:gridCol w="4582601">
                  <a:extLst>
                    <a:ext uri="{9D8B030D-6E8A-4147-A177-3AD203B41FA5}">
                      <a16:colId xmlns:a16="http://schemas.microsoft.com/office/drawing/2014/main" val="20000"/>
                    </a:ext>
                  </a:extLst>
                </a:gridCol>
                <a:gridCol w="2050994">
                  <a:extLst>
                    <a:ext uri="{9D8B030D-6E8A-4147-A177-3AD203B41FA5}">
                      <a16:colId xmlns:a16="http://schemas.microsoft.com/office/drawing/2014/main" val="20001"/>
                    </a:ext>
                  </a:extLst>
                </a:gridCol>
                <a:gridCol w="2215488">
                  <a:extLst>
                    <a:ext uri="{9D8B030D-6E8A-4147-A177-3AD203B41FA5}">
                      <a16:colId xmlns:a16="http://schemas.microsoft.com/office/drawing/2014/main" val="4178355308"/>
                    </a:ext>
                  </a:extLst>
                </a:gridCol>
                <a:gridCol w="2428516">
                  <a:extLst>
                    <a:ext uri="{9D8B030D-6E8A-4147-A177-3AD203B41FA5}">
                      <a16:colId xmlns:a16="http://schemas.microsoft.com/office/drawing/2014/main" val="20002"/>
                    </a:ext>
                  </a:extLst>
                </a:gridCol>
              </a:tblGrid>
              <a:tr h="368386">
                <a:tc>
                  <a:txBody>
                    <a:bodyPr/>
                    <a:lstStyle/>
                    <a:p>
                      <a:pPr marL="0" algn="l" defTabSz="914400" rtl="0" eaLnBrk="1" latinLnBrk="0" hangingPunct="1"/>
                      <a:r>
                        <a:rPr lang="en-US" sz="1200" kern="1200" dirty="0">
                          <a:solidFill>
                            <a:schemeClr val="bg1"/>
                          </a:solidFill>
                        </a:rPr>
                        <a:t>Capability</a:t>
                      </a:r>
                      <a:endParaRPr lang="en-US" sz="1200" b="1" kern="1200" dirty="0">
                        <a:solidFill>
                          <a:schemeClr val="bg1"/>
                        </a:solidFill>
                        <a:latin typeface="+mn-lt"/>
                        <a:ea typeface="+mn-ea"/>
                        <a:cs typeface="+mn-cs"/>
                      </a:endParaRPr>
                    </a:p>
                  </a:txBody>
                  <a:tcPr marL="165963" marR="165963"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4D585A"/>
                    </a:solidFill>
                  </a:tcPr>
                </a:tc>
                <a:tc>
                  <a:txBody>
                    <a:bodyPr/>
                    <a:lstStyle/>
                    <a:p>
                      <a:pPr algn="ctr"/>
                      <a:r>
                        <a:rPr lang="en-US" sz="1200" dirty="0">
                          <a:solidFill>
                            <a:schemeClr val="bg1"/>
                          </a:solidFill>
                        </a:rPr>
                        <a:t>Creo Flow Analysis </a:t>
                      </a:r>
                    </a:p>
                  </a:txBody>
                  <a:tcPr marL="165963" marR="165963"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4D585A"/>
                    </a:solidFill>
                  </a:tcPr>
                </a:tc>
                <a:tc>
                  <a:txBody>
                    <a:bodyPr/>
                    <a:lstStyle/>
                    <a:p>
                      <a:pPr algn="ctr"/>
                      <a:r>
                        <a:rPr lang="en-US" sz="1200" baseline="0" dirty="0">
                          <a:solidFill>
                            <a:schemeClr val="bg1"/>
                          </a:solidFill>
                        </a:rPr>
                        <a:t>Creo Flow Analysis Advanced </a:t>
                      </a:r>
                    </a:p>
                  </a:txBody>
                  <a:tcPr marL="165963" marR="165963"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4D585A"/>
                    </a:solidFill>
                  </a:tcPr>
                </a:tc>
                <a:tc>
                  <a:txBody>
                    <a:bodyPr/>
                    <a:lstStyle/>
                    <a:p>
                      <a:pPr algn="ctr"/>
                      <a:r>
                        <a:rPr lang="en-US" sz="1200" baseline="0" dirty="0">
                          <a:solidFill>
                            <a:schemeClr val="bg1"/>
                          </a:solidFill>
                        </a:rPr>
                        <a:t>Creo Flow Analysis Premium</a:t>
                      </a:r>
                    </a:p>
                  </a:txBody>
                  <a:tcPr marL="165963" marR="165963"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4D585A"/>
                    </a:solidFill>
                  </a:tcPr>
                </a:tc>
                <a:extLst>
                  <a:ext uri="{0D108BD9-81ED-4DB2-BD59-A6C34878D82A}">
                    <a16:rowId xmlns:a16="http://schemas.microsoft.com/office/drawing/2014/main" val="10000"/>
                  </a:ext>
                </a:extLst>
              </a:tr>
              <a:tr h="251651">
                <a:tc>
                  <a:txBody>
                    <a:bodyPr/>
                    <a:lstStyle/>
                    <a:p>
                      <a:r>
                        <a:rPr lang="en-US" sz="1200" dirty="0"/>
                        <a:t>Calculate Internal and External</a:t>
                      </a:r>
                      <a:r>
                        <a:rPr lang="en-US" sz="1200" baseline="0" dirty="0"/>
                        <a:t> Flows</a:t>
                      </a:r>
                      <a:endParaRPr lang="en-US" sz="1200" dirty="0"/>
                    </a:p>
                  </a:txBody>
                  <a:tcPr marL="165963" marR="165963">
                    <a:lnL>
                      <a:noFill/>
                    </a:lnL>
                    <a:lnR>
                      <a:noFill/>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9EAEA"/>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200" dirty="0"/>
                        <a:t>✔</a:t>
                      </a:r>
                    </a:p>
                  </a:txBody>
                  <a:tcPr marL="165963" marR="165963">
                    <a:lnL>
                      <a:noFill/>
                    </a:lnL>
                    <a:lnR>
                      <a:noFill/>
                    </a:lnR>
                    <a:lnT w="12700" cap="flat" cmpd="sng" algn="ctr">
                      <a:no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200"/>
                        <a:t>✔</a:t>
                      </a:r>
                    </a:p>
                  </a:txBody>
                  <a:tcPr marL="165963" marR="165963">
                    <a:lnL>
                      <a:noFill/>
                    </a:lnL>
                    <a:lnR>
                      <a:noFill/>
                    </a:lnR>
                    <a:lnT w="12700" cap="flat" cmpd="sng" algn="ctr">
                      <a:no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200"/>
                        <a:t>✔</a:t>
                      </a:r>
                    </a:p>
                  </a:txBody>
                  <a:tcPr marL="165963" marR="165963">
                    <a:lnL>
                      <a:noFill/>
                    </a:lnL>
                    <a:lnR>
                      <a:noFill/>
                    </a:lnR>
                    <a:lnT w="12700" cap="flat" cmpd="sng" algn="ctr">
                      <a:no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251651">
                <a:tc>
                  <a:txBody>
                    <a:bodyPr/>
                    <a:lstStyle/>
                    <a:p>
                      <a:r>
                        <a:rPr lang="en-US" sz="1200" dirty="0"/>
                        <a:t>Animate Flow results in real-time</a:t>
                      </a:r>
                    </a:p>
                  </a:txBody>
                  <a:tcPr marL="165963" marR="165963">
                    <a:lnL>
                      <a:noFill/>
                    </a:lnL>
                    <a:lnR>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9EAEA"/>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200" dirty="0"/>
                        <a:t>✔</a:t>
                      </a:r>
                    </a:p>
                  </a:txBody>
                  <a:tcPr marL="165963" marR="165963">
                    <a:lnL>
                      <a:noFill/>
                    </a:lnL>
                    <a:lnR>
                      <a:noFill/>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200"/>
                        <a:t>✔</a:t>
                      </a:r>
                    </a:p>
                  </a:txBody>
                  <a:tcPr marL="165963" marR="165963">
                    <a:lnL>
                      <a:noFill/>
                    </a:lnL>
                    <a:lnR>
                      <a:noFill/>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200"/>
                        <a:t>✔</a:t>
                      </a:r>
                    </a:p>
                  </a:txBody>
                  <a:tcPr marL="165963" marR="165963">
                    <a:lnL>
                      <a:noFill/>
                    </a:lnL>
                    <a:lnR>
                      <a:noFill/>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251651">
                <a:tc>
                  <a:txBody>
                    <a:bodyPr/>
                    <a:lstStyle/>
                    <a:p>
                      <a:r>
                        <a:rPr lang="en-US" sz="1200" dirty="0"/>
                        <a:t>Parallel</a:t>
                      </a:r>
                      <a:r>
                        <a:rPr lang="en-US" sz="1200" baseline="0" dirty="0"/>
                        <a:t> Processing Simulation</a:t>
                      </a:r>
                      <a:endParaRPr lang="en-US" sz="1200" dirty="0"/>
                    </a:p>
                  </a:txBody>
                  <a:tcPr marL="165963" marR="165963">
                    <a:lnL>
                      <a:noFill/>
                    </a:lnL>
                    <a:lnR>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9EAEA"/>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200" dirty="0"/>
                        <a:t>✔</a:t>
                      </a:r>
                    </a:p>
                  </a:txBody>
                  <a:tcPr marL="165963" marR="165963">
                    <a:lnL>
                      <a:noFill/>
                    </a:lnL>
                    <a:lnR>
                      <a:noFill/>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200"/>
                        <a:t>✔</a:t>
                      </a:r>
                    </a:p>
                  </a:txBody>
                  <a:tcPr marL="165963" marR="165963">
                    <a:lnL>
                      <a:noFill/>
                    </a:lnL>
                    <a:lnR>
                      <a:noFill/>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200"/>
                        <a:t>✔</a:t>
                      </a:r>
                    </a:p>
                  </a:txBody>
                  <a:tcPr marL="165963" marR="165963">
                    <a:lnL>
                      <a:noFill/>
                    </a:lnL>
                    <a:lnR>
                      <a:noFill/>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r h="251651">
                <a:tc>
                  <a:txBody>
                    <a:bodyPr/>
                    <a:lstStyle/>
                    <a:p>
                      <a:pPr lvl="1"/>
                      <a:r>
                        <a:rPr lang="en-US" sz="1200" dirty="0"/>
                        <a:t>Simulate Flow</a:t>
                      </a:r>
                    </a:p>
                  </a:txBody>
                  <a:tcPr marL="165963" marR="165963">
                    <a:lnL>
                      <a:noFill/>
                    </a:lnL>
                    <a:lnR>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9EAEA"/>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u="none" strike="noStrike" kern="1200" cap="none" spc="0" normalizeH="0" baseline="0" noProof="0" dirty="0">
                          <a:ln>
                            <a:noFill/>
                          </a:ln>
                          <a:effectLst/>
                          <a:uLnTx/>
                          <a:uFillTx/>
                        </a:rPr>
                        <a:t>✔</a:t>
                      </a:r>
                      <a:endParaRPr kumimoji="0" lang="en-US" sz="1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a:txBody>
                  <a:tcPr marL="165963" marR="165963">
                    <a:lnL>
                      <a:noFill/>
                    </a:lnL>
                    <a:lnR>
                      <a:noFill/>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u="none" strike="noStrike" kern="1200" cap="none" spc="0" normalizeH="0" baseline="0" noProof="0" dirty="0">
                          <a:ln>
                            <a:noFill/>
                          </a:ln>
                          <a:effectLst/>
                          <a:uLnTx/>
                          <a:uFillTx/>
                        </a:rPr>
                        <a:t>✔</a:t>
                      </a:r>
                      <a:endParaRPr kumimoji="0" lang="en-US" sz="1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a:txBody>
                  <a:tcPr marL="165963" marR="165963">
                    <a:lnL>
                      <a:noFill/>
                    </a:lnL>
                    <a:lnR>
                      <a:noFill/>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200"/>
                        <a:t>✔</a:t>
                      </a:r>
                    </a:p>
                  </a:txBody>
                  <a:tcPr marL="165963" marR="165963">
                    <a:lnL>
                      <a:noFill/>
                    </a:lnL>
                    <a:lnR>
                      <a:noFill/>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4"/>
                  </a:ext>
                </a:extLst>
              </a:tr>
              <a:tr h="251651">
                <a:tc>
                  <a:txBody>
                    <a:bodyPr/>
                    <a:lstStyle/>
                    <a:p>
                      <a:pPr marL="543388" marR="0" lvl="1" indent="0" algn="l" defTabSz="914400" rtl="0" eaLnBrk="1" fontAlgn="auto" latinLnBrk="0" hangingPunct="1">
                        <a:lnSpc>
                          <a:spcPct val="100000"/>
                        </a:lnSpc>
                        <a:spcBef>
                          <a:spcPts val="0"/>
                        </a:spcBef>
                        <a:spcAft>
                          <a:spcPts val="0"/>
                        </a:spcAft>
                        <a:buClrTx/>
                        <a:buSzTx/>
                        <a:buFontTx/>
                        <a:buNone/>
                        <a:tabLst/>
                        <a:defRPr/>
                      </a:pPr>
                      <a:r>
                        <a:rPr lang="en-US" sz="1200" dirty="0"/>
                        <a:t>Heat Transfer</a:t>
                      </a:r>
                    </a:p>
                  </a:txBody>
                  <a:tcPr marL="165963" marR="165963">
                    <a:lnL>
                      <a:noFill/>
                    </a:lnL>
                    <a:lnR>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9EAEA"/>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u="none" strike="noStrike" kern="1200" cap="none" spc="0" normalizeH="0" baseline="0" noProof="0" dirty="0">
                          <a:ln>
                            <a:noFill/>
                          </a:ln>
                          <a:effectLst/>
                          <a:uLnTx/>
                          <a:uFillTx/>
                        </a:rPr>
                        <a:t>✔</a:t>
                      </a:r>
                      <a:endParaRPr kumimoji="0" lang="en-US" sz="1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a:txBody>
                  <a:tcPr marL="165963" marR="165963">
                    <a:lnL>
                      <a:noFill/>
                    </a:lnL>
                    <a:lnR>
                      <a:noFill/>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u="none" strike="noStrike" kern="1200" cap="none" spc="0" normalizeH="0" baseline="0" noProof="0" dirty="0">
                          <a:ln>
                            <a:noFill/>
                          </a:ln>
                          <a:effectLst/>
                          <a:uLnTx/>
                          <a:uFillTx/>
                        </a:rPr>
                        <a:t>✔</a:t>
                      </a:r>
                      <a:endParaRPr kumimoji="0" lang="en-US" sz="1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a:txBody>
                  <a:tcPr marL="165963" marR="165963">
                    <a:lnL>
                      <a:noFill/>
                    </a:lnL>
                    <a:lnR>
                      <a:noFill/>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200"/>
                        <a:t>✔</a:t>
                      </a:r>
                    </a:p>
                  </a:txBody>
                  <a:tcPr marL="165963" marR="165963">
                    <a:lnL>
                      <a:noFill/>
                    </a:lnL>
                    <a:lnR>
                      <a:noFill/>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5"/>
                  </a:ext>
                </a:extLst>
              </a:tr>
              <a:tr h="251651">
                <a:tc>
                  <a:txBody>
                    <a:bodyPr/>
                    <a:lstStyle/>
                    <a:p>
                      <a:pPr marL="543388" marR="0" lvl="1" indent="0" algn="l" defTabSz="914400" rtl="0" eaLnBrk="1" fontAlgn="auto" latinLnBrk="0" hangingPunct="1">
                        <a:lnSpc>
                          <a:spcPct val="100000"/>
                        </a:lnSpc>
                        <a:spcBef>
                          <a:spcPts val="0"/>
                        </a:spcBef>
                        <a:spcAft>
                          <a:spcPts val="0"/>
                        </a:spcAft>
                        <a:buClrTx/>
                        <a:buSzTx/>
                        <a:buFontTx/>
                        <a:buNone/>
                        <a:tabLst/>
                        <a:defRPr/>
                      </a:pPr>
                      <a:r>
                        <a:rPr lang="en-US" sz="1200"/>
                        <a:t>Turbulence</a:t>
                      </a:r>
                    </a:p>
                  </a:txBody>
                  <a:tcPr marL="165963" marR="165963">
                    <a:lnL>
                      <a:noFill/>
                    </a:lnL>
                    <a:lnR>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9EAEA"/>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u="none" strike="noStrike" kern="1200" cap="none" spc="0" normalizeH="0" baseline="0" noProof="0" dirty="0">
                          <a:ln>
                            <a:noFill/>
                          </a:ln>
                          <a:effectLst/>
                          <a:uLnTx/>
                          <a:uFillTx/>
                        </a:rPr>
                        <a:t>✔</a:t>
                      </a:r>
                      <a:endParaRPr kumimoji="0" lang="en-US" sz="1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a:txBody>
                  <a:tcPr marL="165963" marR="165963">
                    <a:lnL>
                      <a:noFill/>
                    </a:lnL>
                    <a:lnR>
                      <a:noFill/>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u="none" strike="noStrike" kern="1200" cap="none" spc="0" normalizeH="0" baseline="0" noProof="0" dirty="0">
                          <a:ln>
                            <a:noFill/>
                          </a:ln>
                          <a:effectLst/>
                          <a:uLnTx/>
                          <a:uFillTx/>
                        </a:rPr>
                        <a:t>✔</a:t>
                      </a:r>
                      <a:endParaRPr kumimoji="0" lang="en-US" sz="1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a:txBody>
                  <a:tcPr marL="165963" marR="165963">
                    <a:lnL>
                      <a:noFill/>
                    </a:lnL>
                    <a:lnR>
                      <a:noFill/>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200" dirty="0"/>
                        <a:t>✔</a:t>
                      </a:r>
                    </a:p>
                  </a:txBody>
                  <a:tcPr marL="165963" marR="165963">
                    <a:lnL>
                      <a:noFill/>
                    </a:lnL>
                    <a:lnR>
                      <a:noFill/>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6"/>
                  </a:ext>
                </a:extLst>
              </a:tr>
              <a:tr h="251651">
                <a:tc>
                  <a:txBody>
                    <a:bodyPr/>
                    <a:lstStyle/>
                    <a:p>
                      <a:pPr marL="543388" marR="0" lvl="1" indent="0" algn="l" defTabSz="914400" rtl="0" eaLnBrk="1" fontAlgn="auto" latinLnBrk="0" hangingPunct="1">
                        <a:lnSpc>
                          <a:spcPct val="100000"/>
                        </a:lnSpc>
                        <a:spcBef>
                          <a:spcPts val="0"/>
                        </a:spcBef>
                        <a:spcAft>
                          <a:spcPts val="0"/>
                        </a:spcAft>
                        <a:buClrTx/>
                        <a:buSzTx/>
                        <a:buFontTx/>
                        <a:buNone/>
                        <a:tabLst/>
                        <a:defRPr/>
                      </a:pPr>
                      <a:r>
                        <a:rPr lang="en-US" sz="1200" dirty="0"/>
                        <a:t>Particle</a:t>
                      </a:r>
                    </a:p>
                  </a:txBody>
                  <a:tcPr marL="165963" marR="165963">
                    <a:lnL>
                      <a:noFill/>
                    </a:lnL>
                    <a:lnR>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9EAEA"/>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sz="1200" dirty="0">
                        <a:solidFill>
                          <a:schemeClr val="bg1">
                            <a:lumMod val="65000"/>
                          </a:schemeClr>
                        </a:solidFill>
                      </a:endParaRPr>
                    </a:p>
                  </a:txBody>
                  <a:tcPr marL="165963" marR="165963">
                    <a:lnL>
                      <a:noFill/>
                    </a:lnL>
                    <a:lnR>
                      <a:noFill/>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u="none" strike="noStrike" kern="1200" cap="none" spc="0" normalizeH="0" baseline="0" noProof="0" dirty="0">
                          <a:ln>
                            <a:noFill/>
                          </a:ln>
                          <a:effectLst/>
                          <a:uLnTx/>
                          <a:uFillTx/>
                        </a:rPr>
                        <a:t>✔</a:t>
                      </a:r>
                      <a:endParaRPr kumimoji="0" lang="en-US" sz="1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a:txBody>
                  <a:tcPr marL="165963" marR="165963">
                    <a:lnL>
                      <a:noFill/>
                    </a:lnL>
                    <a:lnR>
                      <a:noFill/>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u="none" strike="noStrike" kern="1200" cap="none" spc="0" normalizeH="0" baseline="0" noProof="0" dirty="0">
                          <a:ln>
                            <a:noFill/>
                          </a:ln>
                          <a:effectLst/>
                          <a:uLnTx/>
                          <a:uFillTx/>
                        </a:rPr>
                        <a:t>✔</a:t>
                      </a:r>
                      <a:endParaRPr kumimoji="0" lang="en-US" sz="1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a:txBody>
                  <a:tcPr marL="165963" marR="165963">
                    <a:lnL>
                      <a:noFill/>
                    </a:lnL>
                    <a:lnR>
                      <a:noFill/>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7"/>
                  </a:ext>
                </a:extLst>
              </a:tr>
              <a:tr h="251651">
                <a:tc>
                  <a:txBody>
                    <a:bodyPr/>
                    <a:lstStyle/>
                    <a:p>
                      <a:pPr marL="543388" marR="0" lvl="1" indent="0" algn="l" defTabSz="914400" rtl="0" eaLnBrk="1" fontAlgn="auto" latinLnBrk="0" hangingPunct="1">
                        <a:lnSpc>
                          <a:spcPct val="100000"/>
                        </a:lnSpc>
                        <a:spcBef>
                          <a:spcPts val="0"/>
                        </a:spcBef>
                        <a:spcAft>
                          <a:spcPts val="0"/>
                        </a:spcAft>
                        <a:buClrTx/>
                        <a:buSzTx/>
                        <a:buFontTx/>
                        <a:buNone/>
                        <a:tabLst/>
                        <a:defRPr/>
                      </a:pPr>
                      <a:r>
                        <a:rPr lang="en-US" sz="1200" dirty="0"/>
                        <a:t>Radiation</a:t>
                      </a:r>
                    </a:p>
                  </a:txBody>
                  <a:tcPr marL="165963" marR="165963">
                    <a:lnL>
                      <a:noFill/>
                    </a:lnL>
                    <a:lnR>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9EAEA"/>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sz="1200" dirty="0">
                        <a:solidFill>
                          <a:schemeClr val="bg1">
                            <a:lumMod val="65000"/>
                          </a:schemeClr>
                        </a:solidFill>
                      </a:endParaRPr>
                    </a:p>
                  </a:txBody>
                  <a:tcPr marL="165963" marR="165963">
                    <a:lnL>
                      <a:noFill/>
                    </a:lnL>
                    <a:lnR>
                      <a:noFill/>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u="none" strike="noStrike" kern="1200" cap="none" spc="0" normalizeH="0" baseline="0" noProof="0" dirty="0">
                          <a:ln>
                            <a:noFill/>
                          </a:ln>
                          <a:effectLst/>
                          <a:uLnTx/>
                          <a:uFillTx/>
                        </a:rPr>
                        <a:t>✔</a:t>
                      </a:r>
                      <a:endParaRPr kumimoji="0" lang="en-US" sz="1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a:txBody>
                  <a:tcPr marL="165963" marR="165963">
                    <a:lnL>
                      <a:noFill/>
                    </a:lnL>
                    <a:lnR>
                      <a:noFill/>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u="none" strike="noStrike" kern="1200" cap="none" spc="0" normalizeH="0" baseline="0" noProof="0" dirty="0">
                          <a:ln>
                            <a:noFill/>
                          </a:ln>
                          <a:effectLst/>
                          <a:uLnTx/>
                          <a:uFillTx/>
                        </a:rPr>
                        <a:t>✔</a:t>
                      </a:r>
                      <a:endParaRPr kumimoji="0" lang="en-US" sz="1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a:txBody>
                  <a:tcPr marL="165963" marR="165963">
                    <a:lnL>
                      <a:noFill/>
                    </a:lnL>
                    <a:lnR>
                      <a:noFill/>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8"/>
                  </a:ext>
                </a:extLst>
              </a:tr>
              <a:tr h="251651">
                <a:tc>
                  <a:txBody>
                    <a:bodyPr/>
                    <a:lstStyle/>
                    <a:p>
                      <a:pPr marL="543388" marR="0" lvl="1" indent="0" algn="l" defTabSz="914400" rtl="0" eaLnBrk="1" fontAlgn="auto" latinLnBrk="0" hangingPunct="1">
                        <a:lnSpc>
                          <a:spcPct val="100000"/>
                        </a:lnSpc>
                        <a:spcBef>
                          <a:spcPts val="0"/>
                        </a:spcBef>
                        <a:spcAft>
                          <a:spcPts val="0"/>
                        </a:spcAft>
                        <a:buClrTx/>
                        <a:buSzTx/>
                        <a:buFontTx/>
                        <a:buNone/>
                        <a:tabLst/>
                        <a:defRPr/>
                      </a:pPr>
                      <a:r>
                        <a:rPr lang="en-US" sz="1200" dirty="0"/>
                        <a:t>Species</a:t>
                      </a:r>
                    </a:p>
                  </a:txBody>
                  <a:tcPr marL="165963" marR="165963">
                    <a:lnL>
                      <a:noFill/>
                    </a:lnL>
                    <a:lnR>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9EAEA"/>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sz="1200" dirty="0">
                        <a:solidFill>
                          <a:schemeClr val="bg1">
                            <a:lumMod val="65000"/>
                          </a:schemeClr>
                        </a:solidFill>
                      </a:endParaRPr>
                    </a:p>
                  </a:txBody>
                  <a:tcPr marL="165963" marR="165963">
                    <a:lnL>
                      <a:noFill/>
                    </a:lnL>
                    <a:lnR>
                      <a:noFill/>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u="none" strike="noStrike" kern="1200" cap="none" spc="0" normalizeH="0" baseline="0" noProof="0" dirty="0">
                          <a:ln>
                            <a:noFill/>
                          </a:ln>
                          <a:effectLst/>
                          <a:uLnTx/>
                          <a:uFillTx/>
                        </a:rPr>
                        <a:t>✔</a:t>
                      </a:r>
                      <a:endParaRPr kumimoji="0" lang="en-US" sz="1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a:txBody>
                  <a:tcPr marL="165963" marR="165963">
                    <a:lnL>
                      <a:noFill/>
                    </a:lnL>
                    <a:lnR>
                      <a:noFill/>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u="none" strike="noStrike" kern="1200" cap="none" spc="0" normalizeH="0" baseline="0" noProof="0" dirty="0">
                          <a:ln>
                            <a:noFill/>
                          </a:ln>
                          <a:effectLst/>
                          <a:uLnTx/>
                          <a:uFillTx/>
                        </a:rPr>
                        <a:t>✔</a:t>
                      </a:r>
                      <a:endParaRPr kumimoji="0" lang="en-US" sz="1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a:txBody>
                  <a:tcPr marL="165963" marR="165963">
                    <a:lnL>
                      <a:noFill/>
                    </a:lnL>
                    <a:lnR>
                      <a:noFill/>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9"/>
                  </a:ext>
                </a:extLst>
              </a:tr>
              <a:tr h="251651">
                <a:tc>
                  <a:txBody>
                    <a:bodyPr/>
                    <a:lstStyle/>
                    <a:p>
                      <a:pPr marL="543388" marR="0" lvl="1" indent="0" algn="l" defTabSz="914400" rtl="0" eaLnBrk="1" fontAlgn="auto" latinLnBrk="0" hangingPunct="1">
                        <a:lnSpc>
                          <a:spcPct val="100000"/>
                        </a:lnSpc>
                        <a:spcBef>
                          <a:spcPts val="0"/>
                        </a:spcBef>
                        <a:spcAft>
                          <a:spcPts val="0"/>
                        </a:spcAft>
                        <a:buClrTx/>
                        <a:buSzTx/>
                        <a:buFontTx/>
                        <a:buNone/>
                        <a:tabLst/>
                        <a:defRPr/>
                      </a:pPr>
                      <a:r>
                        <a:rPr lang="en-US" sz="1200" dirty="0"/>
                        <a:t>Moving/Sliding</a:t>
                      </a:r>
                      <a:r>
                        <a:rPr lang="en-US" sz="1200" baseline="0" dirty="0"/>
                        <a:t> Meshing</a:t>
                      </a:r>
                      <a:endParaRPr lang="en-US" sz="1200" dirty="0"/>
                    </a:p>
                  </a:txBody>
                  <a:tcPr marL="165963" marR="165963">
                    <a:lnL>
                      <a:noFill/>
                    </a:lnL>
                    <a:lnR>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9EAEA"/>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sz="1200" dirty="0">
                        <a:solidFill>
                          <a:schemeClr val="bg1">
                            <a:lumMod val="65000"/>
                          </a:schemeClr>
                        </a:solidFill>
                      </a:endParaRPr>
                    </a:p>
                  </a:txBody>
                  <a:tcPr marL="165963" marR="165963">
                    <a:lnL>
                      <a:noFill/>
                    </a:lnL>
                    <a:lnR>
                      <a:noFill/>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u="none" strike="noStrike" kern="1200" cap="none" spc="0" normalizeH="0" baseline="0" noProof="0" dirty="0">
                          <a:ln>
                            <a:noFill/>
                          </a:ln>
                          <a:effectLst/>
                          <a:uLnTx/>
                          <a:uFillTx/>
                        </a:rPr>
                        <a:t>✔</a:t>
                      </a:r>
                      <a:endParaRPr kumimoji="0" lang="en-US" sz="1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a:txBody>
                  <a:tcPr marL="165963" marR="165963">
                    <a:lnL>
                      <a:noFill/>
                    </a:lnL>
                    <a:lnR>
                      <a:noFill/>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u="none" strike="noStrike" kern="1200" cap="none" spc="0" normalizeH="0" baseline="0" noProof="0" dirty="0">
                          <a:ln>
                            <a:noFill/>
                          </a:ln>
                          <a:effectLst/>
                          <a:uLnTx/>
                          <a:uFillTx/>
                        </a:rPr>
                        <a:t>✔</a:t>
                      </a:r>
                      <a:endParaRPr kumimoji="0" lang="en-US" sz="1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a:txBody>
                  <a:tcPr marL="165963" marR="165963">
                    <a:lnL>
                      <a:noFill/>
                    </a:lnL>
                    <a:lnR>
                      <a:noFill/>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10"/>
                  </a:ext>
                </a:extLst>
              </a:tr>
              <a:tr h="251651">
                <a:tc>
                  <a:txBody>
                    <a:bodyPr/>
                    <a:lstStyle/>
                    <a:p>
                      <a:pPr marL="543388" marR="0" lvl="1" indent="0" algn="l" defTabSz="914400" rtl="0" eaLnBrk="1" fontAlgn="auto" latinLnBrk="0" hangingPunct="1">
                        <a:lnSpc>
                          <a:spcPct val="100000"/>
                        </a:lnSpc>
                        <a:spcBef>
                          <a:spcPts val="0"/>
                        </a:spcBef>
                        <a:spcAft>
                          <a:spcPts val="0"/>
                        </a:spcAft>
                        <a:buClrTx/>
                        <a:buSzTx/>
                        <a:buFontTx/>
                        <a:buNone/>
                        <a:tabLst/>
                        <a:defRPr/>
                      </a:pPr>
                      <a:r>
                        <a:rPr lang="en-US" sz="1200" dirty="0"/>
                        <a:t>Cavitation</a:t>
                      </a:r>
                    </a:p>
                  </a:txBody>
                  <a:tcPr marL="165963" marR="165963">
                    <a:lnL>
                      <a:noFill/>
                    </a:lnL>
                    <a:lnR>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9EAEA"/>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sz="1200" dirty="0">
                        <a:solidFill>
                          <a:schemeClr val="bg1">
                            <a:lumMod val="65000"/>
                          </a:schemeClr>
                        </a:solidFill>
                      </a:endParaRPr>
                    </a:p>
                  </a:txBody>
                  <a:tcPr marL="165963" marR="165963">
                    <a:lnL>
                      <a:noFill/>
                    </a:lnL>
                    <a:lnR>
                      <a:noFill/>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sz="1200" dirty="0"/>
                    </a:p>
                  </a:txBody>
                  <a:tcPr marL="165963" marR="165963">
                    <a:lnL>
                      <a:noFill/>
                    </a:lnL>
                    <a:lnR>
                      <a:noFill/>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u="none" strike="noStrike" kern="1200" cap="none" spc="0" normalizeH="0" baseline="0" noProof="0" dirty="0">
                          <a:ln>
                            <a:noFill/>
                          </a:ln>
                          <a:effectLst/>
                          <a:uLnTx/>
                          <a:uFillTx/>
                        </a:rPr>
                        <a:t>✔</a:t>
                      </a:r>
                      <a:endParaRPr kumimoji="0" lang="en-US" sz="1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a:txBody>
                  <a:tcPr marL="165963" marR="165963">
                    <a:lnL>
                      <a:noFill/>
                    </a:lnL>
                    <a:lnR>
                      <a:noFill/>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11"/>
                  </a:ext>
                </a:extLst>
              </a:tr>
              <a:tr h="251651">
                <a:tc>
                  <a:txBody>
                    <a:bodyPr/>
                    <a:lstStyle/>
                    <a:p>
                      <a:pPr marL="543388" marR="0" lvl="1" indent="0" algn="l" defTabSz="914400" rtl="0" eaLnBrk="1" fontAlgn="auto" latinLnBrk="0" hangingPunct="1">
                        <a:lnSpc>
                          <a:spcPct val="100000"/>
                        </a:lnSpc>
                        <a:spcBef>
                          <a:spcPts val="0"/>
                        </a:spcBef>
                        <a:spcAft>
                          <a:spcPts val="0"/>
                        </a:spcAft>
                        <a:buClrTx/>
                        <a:buSzTx/>
                        <a:buFontTx/>
                        <a:buNone/>
                        <a:tabLst/>
                        <a:defRPr/>
                      </a:pPr>
                      <a:r>
                        <a:rPr lang="en-US" sz="1200" dirty="0"/>
                        <a:t>Multiphase</a:t>
                      </a:r>
                    </a:p>
                  </a:txBody>
                  <a:tcPr marL="165963" marR="165963">
                    <a:lnL>
                      <a:noFill/>
                    </a:lnL>
                    <a:lnR>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9EAEA"/>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sz="1200" dirty="0">
                        <a:solidFill>
                          <a:schemeClr val="bg1">
                            <a:lumMod val="65000"/>
                          </a:schemeClr>
                        </a:solidFill>
                      </a:endParaRPr>
                    </a:p>
                  </a:txBody>
                  <a:tcPr marL="165963" marR="165963">
                    <a:lnL>
                      <a:noFill/>
                    </a:lnL>
                    <a:lnR>
                      <a:noFill/>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sz="1200" dirty="0"/>
                    </a:p>
                  </a:txBody>
                  <a:tcPr marL="165963" marR="165963">
                    <a:lnL>
                      <a:noFill/>
                    </a:lnL>
                    <a:lnR>
                      <a:noFill/>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u="none" strike="noStrike" kern="1200" cap="none" spc="0" normalizeH="0" baseline="0" noProof="0" dirty="0">
                          <a:ln>
                            <a:noFill/>
                          </a:ln>
                          <a:effectLst/>
                          <a:uLnTx/>
                          <a:uFillTx/>
                        </a:rPr>
                        <a:t>✔</a:t>
                      </a:r>
                      <a:endParaRPr kumimoji="0" lang="en-US" sz="1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a:txBody>
                  <a:tcPr marL="165963" marR="165963">
                    <a:lnL>
                      <a:noFill/>
                    </a:lnL>
                    <a:lnR>
                      <a:noFill/>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12"/>
                  </a:ext>
                </a:extLst>
              </a:tr>
              <a:tr h="251651">
                <a:tc>
                  <a:txBody>
                    <a:bodyPr/>
                    <a:lstStyle/>
                    <a:p>
                      <a:pPr marL="543388" marR="0" lvl="1" indent="0" algn="l" defTabSz="914400" rtl="0" eaLnBrk="1" fontAlgn="auto" latinLnBrk="0" hangingPunct="1">
                        <a:lnSpc>
                          <a:spcPct val="100000"/>
                        </a:lnSpc>
                        <a:spcBef>
                          <a:spcPts val="0"/>
                        </a:spcBef>
                        <a:spcAft>
                          <a:spcPts val="0"/>
                        </a:spcAft>
                        <a:buClrTx/>
                        <a:buSzTx/>
                        <a:buFontTx/>
                        <a:buNone/>
                        <a:tabLst/>
                        <a:defRPr/>
                      </a:pPr>
                      <a:r>
                        <a:rPr lang="en-US" sz="1200" dirty="0"/>
                        <a:t>Multicomponent</a:t>
                      </a:r>
                    </a:p>
                  </a:txBody>
                  <a:tcPr marL="165963" marR="165963">
                    <a:lnL>
                      <a:noFill/>
                    </a:lnL>
                    <a:lnR>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9EAEA"/>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sz="1200" dirty="0">
                        <a:solidFill>
                          <a:schemeClr val="bg1">
                            <a:lumMod val="65000"/>
                          </a:schemeClr>
                        </a:solidFill>
                      </a:endParaRPr>
                    </a:p>
                  </a:txBody>
                  <a:tcPr marL="165963" marR="165963">
                    <a:lnL>
                      <a:noFill/>
                    </a:lnL>
                    <a:lnR>
                      <a:noFill/>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sz="1200"/>
                    </a:p>
                  </a:txBody>
                  <a:tcPr marL="165963" marR="165963">
                    <a:lnL>
                      <a:noFill/>
                    </a:lnL>
                    <a:lnR>
                      <a:noFill/>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u="none" strike="noStrike" kern="1200" cap="none" spc="0" normalizeH="0" baseline="0" noProof="0" dirty="0">
                          <a:ln>
                            <a:noFill/>
                          </a:ln>
                          <a:effectLst/>
                          <a:uLnTx/>
                          <a:uFillTx/>
                        </a:rPr>
                        <a:t>✔</a:t>
                      </a:r>
                      <a:endParaRPr kumimoji="0" lang="en-US" sz="1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a:txBody>
                  <a:tcPr marL="165963" marR="165963">
                    <a:lnL>
                      <a:noFill/>
                    </a:lnL>
                    <a:lnR>
                      <a:noFill/>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577022006"/>
                  </a:ext>
                </a:extLst>
              </a:tr>
              <a:tr h="251651">
                <a:tc>
                  <a:txBody>
                    <a:bodyPr/>
                    <a:lstStyle/>
                    <a:p>
                      <a:pPr marL="543388" marR="0" lvl="1" indent="0" algn="l" defTabSz="914400" rtl="0" eaLnBrk="1" fontAlgn="auto" latinLnBrk="0" hangingPunct="1">
                        <a:lnSpc>
                          <a:spcPct val="100000"/>
                        </a:lnSpc>
                        <a:spcBef>
                          <a:spcPts val="0"/>
                        </a:spcBef>
                        <a:spcAft>
                          <a:spcPts val="0"/>
                        </a:spcAft>
                        <a:buClrTx/>
                        <a:buSzTx/>
                        <a:buFontTx/>
                        <a:buNone/>
                        <a:tabLst/>
                        <a:defRPr/>
                      </a:pPr>
                      <a:r>
                        <a:rPr lang="en-US" sz="1200" dirty="0"/>
                        <a:t>Dynamics</a:t>
                      </a:r>
                    </a:p>
                  </a:txBody>
                  <a:tcPr marL="165963" marR="165963">
                    <a:lnL>
                      <a:noFill/>
                    </a:lnL>
                    <a:lnR>
                      <a:noFill/>
                    </a:lnR>
                    <a:lnT w="12700" cap="flat" cmpd="sng" algn="ctr">
                      <a:solidFill>
                        <a:schemeClr val="bg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E9EAEA"/>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sz="1200">
                        <a:solidFill>
                          <a:schemeClr val="bg1">
                            <a:lumMod val="65000"/>
                          </a:schemeClr>
                        </a:solidFill>
                      </a:endParaRPr>
                    </a:p>
                  </a:txBody>
                  <a:tcPr marL="165963" marR="165963">
                    <a:lnL>
                      <a:noFill/>
                    </a:lnL>
                    <a:lnR>
                      <a:noFill/>
                    </a:lnR>
                    <a:lnT w="12700" cap="flat" cmpd="sng" algn="ctr">
                      <a:solidFill>
                        <a:schemeClr val="bg1">
                          <a:lumMod val="9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sz="1200"/>
                    </a:p>
                  </a:txBody>
                  <a:tcPr marL="165963" marR="165963">
                    <a:lnL>
                      <a:noFill/>
                    </a:lnL>
                    <a:lnR>
                      <a:noFill/>
                    </a:lnR>
                    <a:lnT w="12700" cap="flat" cmpd="sng" algn="ctr">
                      <a:solidFill>
                        <a:schemeClr val="bg1">
                          <a:lumMod val="9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u="none" strike="noStrike" kern="1200" cap="none" spc="0" normalizeH="0" baseline="0" noProof="0" dirty="0">
                          <a:ln>
                            <a:noFill/>
                          </a:ln>
                          <a:effectLst/>
                          <a:uLnTx/>
                          <a:uFillTx/>
                        </a:rPr>
                        <a:t>✔</a:t>
                      </a:r>
                      <a:endParaRPr kumimoji="0" lang="en-US" sz="12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a:txBody>
                  <a:tcPr marL="165963" marR="165963">
                    <a:lnL>
                      <a:noFill/>
                    </a:lnL>
                    <a:lnR>
                      <a:noFill/>
                    </a:lnR>
                    <a:lnT w="12700" cap="flat" cmpd="sng" algn="ctr">
                      <a:solidFill>
                        <a:schemeClr val="bg1">
                          <a:lumMod val="9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139684557"/>
                  </a:ext>
                </a:extLst>
              </a:tr>
            </a:tbl>
          </a:graphicData>
        </a:graphic>
      </p:graphicFrame>
      <p:sp>
        <p:nvSpPr>
          <p:cNvPr id="5" name="Text Placeholder 8"/>
          <p:cNvSpPr txBox="1">
            <a:spLocks/>
          </p:cNvSpPr>
          <p:nvPr/>
        </p:nvSpPr>
        <p:spPr>
          <a:xfrm>
            <a:off x="495300" y="5693350"/>
            <a:ext cx="10765948" cy="966931"/>
          </a:xfrm>
          <a:prstGeom prst="rect">
            <a:avLst/>
          </a:prstGeom>
        </p:spPr>
        <p:txBody>
          <a:bodyPr vert="horz" wrap="square" lIns="0" tIns="0" rIns="0" bIns="0" rtlCol="0">
            <a:spAutoFit/>
          </a:bodyPr>
          <a:lstStyle>
            <a:lvl1pPr marL="273582" indent="-273582" algn="l" defTabSz="1086775" rtl="0" eaLnBrk="1" latinLnBrk="0" hangingPunct="1">
              <a:lnSpc>
                <a:spcPct val="90000"/>
              </a:lnSpc>
              <a:spcBef>
                <a:spcPts val="2139"/>
              </a:spcBef>
              <a:buClr>
                <a:schemeClr val="tx1"/>
              </a:buClr>
              <a:buFont typeface="Arial" pitchFamily="34" charset="0"/>
              <a:buChar char="•"/>
              <a:defRPr sz="2200" kern="1200">
                <a:solidFill>
                  <a:schemeClr val="tx1"/>
                </a:solidFill>
                <a:latin typeface="+mn-lt"/>
                <a:ea typeface="+mn-ea"/>
                <a:cs typeface="+mn-cs"/>
              </a:defRPr>
            </a:lvl1pPr>
            <a:lvl2pPr marL="813195" indent="-271694" algn="l" defTabSz="1086775" rtl="0" eaLnBrk="1" latinLnBrk="0" hangingPunct="1">
              <a:lnSpc>
                <a:spcPct val="90000"/>
              </a:lnSpc>
              <a:spcBef>
                <a:spcPts val="0"/>
              </a:spcBef>
              <a:spcAft>
                <a:spcPts val="238"/>
              </a:spcAft>
              <a:buFont typeface="Arial" pitchFamily="34" charset="0"/>
              <a:buChar char="–"/>
              <a:defRPr sz="2000" kern="1200">
                <a:solidFill>
                  <a:schemeClr val="tx1"/>
                </a:solidFill>
                <a:latin typeface="+mn-lt"/>
                <a:ea typeface="+mn-ea"/>
                <a:cs typeface="+mn-cs"/>
              </a:defRPr>
            </a:lvl2pPr>
            <a:lvl3pPr marL="1358470" indent="-271694" algn="l" defTabSz="1290546" rtl="0" eaLnBrk="1" latinLnBrk="0" hangingPunct="1">
              <a:lnSpc>
                <a:spcPct val="90000"/>
              </a:lnSpc>
              <a:spcBef>
                <a:spcPts val="0"/>
              </a:spcBef>
              <a:spcAft>
                <a:spcPts val="238"/>
              </a:spcAft>
              <a:buFont typeface="Arial" pitchFamily="34" charset="0"/>
              <a:buChar char="•"/>
              <a:defRPr sz="1800" kern="1200">
                <a:solidFill>
                  <a:schemeClr val="tx1"/>
                </a:solidFill>
                <a:latin typeface="+mn-lt"/>
                <a:ea typeface="+mn-ea"/>
                <a:cs typeface="+mn-cs"/>
              </a:defRPr>
            </a:lvl3pPr>
            <a:lvl4pPr marL="1901857" indent="-271694" algn="l" defTabSz="1086775" rtl="0" eaLnBrk="1" latinLnBrk="0" hangingPunct="1">
              <a:lnSpc>
                <a:spcPct val="90000"/>
              </a:lnSpc>
              <a:spcBef>
                <a:spcPts val="0"/>
              </a:spcBef>
              <a:spcAft>
                <a:spcPts val="238"/>
              </a:spcAft>
              <a:buFont typeface="Arial" pitchFamily="34" charset="0"/>
              <a:buChar char="–"/>
              <a:defRPr sz="1600" kern="1200" baseline="0">
                <a:solidFill>
                  <a:schemeClr val="tx1"/>
                </a:solidFill>
                <a:latin typeface="+mn-lt"/>
                <a:ea typeface="+mn-ea"/>
                <a:cs typeface="+mn-cs"/>
              </a:defRPr>
            </a:lvl4pPr>
            <a:lvl5pPr marL="2445245" indent="-271694" algn="l" defTabSz="1086775" rtl="0" eaLnBrk="1" latinLnBrk="0" hangingPunct="1">
              <a:lnSpc>
                <a:spcPct val="90000"/>
              </a:lnSpc>
              <a:spcBef>
                <a:spcPts val="0"/>
              </a:spcBef>
              <a:spcAft>
                <a:spcPts val="238"/>
              </a:spcAft>
              <a:buFont typeface="Arial" pitchFamily="34" charset="0"/>
              <a:buChar char="»"/>
              <a:defRPr sz="1400" kern="1200" baseline="0">
                <a:solidFill>
                  <a:schemeClr val="tx1"/>
                </a:solidFill>
                <a:latin typeface="+mn-lt"/>
                <a:ea typeface="+mn-ea"/>
                <a:cs typeface="+mn-cs"/>
              </a:defRPr>
            </a:lvl5pPr>
            <a:lvl6pPr marL="2988632" indent="-271694" algn="l" defTabSz="1086775"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2020" indent="-271694" algn="l" defTabSz="1086775"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5408" indent="-271694" algn="l" defTabSz="1086775"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8796" indent="-271694" algn="l" defTabSz="1086775"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spcBef>
                <a:spcPts val="600"/>
              </a:spcBef>
              <a:buNone/>
            </a:pPr>
            <a:r>
              <a:rPr lang="en-US" sz="1100" b="1" dirty="0"/>
              <a:t>Species Simulation - </a:t>
            </a:r>
            <a:r>
              <a:rPr lang="en-US" sz="1100" dirty="0"/>
              <a:t>Simulate mixing of </a:t>
            </a:r>
            <a:r>
              <a:rPr lang="en-US" sz="1100" b="1" dirty="0"/>
              <a:t>LIQUIDS </a:t>
            </a:r>
            <a:r>
              <a:rPr lang="en-US" sz="1100" dirty="0"/>
              <a:t> with similar density</a:t>
            </a:r>
          </a:p>
          <a:p>
            <a:pPr marL="0" indent="0">
              <a:spcBef>
                <a:spcPts val="400"/>
              </a:spcBef>
              <a:buNone/>
            </a:pPr>
            <a:r>
              <a:rPr lang="en-US" sz="1100" b="1" dirty="0"/>
              <a:t>Multiphase - </a:t>
            </a:r>
            <a:r>
              <a:rPr lang="en-US" sz="1100" dirty="0"/>
              <a:t>Used when simulating </a:t>
            </a:r>
            <a:r>
              <a:rPr lang="en-US" sz="1100" b="1" dirty="0"/>
              <a:t>Gas and Liquid</a:t>
            </a:r>
            <a:r>
              <a:rPr lang="en-US" sz="1100" dirty="0"/>
              <a:t> together</a:t>
            </a:r>
          </a:p>
          <a:p>
            <a:pPr marL="0" indent="0">
              <a:spcBef>
                <a:spcPts val="400"/>
              </a:spcBef>
              <a:buNone/>
            </a:pPr>
            <a:r>
              <a:rPr lang="en-US" sz="1100" b="1" dirty="0"/>
              <a:t>Multicomponent - </a:t>
            </a:r>
            <a:r>
              <a:rPr lang="en-US" sz="1100" dirty="0"/>
              <a:t>Another mixing capability used for </a:t>
            </a:r>
            <a:r>
              <a:rPr lang="en-US" sz="1100" u="sng" dirty="0"/>
              <a:t>multiple</a:t>
            </a:r>
            <a:r>
              <a:rPr lang="en-US" sz="1100" dirty="0"/>
              <a:t> </a:t>
            </a:r>
            <a:r>
              <a:rPr lang="en-US" sz="1100" b="1" dirty="0"/>
              <a:t>Gases and density</a:t>
            </a:r>
            <a:endParaRPr lang="en-US" sz="1100" dirty="0"/>
          </a:p>
          <a:p>
            <a:pPr marL="0" indent="0">
              <a:spcBef>
                <a:spcPts val="400"/>
              </a:spcBef>
              <a:buNone/>
            </a:pPr>
            <a:r>
              <a:rPr lang="en-US" sz="1100" b="1" dirty="0"/>
              <a:t>Dynamics - </a:t>
            </a:r>
            <a:r>
              <a:rPr lang="en-US" sz="1100" dirty="0"/>
              <a:t>Simulates </a:t>
            </a:r>
            <a:r>
              <a:rPr lang="en-US" sz="1100" b="1" dirty="0"/>
              <a:t>FLUIDS and SOLIDS</a:t>
            </a:r>
            <a:r>
              <a:rPr lang="en-US" sz="1100" dirty="0"/>
              <a:t> interaction</a:t>
            </a:r>
          </a:p>
          <a:p>
            <a:pPr marL="0" indent="0">
              <a:spcBef>
                <a:spcPts val="400"/>
              </a:spcBef>
              <a:buNone/>
            </a:pPr>
            <a:r>
              <a:rPr lang="en-US" sz="1100" b="1" dirty="0"/>
              <a:t>Cavitation - </a:t>
            </a:r>
            <a:r>
              <a:rPr lang="en-US" sz="1100" dirty="0"/>
              <a:t>Simulates</a:t>
            </a:r>
            <a:r>
              <a:rPr lang="en-US" sz="1100" b="1" dirty="0"/>
              <a:t> Vapor, Free Gas and Liquid (bubbles)</a:t>
            </a:r>
            <a:r>
              <a:rPr lang="en-US" sz="1100" dirty="0"/>
              <a:t> compressibility</a:t>
            </a:r>
            <a:endParaRPr lang="en-US" sz="1100" b="1" dirty="0"/>
          </a:p>
        </p:txBody>
      </p:sp>
      <p:pic>
        <p:nvPicPr>
          <p:cNvPr id="21" name="Picture 20">
            <a:extLst>
              <a:ext uri="{FF2B5EF4-FFF2-40B4-BE49-F238E27FC236}">
                <a16:creationId xmlns:a16="http://schemas.microsoft.com/office/drawing/2014/main" id="{A3706D9C-7B15-45A9-A8C7-C2D3B394CFF4}"/>
              </a:ext>
            </a:extLst>
          </p:cNvPr>
          <p:cNvPicPr>
            <a:picLocks noChangeAspect="1"/>
          </p:cNvPicPr>
          <p:nvPr/>
        </p:nvPicPr>
        <p:blipFill rotWithShape="1">
          <a:blip r:embed="rId3"/>
          <a:srcRect l="3255" t="4964" r="2942" b="37169"/>
          <a:stretch/>
        </p:blipFill>
        <p:spPr>
          <a:xfrm>
            <a:off x="9628013" y="5655971"/>
            <a:ext cx="1659732" cy="933450"/>
          </a:xfrm>
          <a:prstGeom prst="rect">
            <a:avLst/>
          </a:prstGeom>
        </p:spPr>
      </p:pic>
      <p:pic>
        <p:nvPicPr>
          <p:cNvPr id="23" name="Picture 22">
            <a:extLst>
              <a:ext uri="{FF2B5EF4-FFF2-40B4-BE49-F238E27FC236}">
                <a16:creationId xmlns:a16="http://schemas.microsoft.com/office/drawing/2014/main" id="{B87A4B5B-D98E-4FE0-8197-F3DEA0C37D34}"/>
              </a:ext>
            </a:extLst>
          </p:cNvPr>
          <p:cNvPicPr>
            <a:picLocks noChangeAspect="1"/>
          </p:cNvPicPr>
          <p:nvPr/>
        </p:nvPicPr>
        <p:blipFill rotWithShape="1">
          <a:blip r:embed="rId4"/>
          <a:srcRect l="3863" t="4358" r="2227" b="36812"/>
          <a:stretch/>
        </p:blipFill>
        <p:spPr>
          <a:xfrm>
            <a:off x="7521319" y="5648827"/>
            <a:ext cx="1654970" cy="940594"/>
          </a:xfrm>
          <a:prstGeom prst="rect">
            <a:avLst/>
          </a:prstGeom>
        </p:spPr>
      </p:pic>
      <p:sp>
        <p:nvSpPr>
          <p:cNvPr id="13" name="Rectangle 1">
            <a:extLst>
              <a:ext uri="{FF2B5EF4-FFF2-40B4-BE49-F238E27FC236}">
                <a16:creationId xmlns:a16="http://schemas.microsoft.com/office/drawing/2014/main" id="{76513160-9BF9-4D67-8C54-CBD65A69F485}"/>
              </a:ext>
            </a:extLst>
          </p:cNvPr>
          <p:cNvSpPr/>
          <p:nvPr/>
        </p:nvSpPr>
        <p:spPr>
          <a:xfrm>
            <a:off x="657696" y="2593928"/>
            <a:ext cx="415636" cy="3011833"/>
          </a:xfrm>
          <a:prstGeom prst="rect">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US" dirty="0">
                <a:solidFill>
                  <a:schemeClr val="bg1"/>
                </a:solidFill>
              </a:rPr>
              <a:t>Analysis Types</a:t>
            </a:r>
          </a:p>
        </p:txBody>
      </p:sp>
      <p:sp>
        <p:nvSpPr>
          <p:cNvPr id="6" name="Título 5">
            <a:extLst>
              <a:ext uri="{FF2B5EF4-FFF2-40B4-BE49-F238E27FC236}">
                <a16:creationId xmlns:a16="http://schemas.microsoft.com/office/drawing/2014/main" id="{3245E825-2D90-40EA-B89F-497EF36F451C}"/>
              </a:ext>
            </a:extLst>
          </p:cNvPr>
          <p:cNvSpPr>
            <a:spLocks noGrp="1"/>
          </p:cNvSpPr>
          <p:nvPr>
            <p:ph type="title"/>
          </p:nvPr>
        </p:nvSpPr>
        <p:spPr>
          <a:xfrm>
            <a:off x="490760" y="678174"/>
            <a:ext cx="10789920" cy="369332"/>
          </a:xfrm>
        </p:spPr>
        <p:txBody>
          <a:bodyPr/>
          <a:lstStyle/>
          <a:p>
            <a:r>
              <a:rPr lang="en-US" dirty="0"/>
              <a:t>Creo Flow Analysis – package Overview</a:t>
            </a:r>
          </a:p>
        </p:txBody>
      </p:sp>
      <p:pic>
        <p:nvPicPr>
          <p:cNvPr id="9" name="Picture 2" descr="D:\000 - CAD Sales Enablement\000 - FY16 CAD Core Plays\SmartHomeSystemIcon.png">
            <a:hlinkClick r:id="rId5" action="ppaction://hlinksldjump"/>
            <a:extLst>
              <a:ext uri="{FF2B5EF4-FFF2-40B4-BE49-F238E27FC236}">
                <a16:creationId xmlns:a16="http://schemas.microsoft.com/office/drawing/2014/main" id="{7FFF7952-D042-4FAA-8AB5-B8A5A5A0607D}"/>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tretch>
            <a:fillRect/>
          </a:stretch>
        </p:blipFill>
        <p:spPr bwMode="auto">
          <a:xfrm>
            <a:off x="11287745" y="768126"/>
            <a:ext cx="594300" cy="594300"/>
          </a:xfrm>
          <a:prstGeom prst="rect">
            <a:avLst/>
          </a:prstGeom>
          <a:noFill/>
          <a:ln>
            <a:noFill/>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59413987"/>
      </p:ext>
    </p:extLst>
  </p:cSld>
  <p:clrMapOvr>
    <a:masterClrMapping/>
  </p:clrMapOvr>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41027204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7" name="Group 16">
            <a:extLst>
              <a:ext uri="{FF2B5EF4-FFF2-40B4-BE49-F238E27FC236}">
                <a16:creationId xmlns:a16="http://schemas.microsoft.com/office/drawing/2014/main" id="{850DA6C6-AC9E-4FCD-83C9-B74B0548080F}"/>
              </a:ext>
            </a:extLst>
          </p:cNvPr>
          <p:cNvGrpSpPr/>
          <p:nvPr/>
        </p:nvGrpSpPr>
        <p:grpSpPr>
          <a:xfrm>
            <a:off x="334856" y="392055"/>
            <a:ext cx="6279782" cy="6244017"/>
            <a:chOff x="334856" y="324321"/>
            <a:chExt cx="6279782" cy="6244017"/>
          </a:xfrm>
        </p:grpSpPr>
        <p:sp>
          <p:nvSpPr>
            <p:cNvPr id="6" name="Rectangle 5">
              <a:extLst>
                <a:ext uri="{FF2B5EF4-FFF2-40B4-BE49-F238E27FC236}">
                  <a16:creationId xmlns:a16="http://schemas.microsoft.com/office/drawing/2014/main" id="{2BA6AC9F-D16D-43DA-A2DF-DBAD687C4C9C}"/>
                </a:ext>
              </a:extLst>
            </p:cNvPr>
            <p:cNvSpPr/>
            <p:nvPr/>
          </p:nvSpPr>
          <p:spPr>
            <a:xfrm>
              <a:off x="334856" y="324321"/>
              <a:ext cx="6279782" cy="6244017"/>
            </a:xfrm>
            <a:prstGeom prst="rect">
              <a:avLst/>
            </a:prstGeom>
          </p:spPr>
          <p:txBody>
            <a:bodyPr wrap="square">
              <a:spAutoFit/>
            </a:bodyPr>
            <a:lstStyle/>
            <a:p>
              <a:pPr marL="0" marR="0" lvl="0" indent="0" algn="l" defTabSz="1086775" rtl="0" eaLnBrk="1" fontAlgn="auto" latinLnBrk="0" hangingPunct="1">
                <a:lnSpc>
                  <a:spcPct val="100000"/>
                </a:lnSpc>
                <a:spcBef>
                  <a:spcPts val="0"/>
                </a:spcBef>
                <a:spcAft>
                  <a:spcPts val="0"/>
                </a:spcAft>
                <a:buClrTx/>
                <a:buSzTx/>
                <a:buFontTx/>
                <a:buNone/>
                <a:tabLst/>
                <a:defRPr/>
              </a:pPr>
              <a:endParaRPr kumimoji="0" lang="en-US" sz="975"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a:p>
              <a:pPr marL="0" marR="0" lvl="0" indent="0" algn="l" defTabSz="1086775" rtl="0" eaLnBrk="1" fontAlgn="auto" latinLnBrk="0" hangingPunct="1">
                <a:lnSpc>
                  <a:spcPct val="100000"/>
                </a:lnSpc>
                <a:spcBef>
                  <a:spcPts val="0"/>
                </a:spcBef>
                <a:spcAft>
                  <a:spcPts val="0"/>
                </a:spcAft>
                <a:buClrTx/>
                <a:buSzTx/>
                <a:buFontTx/>
                <a:buNone/>
                <a:tabLst/>
                <a:defRPr/>
              </a:pPr>
              <a:r>
                <a:rPr kumimoji="0" lang="en-US" sz="975" b="1"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hlinkClick r:id="rId3" action="ppaction://hlinksldjump"/>
                </a:rPr>
                <a:t>Creo Parametric</a:t>
              </a:r>
              <a:endParaRPr kumimoji="0" lang="en-US" sz="975" b="1"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a:p>
              <a:pPr marL="0" marR="0" lvl="0" indent="0" algn="l" defTabSz="1086775" rtl="0" eaLnBrk="1" fontAlgn="auto" latinLnBrk="0" hangingPunct="1">
                <a:lnSpc>
                  <a:spcPct val="100000"/>
                </a:lnSpc>
                <a:spcBef>
                  <a:spcPts val="0"/>
                </a:spcBef>
                <a:spcAft>
                  <a:spcPts val="0"/>
                </a:spcAft>
                <a:buClrTx/>
                <a:buSzTx/>
                <a:buFontTx/>
                <a:buNone/>
                <a:tabLst/>
                <a:defRPr/>
              </a:pPr>
              <a:r>
                <a:rPr kumimoji="0" lang="en-US" sz="975" b="1"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hlinkClick r:id="" action="ppaction://noaction"/>
                </a:rPr>
                <a:t>Collaboration Extensions for Inventor and SolidWorks</a:t>
              </a:r>
              <a:endParaRPr kumimoji="0" lang="en-US" sz="975" b="1"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a:p>
              <a:pPr marL="0" marR="0" lvl="0" indent="0" algn="l" defTabSz="1086775" rtl="0" eaLnBrk="1" fontAlgn="auto" latinLnBrk="0" hangingPunct="1">
                <a:lnSpc>
                  <a:spcPct val="100000"/>
                </a:lnSpc>
                <a:spcBef>
                  <a:spcPts val="0"/>
                </a:spcBef>
                <a:spcAft>
                  <a:spcPts val="0"/>
                </a:spcAft>
                <a:buClrTx/>
                <a:buSzTx/>
                <a:buFontTx/>
                <a:buNone/>
                <a:tabLst/>
                <a:defRPr/>
              </a:pPr>
              <a:r>
                <a:rPr kumimoji="0" lang="en-US" sz="975" b="1"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hlinkClick r:id="rId4" action="ppaction://hlinksldjump"/>
                </a:rPr>
                <a:t>Simulation Elite (Linear Structural Analysis) </a:t>
              </a:r>
              <a:endParaRPr kumimoji="0" lang="en-US" sz="975" b="1"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a:p>
              <a:pPr marL="0" marR="0" lvl="0" indent="0" algn="l" defTabSz="1086775" rtl="0" eaLnBrk="1" fontAlgn="auto" latinLnBrk="0" hangingPunct="1">
                <a:lnSpc>
                  <a:spcPct val="100000"/>
                </a:lnSpc>
                <a:spcBef>
                  <a:spcPts val="0"/>
                </a:spcBef>
                <a:spcAft>
                  <a:spcPts val="0"/>
                </a:spcAft>
                <a:buClrTx/>
                <a:buSzTx/>
                <a:buFontTx/>
                <a:buNone/>
                <a:tabLst/>
                <a:defRPr/>
              </a:pPr>
              <a:r>
                <a:rPr kumimoji="0" lang="en-US" sz="975" b="1"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hlinkClick r:id="" action="ppaction://noaction"/>
                </a:rPr>
                <a:t>Flexible Modeling Extension </a:t>
              </a:r>
              <a:endParaRPr kumimoji="0" lang="en-US" sz="975" b="1"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a:p>
              <a:pPr marL="0" marR="0" lvl="0" indent="0" algn="l" defTabSz="1086775" rtl="0" eaLnBrk="1" fontAlgn="auto" latinLnBrk="0" hangingPunct="1">
                <a:lnSpc>
                  <a:spcPct val="100000"/>
                </a:lnSpc>
                <a:spcBef>
                  <a:spcPts val="0"/>
                </a:spcBef>
                <a:spcAft>
                  <a:spcPts val="0"/>
                </a:spcAft>
                <a:buClrTx/>
                <a:buSzTx/>
                <a:buFontTx/>
                <a:buNone/>
                <a:tabLst/>
                <a:defRPr/>
              </a:pPr>
              <a:r>
                <a:rPr kumimoji="0" lang="en-US" sz="975" b="1"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hlinkClick r:id="" action="ppaction://noaction"/>
                </a:rPr>
                <a:t>Design Exploration Extension </a:t>
              </a:r>
              <a:endParaRPr kumimoji="0" lang="en-US" sz="975" b="1"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a:p>
              <a:pPr marL="0" marR="0" lvl="0" indent="0" algn="l" defTabSz="1086775" rtl="0" eaLnBrk="1" fontAlgn="auto" latinLnBrk="0" hangingPunct="1">
                <a:lnSpc>
                  <a:spcPct val="100000"/>
                </a:lnSpc>
                <a:spcBef>
                  <a:spcPts val="0"/>
                </a:spcBef>
                <a:spcAft>
                  <a:spcPts val="0"/>
                </a:spcAft>
                <a:buClrTx/>
                <a:buSzTx/>
                <a:buFontTx/>
                <a:buNone/>
                <a:tabLst/>
                <a:defRPr/>
              </a:pPr>
              <a:r>
                <a:rPr kumimoji="0" lang="en-US" sz="975" b="1"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hlinkClick r:id="" action="ppaction://noaction"/>
                </a:rPr>
                <a:t>Piping and Cabling Extension </a:t>
              </a:r>
              <a:endParaRPr kumimoji="0" lang="en-US" sz="975" b="1"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a:p>
              <a:pPr marL="0" marR="0" lvl="0" indent="0" algn="l" defTabSz="1086775" rtl="0" eaLnBrk="1" fontAlgn="auto" latinLnBrk="0" hangingPunct="1">
                <a:lnSpc>
                  <a:spcPct val="100000"/>
                </a:lnSpc>
                <a:spcBef>
                  <a:spcPts val="0"/>
                </a:spcBef>
                <a:spcAft>
                  <a:spcPts val="0"/>
                </a:spcAft>
                <a:buClrTx/>
                <a:buSzTx/>
                <a:buFontTx/>
                <a:buNone/>
                <a:tabLst/>
                <a:defRPr/>
              </a:pPr>
              <a:r>
                <a:rPr kumimoji="0" lang="en-US" sz="975" b="1"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hlinkClick r:id="" action="ppaction://noaction"/>
                </a:rPr>
                <a:t>Render Studio Extension </a:t>
              </a:r>
              <a:endParaRPr kumimoji="0" lang="en-US" sz="975" b="1"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a:p>
              <a:pPr marL="0" marR="0" lvl="0" indent="0" algn="l" defTabSz="1086775" rtl="0" eaLnBrk="1" fontAlgn="auto" latinLnBrk="0" hangingPunct="1">
                <a:lnSpc>
                  <a:spcPct val="100000"/>
                </a:lnSpc>
                <a:spcBef>
                  <a:spcPts val="0"/>
                </a:spcBef>
                <a:spcAft>
                  <a:spcPts val="0"/>
                </a:spcAft>
                <a:buClrTx/>
                <a:buSzTx/>
                <a:buFontTx/>
                <a:buNone/>
                <a:tabLst/>
                <a:defRPr/>
              </a:pPr>
              <a:r>
                <a:rPr kumimoji="0" lang="en-US" sz="975" b="1"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hlinkClick r:id="" action="ppaction://noaction"/>
                </a:rPr>
                <a:t>Intelligent Fastener Extension </a:t>
              </a:r>
              <a:endParaRPr kumimoji="0" lang="en-US" sz="975" b="1"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a:p>
              <a:pPr marL="0" marR="0" lvl="0" indent="0" algn="l" defTabSz="1086775" rtl="0" eaLnBrk="1" fontAlgn="auto" latinLnBrk="0" hangingPunct="1">
                <a:lnSpc>
                  <a:spcPct val="100000"/>
                </a:lnSpc>
                <a:spcBef>
                  <a:spcPts val="0"/>
                </a:spcBef>
                <a:spcAft>
                  <a:spcPts val="0"/>
                </a:spcAft>
                <a:buClrTx/>
                <a:buSzTx/>
                <a:buFontTx/>
                <a:buNone/>
                <a:tabLst/>
                <a:defRPr/>
              </a:pPr>
              <a:r>
                <a:rPr kumimoji="0" lang="en-US" sz="975" b="1"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hlinkClick r:id="" action="ppaction://noaction"/>
                </a:rPr>
                <a:t>Advanced Framework Extension</a:t>
              </a:r>
              <a:endParaRPr kumimoji="0" lang="en-US" sz="975" b="1"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a:p>
              <a:pPr marL="0" marR="0" lvl="0" indent="0" algn="l" defTabSz="1086775" rtl="0" eaLnBrk="1" fontAlgn="auto" latinLnBrk="0" hangingPunct="1">
                <a:lnSpc>
                  <a:spcPct val="100000"/>
                </a:lnSpc>
                <a:spcBef>
                  <a:spcPts val="0"/>
                </a:spcBef>
                <a:spcAft>
                  <a:spcPts val="0"/>
                </a:spcAft>
                <a:buClrTx/>
                <a:buSzTx/>
                <a:buFontTx/>
                <a:buNone/>
                <a:tabLst/>
                <a:defRPr/>
              </a:pPr>
              <a:r>
                <a:rPr kumimoji="0" lang="en-US" sz="975" b="1"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hlinkClick r:id="" action="ppaction://noaction"/>
                </a:rPr>
                <a:t>Legacy Data Migration Extension </a:t>
              </a:r>
              <a:endParaRPr kumimoji="0" lang="en-US" sz="975" b="1"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a:p>
              <a:pPr marL="0" marR="0" lvl="0" indent="0" algn="l" defTabSz="1086775" rtl="0" eaLnBrk="1" fontAlgn="auto" latinLnBrk="0" hangingPunct="1">
                <a:lnSpc>
                  <a:spcPct val="100000"/>
                </a:lnSpc>
                <a:spcBef>
                  <a:spcPts val="0"/>
                </a:spcBef>
                <a:spcAft>
                  <a:spcPts val="0"/>
                </a:spcAft>
                <a:buClrTx/>
                <a:buSzTx/>
                <a:buFontTx/>
                <a:buNone/>
                <a:tabLst/>
                <a:defRPr/>
              </a:pPr>
              <a:r>
                <a:rPr kumimoji="0" lang="en-US" sz="975" b="1"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hlinkClick r:id="" action="ppaction://noaction"/>
                </a:rPr>
                <a:t>Human Factors Extension </a:t>
              </a:r>
              <a:endParaRPr kumimoji="0" lang="en-US" sz="975" b="1"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a:p>
              <a:pPr marL="0" marR="0" lvl="0" indent="0" algn="l" defTabSz="1086775" rtl="0" eaLnBrk="1" fontAlgn="auto" latinLnBrk="0" hangingPunct="1">
                <a:lnSpc>
                  <a:spcPct val="100000"/>
                </a:lnSpc>
                <a:spcBef>
                  <a:spcPts val="0"/>
                </a:spcBef>
                <a:spcAft>
                  <a:spcPts val="0"/>
                </a:spcAft>
                <a:buClrTx/>
                <a:buSzTx/>
                <a:buFontTx/>
                <a:buNone/>
                <a:tabLst/>
                <a:defRPr/>
              </a:pPr>
              <a:r>
                <a:rPr kumimoji="0" lang="en-US" sz="975" b="1"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hlinkClick r:id="" action="ppaction://noaction"/>
                </a:rPr>
                <a:t>Human Factors Analysis Extension</a:t>
              </a:r>
              <a:endParaRPr kumimoji="0" lang="en-US" sz="975" b="1"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a:p>
              <a:pPr marL="0" marR="0" lvl="0" indent="0" algn="l" defTabSz="1086775" rtl="0" eaLnBrk="1" fontAlgn="auto" latinLnBrk="0" hangingPunct="1">
                <a:lnSpc>
                  <a:spcPct val="100000"/>
                </a:lnSpc>
                <a:spcBef>
                  <a:spcPts val="0"/>
                </a:spcBef>
                <a:spcAft>
                  <a:spcPts val="0"/>
                </a:spcAft>
                <a:buClrTx/>
                <a:buSzTx/>
                <a:buFontTx/>
                <a:buNone/>
                <a:tabLst/>
                <a:defRPr/>
              </a:pPr>
              <a:r>
                <a:rPr kumimoji="0" lang="en-US" sz="975" b="1"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hlinkClick r:id="" action="ppaction://noaction"/>
                </a:rPr>
                <a:t>Mathcad Express</a:t>
              </a:r>
              <a:endParaRPr kumimoji="0" lang="en-US" sz="975" b="1"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a:p>
              <a:pPr marL="0" marR="0" lvl="0" indent="0" algn="l" defTabSz="1086775" rtl="0" eaLnBrk="1" fontAlgn="auto" latinLnBrk="0" hangingPunct="1">
                <a:lnSpc>
                  <a:spcPct val="100000"/>
                </a:lnSpc>
                <a:spcBef>
                  <a:spcPts val="0"/>
                </a:spcBef>
                <a:spcAft>
                  <a:spcPts val="0"/>
                </a:spcAft>
                <a:buClrTx/>
                <a:buSzTx/>
                <a:buFontTx/>
                <a:buNone/>
                <a:tabLst/>
                <a:defRPr/>
              </a:pPr>
              <a:r>
                <a:rPr kumimoji="0" lang="en-US" sz="975" b="1"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hlinkClick r:id="" action="ppaction://noaction"/>
                </a:rPr>
                <a:t>Advanced Assembly Extension </a:t>
              </a:r>
              <a:endParaRPr kumimoji="0" lang="en-US" sz="975" b="1"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a:p>
              <a:pPr marL="0" marR="0" lvl="0" indent="0" algn="l" defTabSz="1086775" rtl="0" eaLnBrk="1" fontAlgn="auto" latinLnBrk="0" hangingPunct="1">
                <a:lnSpc>
                  <a:spcPct val="100000"/>
                </a:lnSpc>
                <a:spcBef>
                  <a:spcPts val="0"/>
                </a:spcBef>
                <a:spcAft>
                  <a:spcPts val="0"/>
                </a:spcAft>
                <a:buClrTx/>
                <a:buSzTx/>
                <a:buFontTx/>
                <a:buNone/>
                <a:tabLst/>
                <a:defRPr/>
              </a:pPr>
              <a:r>
                <a:rPr kumimoji="0" lang="en-US" sz="975" b="1"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hlinkClick r:id="" action="ppaction://noaction"/>
                </a:rPr>
                <a:t>Prismatic and Multi-Surfaces Milling Extension</a:t>
              </a:r>
              <a:endParaRPr kumimoji="0" lang="en-US" sz="975" b="1"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a:p>
              <a:pPr marL="0" marR="0" lvl="0" indent="0" algn="l" defTabSz="1086775" rtl="0" eaLnBrk="1" fontAlgn="auto" latinLnBrk="0" hangingPunct="1">
                <a:lnSpc>
                  <a:spcPct val="100000"/>
                </a:lnSpc>
                <a:spcBef>
                  <a:spcPts val="0"/>
                </a:spcBef>
                <a:spcAft>
                  <a:spcPts val="0"/>
                </a:spcAft>
                <a:buClrTx/>
                <a:buSzTx/>
                <a:buFontTx/>
                <a:buNone/>
                <a:tabLst/>
                <a:defRPr/>
              </a:pPr>
              <a:r>
                <a:rPr lang="en-US" sz="975" b="1" dirty="0">
                  <a:solidFill>
                    <a:srgbClr val="3D4647"/>
                  </a:solidFill>
                  <a:latin typeface="PTCRaleway" panose="020B0503030101060003" pitchFamily="34" charset="0"/>
                  <a:hlinkClick r:id="" action="ppaction://noaction"/>
                </a:rPr>
                <a:t>Mathcad</a:t>
              </a:r>
              <a:endParaRPr kumimoji="0" lang="en-US" sz="975" b="1"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a:p>
              <a:pPr marL="0" marR="0" lvl="0" indent="0" algn="l" defTabSz="1086775" rtl="0" eaLnBrk="1" fontAlgn="auto" latinLnBrk="0" hangingPunct="1">
                <a:lnSpc>
                  <a:spcPct val="100000"/>
                </a:lnSpc>
                <a:spcBef>
                  <a:spcPts val="0"/>
                </a:spcBef>
                <a:spcAft>
                  <a:spcPts val="0"/>
                </a:spcAft>
                <a:buClrTx/>
                <a:buSzTx/>
                <a:buFontTx/>
                <a:buNone/>
                <a:tabLst/>
                <a:defRPr/>
              </a:pPr>
              <a:r>
                <a:rPr kumimoji="0" lang="en-US" sz="975" b="1"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hlinkClick r:id="" action="ppaction://noaction"/>
                </a:rPr>
                <a:t>Additive Manufacturing Extension – Standard </a:t>
              </a:r>
              <a:endParaRPr kumimoji="0" lang="en-US" sz="975" b="1"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a:p>
              <a:pPr marL="0" marR="0" lvl="0" indent="0" algn="l" defTabSz="1086775" rtl="0" eaLnBrk="1" fontAlgn="auto" latinLnBrk="0" hangingPunct="1">
                <a:lnSpc>
                  <a:spcPct val="100000"/>
                </a:lnSpc>
                <a:spcBef>
                  <a:spcPts val="0"/>
                </a:spcBef>
                <a:spcAft>
                  <a:spcPts val="0"/>
                </a:spcAft>
                <a:buClrTx/>
                <a:buSzTx/>
                <a:buFontTx/>
                <a:buNone/>
                <a:tabLst/>
                <a:defRPr/>
              </a:pPr>
              <a:r>
                <a:rPr kumimoji="0" lang="en-US" sz="975" b="1"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hlinkClick r:id="" action="ppaction://noaction"/>
                </a:rPr>
                <a:t>Interactive Surface Design Extension II (ISDX II)</a:t>
              </a:r>
              <a:endParaRPr kumimoji="0" lang="en-US" sz="975" b="1"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a:p>
              <a:pPr marL="0" marR="0" lvl="0" indent="0" algn="l" defTabSz="1086775" rtl="0" eaLnBrk="1" fontAlgn="auto" latinLnBrk="0" hangingPunct="1">
                <a:lnSpc>
                  <a:spcPct val="100000"/>
                </a:lnSpc>
                <a:spcBef>
                  <a:spcPts val="0"/>
                </a:spcBef>
                <a:spcAft>
                  <a:spcPts val="0"/>
                </a:spcAft>
                <a:buClrTx/>
                <a:buSzTx/>
                <a:buFontTx/>
                <a:buNone/>
                <a:tabLst/>
                <a:defRPr/>
              </a:pPr>
              <a:r>
                <a:rPr kumimoji="0" lang="en-US" sz="975" b="1"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hlinkClick r:id="" action="ppaction://noaction"/>
                </a:rPr>
                <a:t>Behavioral Modeling Extension</a:t>
              </a:r>
              <a:endParaRPr kumimoji="0" lang="en-US" sz="975" b="1"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a:p>
              <a:pPr marL="0" marR="0" lvl="0" indent="0" algn="l" defTabSz="1086775" rtl="0" eaLnBrk="1" fontAlgn="auto" latinLnBrk="0" hangingPunct="1">
                <a:lnSpc>
                  <a:spcPct val="100000"/>
                </a:lnSpc>
                <a:spcBef>
                  <a:spcPts val="0"/>
                </a:spcBef>
                <a:spcAft>
                  <a:spcPts val="0"/>
                </a:spcAft>
                <a:buClrTx/>
                <a:buSzTx/>
                <a:buFontTx/>
                <a:buNone/>
                <a:tabLst/>
                <a:defRPr/>
              </a:pPr>
              <a:r>
                <a:rPr kumimoji="0" lang="en-US" sz="975" b="1"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hlinkClick r:id="" action="ppaction://noaction"/>
                </a:rPr>
                <a:t>Mechanism Dynamics Extension (MDO)</a:t>
              </a:r>
              <a:endParaRPr kumimoji="0" lang="en-US" sz="975" b="1"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a:p>
              <a:pPr marL="0" marR="0" lvl="0" indent="0" algn="l" defTabSz="1086775" rtl="0" eaLnBrk="1" fontAlgn="auto" latinLnBrk="0" hangingPunct="1">
                <a:lnSpc>
                  <a:spcPct val="100000"/>
                </a:lnSpc>
                <a:spcBef>
                  <a:spcPts val="0"/>
                </a:spcBef>
                <a:spcAft>
                  <a:spcPts val="0"/>
                </a:spcAft>
                <a:buClrTx/>
                <a:buSzTx/>
                <a:buFontTx/>
                <a:buNone/>
                <a:tabLst/>
                <a:defRPr/>
              </a:pPr>
              <a:r>
                <a:rPr kumimoji="0" lang="en-US" sz="975" b="1"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hlinkClick r:id="" action="ppaction://noaction"/>
                </a:rPr>
                <a:t>EZ Tolerance </a:t>
              </a:r>
              <a:r>
                <a:rPr kumimoji="0" lang="en-US" sz="975" b="1" i="0" u="none" strike="noStrike" kern="1200" cap="none" spc="0" normalizeH="0" baseline="0" noProof="0">
                  <a:ln>
                    <a:noFill/>
                  </a:ln>
                  <a:solidFill>
                    <a:srgbClr val="3D4647"/>
                  </a:solidFill>
                  <a:effectLst/>
                  <a:uLnTx/>
                  <a:uFillTx/>
                  <a:latin typeface="PTCRaleway" panose="020B0503030101060003" pitchFamily="34" charset="0"/>
                  <a:ea typeface="+mn-ea"/>
                  <a:cs typeface="+mn-cs"/>
                  <a:hlinkClick r:id="" action="ppaction://noaction"/>
                </a:rPr>
                <a:t>Analysis Extension</a:t>
              </a:r>
              <a:r>
                <a:rPr kumimoji="0" lang="en-US" sz="975" b="1" i="0" u="none" strike="noStrike" kern="1200" cap="none" spc="0" normalizeH="0" baseline="0" noProof="0">
                  <a:ln>
                    <a:noFill/>
                  </a:ln>
                  <a:solidFill>
                    <a:srgbClr val="3D4647"/>
                  </a:solidFill>
                  <a:effectLst/>
                  <a:uLnTx/>
                  <a:uFillTx/>
                  <a:latin typeface="PTCRaleway" panose="020B0503030101060003" pitchFamily="34" charset="0"/>
                  <a:ea typeface="+mn-ea"/>
                  <a:cs typeface="+mn-cs"/>
                </a:rPr>
                <a:t> </a:t>
              </a:r>
              <a:r>
                <a:rPr kumimoji="0" lang="en-US" sz="975" b="1"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rPr>
                <a:t>(See Notes)</a:t>
              </a:r>
            </a:p>
            <a:p>
              <a:pPr marL="0" marR="0" lvl="0" indent="0" algn="l" defTabSz="1086775" rtl="0" eaLnBrk="1" fontAlgn="auto" latinLnBrk="0" hangingPunct="1">
                <a:lnSpc>
                  <a:spcPct val="100000"/>
                </a:lnSpc>
                <a:spcBef>
                  <a:spcPts val="0"/>
                </a:spcBef>
                <a:spcAft>
                  <a:spcPts val="0"/>
                </a:spcAft>
                <a:buClrTx/>
                <a:buSzTx/>
                <a:buFontTx/>
                <a:buNone/>
                <a:tabLst/>
                <a:defRPr/>
              </a:pPr>
              <a:r>
                <a:rPr kumimoji="0" lang="en-US" sz="975" b="1"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hlinkClick r:id="" action="ppaction://noaction"/>
                </a:rPr>
                <a:t>GD&amp;T Advisor Extension</a:t>
              </a:r>
              <a:endParaRPr kumimoji="0" lang="en-US" sz="975" b="1"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a:p>
              <a:pPr marL="0" marR="0" lvl="0" indent="0" algn="l" defTabSz="1086775" rtl="0" eaLnBrk="1" fontAlgn="auto" latinLnBrk="0" hangingPunct="1">
                <a:lnSpc>
                  <a:spcPct val="100000"/>
                </a:lnSpc>
                <a:spcBef>
                  <a:spcPts val="0"/>
                </a:spcBef>
                <a:spcAft>
                  <a:spcPts val="0"/>
                </a:spcAft>
                <a:buClrTx/>
                <a:buSzTx/>
                <a:buFontTx/>
                <a:buNone/>
                <a:tabLst/>
                <a:defRPr/>
              </a:pPr>
              <a:r>
                <a:rPr kumimoji="0" lang="en-US" sz="975" b="1"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hlinkClick r:id="" action="ppaction://noaction"/>
                </a:rPr>
                <a:t>Tool Design Extension (TDO)</a:t>
              </a:r>
              <a:endParaRPr kumimoji="0" lang="en-US" sz="975" b="1"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a:p>
              <a:pPr marL="0" marR="0" lvl="0" indent="0" algn="l" defTabSz="1086775" rtl="0" eaLnBrk="1" fontAlgn="auto" latinLnBrk="0" hangingPunct="1">
                <a:lnSpc>
                  <a:spcPct val="100000"/>
                </a:lnSpc>
                <a:spcBef>
                  <a:spcPts val="0"/>
                </a:spcBef>
                <a:spcAft>
                  <a:spcPts val="0"/>
                </a:spcAft>
                <a:buClrTx/>
                <a:buSzTx/>
                <a:buFontTx/>
                <a:buNone/>
                <a:tabLst/>
                <a:defRPr/>
              </a:pPr>
              <a:r>
                <a:rPr kumimoji="0" lang="en-US" sz="975" b="1"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hlinkClick r:id="" action="ppaction://noaction"/>
                </a:rPr>
                <a:t>Expert Moldbase Extension (EMX)</a:t>
              </a:r>
              <a:endParaRPr kumimoji="0" lang="en-US" sz="975" b="1"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a:p>
              <a:pPr marL="0" marR="0" lvl="0" indent="0" algn="l" defTabSz="1086775" rtl="0" eaLnBrk="1" fontAlgn="auto" latinLnBrk="0" hangingPunct="1">
                <a:lnSpc>
                  <a:spcPct val="100000"/>
                </a:lnSpc>
                <a:spcBef>
                  <a:spcPts val="0"/>
                </a:spcBef>
                <a:spcAft>
                  <a:spcPts val="0"/>
                </a:spcAft>
                <a:buClrTx/>
                <a:buSzTx/>
                <a:buFontTx/>
                <a:buNone/>
                <a:tabLst/>
                <a:defRPr/>
              </a:pPr>
              <a:r>
                <a:rPr lang="en-US" sz="975" b="1" dirty="0">
                  <a:solidFill>
                    <a:srgbClr val="3D4647"/>
                  </a:solidFill>
                  <a:latin typeface="PTCRaleway" panose="020B0503030101060003" pitchFamily="34" charset="0"/>
                  <a:hlinkClick r:id="" action="ppaction://noaction"/>
                </a:rPr>
                <a:t>High Speed Milling Advanced </a:t>
              </a:r>
              <a:r>
                <a:rPr kumimoji="0" lang="en-US" sz="975" b="1" i="0" u="none" strike="noStrike" kern="1200" cap="none" spc="0" normalizeH="0" baseline="0" noProof="0" dirty="0">
                  <a:ln>
                    <a:noFill/>
                  </a:ln>
                  <a:solidFill>
                    <a:srgbClr val="3D4647"/>
                  </a:solidFill>
                  <a:effectLst/>
                  <a:uLnTx/>
                  <a:uFillTx/>
                  <a:latin typeface="PTCRaleway" panose="020B0503030101060003" pitchFamily="34" charset="0"/>
                  <a:hlinkClick r:id="" action="ppaction://noaction"/>
                </a:rPr>
                <a:t>Extension </a:t>
              </a:r>
              <a:r>
                <a:rPr kumimoji="0" lang="en-US" sz="975" b="1" i="0" u="none" strike="noStrike" kern="1200" cap="none" spc="0" normalizeH="0" baseline="0" noProof="0" dirty="0">
                  <a:ln>
                    <a:noFill/>
                  </a:ln>
                  <a:solidFill>
                    <a:srgbClr val="3D4647"/>
                  </a:solidFill>
                  <a:effectLst/>
                  <a:uLnTx/>
                  <a:uFillTx/>
                  <a:latin typeface="PTCRaleway" panose="020B0503030101060003" pitchFamily="34" charset="0"/>
                </a:rPr>
                <a:t>(see Notes)</a:t>
              </a:r>
              <a:endParaRPr kumimoji="0" lang="en-US" sz="975" b="1"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a:p>
              <a:pPr marL="0" marR="0" lvl="0" indent="0" algn="l" defTabSz="1086775" rtl="0" eaLnBrk="1" fontAlgn="auto" latinLnBrk="0" hangingPunct="1">
                <a:lnSpc>
                  <a:spcPct val="100000"/>
                </a:lnSpc>
                <a:spcBef>
                  <a:spcPts val="0"/>
                </a:spcBef>
                <a:spcAft>
                  <a:spcPts val="0"/>
                </a:spcAft>
                <a:buClrTx/>
                <a:buSzTx/>
                <a:buFontTx/>
                <a:buNone/>
                <a:tabLst/>
                <a:defRPr/>
              </a:pPr>
              <a:r>
                <a:rPr kumimoji="0" lang="en-US" sz="975" b="1"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hlinkClick r:id="" action="ppaction://noaction"/>
                </a:rPr>
                <a:t>Layout Extension</a:t>
              </a:r>
              <a:endParaRPr kumimoji="0" lang="en-US" sz="975" b="1"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a:p>
              <a:pPr marL="0" marR="0" lvl="0" indent="0" algn="l" defTabSz="1086775" rtl="0" eaLnBrk="1" fontAlgn="auto" latinLnBrk="0" hangingPunct="1">
                <a:lnSpc>
                  <a:spcPct val="100000"/>
                </a:lnSpc>
                <a:spcBef>
                  <a:spcPts val="0"/>
                </a:spcBef>
                <a:spcAft>
                  <a:spcPts val="0"/>
                </a:spcAft>
                <a:buClrTx/>
                <a:buSzTx/>
                <a:buFontTx/>
                <a:buNone/>
                <a:tabLst/>
                <a:defRPr/>
              </a:pPr>
              <a:r>
                <a:rPr kumimoji="0" lang="en-US" sz="975" b="1"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hlinkClick r:id="" action="ppaction://noaction"/>
                </a:rPr>
                <a:t>Collaboration Extensions for CATIA V4 and V5</a:t>
              </a:r>
              <a:endParaRPr kumimoji="0" lang="en-US" sz="975" b="1"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a:p>
              <a:pPr marL="0" marR="0" lvl="0" indent="0" algn="l" defTabSz="1086775" rtl="0" eaLnBrk="1" fontAlgn="auto" latinLnBrk="0" hangingPunct="1">
                <a:lnSpc>
                  <a:spcPct val="100000"/>
                </a:lnSpc>
                <a:spcBef>
                  <a:spcPts val="0"/>
                </a:spcBef>
                <a:spcAft>
                  <a:spcPts val="0"/>
                </a:spcAft>
                <a:buClrTx/>
                <a:buSzTx/>
                <a:buFontTx/>
                <a:buNone/>
                <a:tabLst/>
                <a:defRPr/>
              </a:pPr>
              <a:r>
                <a:rPr kumimoji="0" lang="en-US" sz="975" b="1"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hlinkClick r:id="" action="ppaction://noaction"/>
                </a:rPr>
                <a:t>Collaboration Extension for NX</a:t>
              </a:r>
              <a:endParaRPr kumimoji="0" lang="en-US" sz="975" b="1"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a:p>
              <a:pPr marL="0" marR="0" lvl="0" indent="0" algn="l" defTabSz="1086775" rtl="0" eaLnBrk="1" fontAlgn="auto" latinLnBrk="0" hangingPunct="1">
                <a:lnSpc>
                  <a:spcPct val="100000"/>
                </a:lnSpc>
                <a:spcBef>
                  <a:spcPts val="0"/>
                </a:spcBef>
                <a:spcAft>
                  <a:spcPts val="0"/>
                </a:spcAft>
                <a:buClrTx/>
                <a:buSzTx/>
                <a:buFontTx/>
                <a:buNone/>
                <a:tabLst/>
                <a:defRPr/>
              </a:pPr>
              <a:r>
                <a:rPr kumimoji="0" lang="en-US" sz="975" b="1"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hlinkClick r:id="rId5" action="ppaction://hlinksldjump"/>
                </a:rPr>
                <a:t>Simulation Extension</a:t>
              </a:r>
              <a:endParaRPr kumimoji="0" lang="en-US" sz="975" b="1"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a:p>
              <a:pPr marL="0" marR="0" lvl="0" indent="0" algn="l" defTabSz="1086775" rtl="0" eaLnBrk="1" fontAlgn="auto" latinLnBrk="0" hangingPunct="1">
                <a:lnSpc>
                  <a:spcPct val="100000"/>
                </a:lnSpc>
                <a:spcBef>
                  <a:spcPts val="0"/>
                </a:spcBef>
                <a:spcAft>
                  <a:spcPts val="0"/>
                </a:spcAft>
                <a:buClrTx/>
                <a:buSzTx/>
                <a:buFontTx/>
                <a:buNone/>
                <a:tabLst/>
                <a:defRPr/>
              </a:pPr>
              <a:r>
                <a:rPr kumimoji="0" lang="en-US" sz="975" b="1"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hlinkClick r:id="rId6" action="ppaction://hlinksldjump"/>
                </a:rPr>
                <a:t>Fatigue Advisor Extension</a:t>
              </a:r>
              <a:endParaRPr kumimoji="0" lang="en-US" sz="975" b="1"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a:p>
              <a:pPr marL="0" marR="0" lvl="0" indent="0" algn="l" defTabSz="1086775" rtl="0" eaLnBrk="1" fontAlgn="auto" latinLnBrk="0" hangingPunct="1">
                <a:lnSpc>
                  <a:spcPct val="100000"/>
                </a:lnSpc>
                <a:spcBef>
                  <a:spcPts val="0"/>
                </a:spcBef>
                <a:spcAft>
                  <a:spcPts val="0"/>
                </a:spcAft>
                <a:buClrTx/>
                <a:buSzTx/>
                <a:buFontTx/>
                <a:buNone/>
                <a:tabLst/>
                <a:defRPr/>
              </a:pPr>
              <a:r>
                <a:rPr kumimoji="0" lang="en-US" sz="975" b="1"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hlinkClick r:id="rId7" action="ppaction://hlinksldjump"/>
                </a:rPr>
                <a:t>Flow Analysis</a:t>
              </a:r>
              <a:endParaRPr kumimoji="0" lang="en-US" sz="975" b="1"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a:p>
              <a:pPr marL="0" marR="0" lvl="0" indent="0" algn="l" defTabSz="1086775" rtl="0" eaLnBrk="1" fontAlgn="auto" latinLnBrk="0" hangingPunct="1">
                <a:lnSpc>
                  <a:spcPct val="100000"/>
                </a:lnSpc>
                <a:spcBef>
                  <a:spcPts val="0"/>
                </a:spcBef>
                <a:spcAft>
                  <a:spcPts val="0"/>
                </a:spcAft>
                <a:buClrTx/>
                <a:buSzTx/>
                <a:buFontTx/>
                <a:buNone/>
                <a:tabLst/>
                <a:defRPr/>
              </a:pPr>
              <a:r>
                <a:rPr kumimoji="0" lang="en-US" sz="975" b="1"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hlinkClick r:id="" action="ppaction://noaction"/>
                </a:rPr>
                <a:t>GD&amp;T Advisor Advanced</a:t>
              </a:r>
              <a:endParaRPr kumimoji="0" lang="en-US" sz="975" b="1"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a:p>
              <a:pPr marL="0" marR="0" lvl="0" indent="0" algn="l" defTabSz="1086775" rtl="0" eaLnBrk="1" fontAlgn="auto" latinLnBrk="0" hangingPunct="1">
                <a:lnSpc>
                  <a:spcPct val="100000"/>
                </a:lnSpc>
                <a:spcBef>
                  <a:spcPts val="0"/>
                </a:spcBef>
                <a:spcAft>
                  <a:spcPts val="0"/>
                </a:spcAft>
                <a:buClrTx/>
                <a:buSzTx/>
                <a:buFontTx/>
                <a:buNone/>
                <a:tabLst/>
                <a:defRPr/>
              </a:pPr>
              <a:r>
                <a:rPr kumimoji="0" lang="en-US" sz="975" b="1"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hlinkClick r:id="" action="ppaction://noaction"/>
                </a:rPr>
                <a:t>Production Machining Extension</a:t>
              </a:r>
              <a:endParaRPr kumimoji="0" lang="en-US" sz="975" b="1"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a:p>
              <a:pPr marL="0" marR="0" lvl="0" indent="0" algn="l" defTabSz="1086775" rtl="0" eaLnBrk="1" fontAlgn="auto" latinLnBrk="0" hangingPunct="1">
                <a:lnSpc>
                  <a:spcPct val="100000"/>
                </a:lnSpc>
                <a:spcBef>
                  <a:spcPts val="0"/>
                </a:spcBef>
                <a:spcAft>
                  <a:spcPts val="0"/>
                </a:spcAft>
                <a:buClrTx/>
                <a:buSzTx/>
                <a:buFontTx/>
                <a:buNone/>
                <a:tabLst/>
                <a:defRPr/>
              </a:pPr>
              <a:r>
                <a:rPr kumimoji="0" lang="en-US" sz="975" b="1"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hlinkClick r:id="" action="ppaction://noaction"/>
                </a:rPr>
                <a:t>NC Sheetmetal Extension</a:t>
              </a:r>
              <a:endParaRPr kumimoji="0" lang="en-US" sz="975" b="1"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a:p>
              <a:pPr marL="0" marR="0" lvl="0" indent="0" algn="l" defTabSz="1086775" rtl="0" eaLnBrk="1" fontAlgn="auto" latinLnBrk="0" hangingPunct="1">
                <a:lnSpc>
                  <a:spcPct val="100000"/>
                </a:lnSpc>
                <a:spcBef>
                  <a:spcPts val="0"/>
                </a:spcBef>
                <a:spcAft>
                  <a:spcPts val="0"/>
                </a:spcAft>
                <a:buClrTx/>
                <a:buSzTx/>
                <a:buFontTx/>
                <a:buNone/>
                <a:tabLst/>
                <a:defRPr/>
              </a:pPr>
              <a:r>
                <a:rPr kumimoji="0" lang="en-US" sz="975" b="1"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hlinkClick r:id="rId4" action="ppaction://hlinksldjump"/>
                </a:rPr>
                <a:t>Advanced Simulation Extension</a:t>
              </a:r>
              <a:endParaRPr kumimoji="0" lang="en-US" sz="975" b="1"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a:p>
              <a:pPr marL="0" marR="0" lvl="0" indent="0" algn="l" defTabSz="1086775" rtl="0" eaLnBrk="1" fontAlgn="auto" latinLnBrk="0" hangingPunct="1">
                <a:lnSpc>
                  <a:spcPct val="100000"/>
                </a:lnSpc>
                <a:spcBef>
                  <a:spcPts val="0"/>
                </a:spcBef>
                <a:spcAft>
                  <a:spcPts val="0"/>
                </a:spcAft>
                <a:buClrTx/>
                <a:buSzTx/>
                <a:buFontTx/>
                <a:buNone/>
                <a:tabLst/>
                <a:defRPr/>
              </a:pPr>
              <a:r>
                <a:rPr kumimoji="0" lang="en-US" sz="975" b="1"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hlinkClick r:id="" action="ppaction://noaction"/>
                </a:rPr>
                <a:t>Complete Machining Extension</a:t>
              </a:r>
              <a:endParaRPr kumimoji="0" lang="en-US" sz="975" b="1"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a:p>
              <a:pPr marL="0" marR="0" lvl="0" indent="0" algn="l" defTabSz="1086775" rtl="0" eaLnBrk="1" fontAlgn="auto" latinLnBrk="0" hangingPunct="1">
                <a:lnSpc>
                  <a:spcPct val="100000"/>
                </a:lnSpc>
                <a:spcBef>
                  <a:spcPts val="0"/>
                </a:spcBef>
                <a:spcAft>
                  <a:spcPts val="0"/>
                </a:spcAft>
                <a:buClrTx/>
                <a:buSzTx/>
                <a:buFontTx/>
                <a:buNone/>
                <a:tabLst/>
                <a:defRPr/>
              </a:pPr>
              <a:r>
                <a:rPr kumimoji="0" lang="en-US" sz="975" b="1"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hlinkClick r:id="rId8" action="ppaction://hlinksldjump"/>
                </a:rPr>
                <a:t>Flow Analysis Advanced</a:t>
              </a:r>
              <a:endParaRPr kumimoji="0" lang="en-US" sz="975" b="1"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a:p>
              <a:pPr marL="0" marR="0" lvl="0" indent="0" algn="l" defTabSz="1086775" rtl="0" eaLnBrk="1" fontAlgn="auto" latinLnBrk="0" hangingPunct="1">
                <a:lnSpc>
                  <a:spcPct val="100000"/>
                </a:lnSpc>
                <a:spcBef>
                  <a:spcPts val="0"/>
                </a:spcBef>
                <a:spcAft>
                  <a:spcPts val="0"/>
                </a:spcAft>
                <a:buClrTx/>
                <a:buSzTx/>
                <a:buFontTx/>
                <a:buNone/>
                <a:tabLst/>
                <a:defRPr/>
              </a:pPr>
              <a:r>
                <a:rPr kumimoji="0" lang="en-US" sz="975" b="1"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hlinkClick r:id="" action="ppaction://noaction"/>
                </a:rPr>
                <a:t>Options Modeler Extension</a:t>
              </a:r>
              <a:endParaRPr kumimoji="0" lang="en-US" sz="975" b="1"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a:p>
              <a:pPr marL="0" marR="0" lvl="0" indent="0" algn="l" defTabSz="1086775" rtl="0" eaLnBrk="1" fontAlgn="auto" latinLnBrk="0" hangingPunct="1">
                <a:lnSpc>
                  <a:spcPct val="100000"/>
                </a:lnSpc>
                <a:spcBef>
                  <a:spcPts val="0"/>
                </a:spcBef>
                <a:spcAft>
                  <a:spcPts val="0"/>
                </a:spcAft>
                <a:buClrTx/>
                <a:buSzTx/>
                <a:buFontTx/>
                <a:buNone/>
                <a:tabLst/>
                <a:defRPr/>
              </a:pPr>
              <a:r>
                <a:rPr kumimoji="0" lang="en-US" sz="975" b="1"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hlinkClick r:id="" action="ppaction://noaction"/>
                </a:rPr>
                <a:t>Creo Generative Topology Optimization (GTO)</a:t>
              </a:r>
              <a:r>
                <a:rPr kumimoji="0" lang="en-US" sz="975" b="1"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rPr>
                <a:t> (See Notes)</a:t>
              </a:r>
            </a:p>
            <a:p>
              <a:pPr marL="0" marR="0" lvl="0" indent="0" algn="l" defTabSz="1086775" rtl="0" eaLnBrk="1" fontAlgn="auto" latinLnBrk="0" hangingPunct="1">
                <a:lnSpc>
                  <a:spcPct val="100000"/>
                </a:lnSpc>
                <a:spcBef>
                  <a:spcPts val="0"/>
                </a:spcBef>
                <a:spcAft>
                  <a:spcPts val="0"/>
                </a:spcAft>
                <a:buClrTx/>
                <a:buSzTx/>
                <a:buFontTx/>
                <a:buNone/>
                <a:tabLst/>
                <a:defRPr/>
              </a:pPr>
              <a:r>
                <a:rPr kumimoji="0" lang="en-US" sz="975" b="1"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hlinkClick r:id="" action="ppaction://noaction"/>
                </a:rPr>
                <a:t>Additive Manufacturing Advanced Extension</a:t>
              </a:r>
              <a:endParaRPr kumimoji="0" lang="en-US" sz="975" b="1"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endParaRPr>
            </a:p>
          </p:txBody>
        </p:sp>
        <p:cxnSp>
          <p:nvCxnSpPr>
            <p:cNvPr id="10" name="Straight Connector 9">
              <a:extLst>
                <a:ext uri="{FF2B5EF4-FFF2-40B4-BE49-F238E27FC236}">
                  <a16:creationId xmlns:a16="http://schemas.microsoft.com/office/drawing/2014/main" id="{D0AE1952-5C8A-4E2F-B924-FF01DB378FD2}"/>
                </a:ext>
              </a:extLst>
            </p:cNvPr>
            <p:cNvCxnSpPr/>
            <p:nvPr/>
          </p:nvCxnSpPr>
          <p:spPr>
            <a:xfrm>
              <a:off x="1318260" y="635718"/>
              <a:ext cx="5183488" cy="0"/>
            </a:xfrm>
            <a:prstGeom prst="line">
              <a:avLst/>
            </a:prstGeom>
            <a:ln w="9525">
              <a:solidFill>
                <a:schemeClr val="tx2">
                  <a:lumMod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D5F1B70C-CA3C-456C-8C75-5C77B906F475}"/>
                </a:ext>
              </a:extLst>
            </p:cNvPr>
            <p:cNvCxnSpPr>
              <a:cxnSpLocks/>
            </p:cNvCxnSpPr>
            <p:nvPr/>
          </p:nvCxnSpPr>
          <p:spPr>
            <a:xfrm>
              <a:off x="3491345" y="794468"/>
              <a:ext cx="3010403" cy="0"/>
            </a:xfrm>
            <a:prstGeom prst="line">
              <a:avLst/>
            </a:prstGeom>
            <a:ln w="9525">
              <a:solidFill>
                <a:schemeClr val="tx2">
                  <a:lumMod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3" name="Straight Connector 12">
              <a:hlinkClick r:id="rId4" action="ppaction://hlinksldjump"/>
              <a:extLst>
                <a:ext uri="{FF2B5EF4-FFF2-40B4-BE49-F238E27FC236}">
                  <a16:creationId xmlns:a16="http://schemas.microsoft.com/office/drawing/2014/main" id="{146EA342-BCE3-4491-9804-8678E17D7EEF}"/>
                </a:ext>
              </a:extLst>
            </p:cNvPr>
            <p:cNvCxnSpPr>
              <a:cxnSpLocks/>
            </p:cNvCxnSpPr>
            <p:nvPr/>
          </p:nvCxnSpPr>
          <p:spPr>
            <a:xfrm>
              <a:off x="2860964" y="950678"/>
              <a:ext cx="3640784" cy="0"/>
            </a:xfrm>
            <a:prstGeom prst="line">
              <a:avLst/>
            </a:prstGeom>
            <a:ln w="9525">
              <a:solidFill>
                <a:schemeClr val="tx2">
                  <a:lumMod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CF90711F-316E-4A92-B9B5-40B57E9B637A}"/>
                </a:ext>
              </a:extLst>
            </p:cNvPr>
            <p:cNvCxnSpPr>
              <a:cxnSpLocks/>
            </p:cNvCxnSpPr>
            <p:nvPr/>
          </p:nvCxnSpPr>
          <p:spPr>
            <a:xfrm>
              <a:off x="1973580" y="1084028"/>
              <a:ext cx="4528168" cy="0"/>
            </a:xfrm>
            <a:prstGeom prst="line">
              <a:avLst/>
            </a:prstGeom>
            <a:ln w="9525">
              <a:solidFill>
                <a:schemeClr val="tx2">
                  <a:lumMod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6F4A0B5A-B714-4D0B-8C74-AFC4EC99772D}"/>
                </a:ext>
              </a:extLst>
            </p:cNvPr>
            <p:cNvCxnSpPr>
              <a:cxnSpLocks/>
            </p:cNvCxnSpPr>
            <p:nvPr/>
          </p:nvCxnSpPr>
          <p:spPr>
            <a:xfrm>
              <a:off x="2042160" y="1230078"/>
              <a:ext cx="4459588" cy="0"/>
            </a:xfrm>
            <a:prstGeom prst="line">
              <a:avLst/>
            </a:prstGeom>
            <a:ln w="9525">
              <a:solidFill>
                <a:schemeClr val="tx2">
                  <a:lumMod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5B4CDCE9-8BC7-4B14-B306-3C0266F86125}"/>
                </a:ext>
              </a:extLst>
            </p:cNvPr>
            <p:cNvCxnSpPr>
              <a:cxnSpLocks/>
            </p:cNvCxnSpPr>
            <p:nvPr/>
          </p:nvCxnSpPr>
          <p:spPr>
            <a:xfrm>
              <a:off x="2110740" y="1395178"/>
              <a:ext cx="4391008" cy="0"/>
            </a:xfrm>
            <a:prstGeom prst="line">
              <a:avLst/>
            </a:prstGeom>
            <a:ln w="9525">
              <a:solidFill>
                <a:schemeClr val="tx2">
                  <a:lumMod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0F42CF3D-2DC6-4178-8CC6-0592469B0A94}"/>
                </a:ext>
              </a:extLst>
            </p:cNvPr>
            <p:cNvCxnSpPr>
              <a:cxnSpLocks/>
            </p:cNvCxnSpPr>
            <p:nvPr/>
          </p:nvCxnSpPr>
          <p:spPr>
            <a:xfrm>
              <a:off x="1783080" y="1533608"/>
              <a:ext cx="4718668" cy="0"/>
            </a:xfrm>
            <a:prstGeom prst="line">
              <a:avLst/>
            </a:prstGeom>
            <a:ln w="9525">
              <a:solidFill>
                <a:schemeClr val="tx2">
                  <a:lumMod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A801E4CC-DFAA-413B-8E86-2318EE1E2C52}"/>
                </a:ext>
              </a:extLst>
            </p:cNvPr>
            <p:cNvCxnSpPr>
              <a:cxnSpLocks/>
            </p:cNvCxnSpPr>
            <p:nvPr/>
          </p:nvCxnSpPr>
          <p:spPr>
            <a:xfrm>
              <a:off x="2110740" y="1678388"/>
              <a:ext cx="4391008" cy="0"/>
            </a:xfrm>
            <a:prstGeom prst="line">
              <a:avLst/>
            </a:prstGeom>
            <a:ln w="9525">
              <a:solidFill>
                <a:schemeClr val="tx2">
                  <a:lumMod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3FB189B9-FBF9-45FF-BA8F-602B00DFCD8A}"/>
                </a:ext>
              </a:extLst>
            </p:cNvPr>
            <p:cNvCxnSpPr>
              <a:cxnSpLocks/>
            </p:cNvCxnSpPr>
            <p:nvPr/>
          </p:nvCxnSpPr>
          <p:spPr>
            <a:xfrm>
              <a:off x="2286000" y="1829518"/>
              <a:ext cx="4215748" cy="0"/>
            </a:xfrm>
            <a:prstGeom prst="line">
              <a:avLst/>
            </a:prstGeom>
            <a:ln w="9525">
              <a:solidFill>
                <a:schemeClr val="tx2">
                  <a:lumMod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98F74A74-1E18-4465-A32D-D13FBD4B1CF4}"/>
                </a:ext>
              </a:extLst>
            </p:cNvPr>
            <p:cNvCxnSpPr>
              <a:cxnSpLocks/>
            </p:cNvCxnSpPr>
            <p:nvPr/>
          </p:nvCxnSpPr>
          <p:spPr>
            <a:xfrm>
              <a:off x="2339340" y="1956518"/>
              <a:ext cx="4162408" cy="0"/>
            </a:xfrm>
            <a:prstGeom prst="line">
              <a:avLst/>
            </a:prstGeom>
            <a:ln w="9525">
              <a:solidFill>
                <a:schemeClr val="tx2">
                  <a:lumMod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E0C828AD-3592-447C-8A79-69F0FD52CD04}"/>
                </a:ext>
              </a:extLst>
            </p:cNvPr>
            <p:cNvCxnSpPr>
              <a:cxnSpLocks/>
            </p:cNvCxnSpPr>
            <p:nvPr/>
          </p:nvCxnSpPr>
          <p:spPr>
            <a:xfrm>
              <a:off x="1844040" y="2113998"/>
              <a:ext cx="4657708" cy="0"/>
            </a:xfrm>
            <a:prstGeom prst="line">
              <a:avLst/>
            </a:prstGeom>
            <a:ln w="9525">
              <a:solidFill>
                <a:schemeClr val="tx2">
                  <a:lumMod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5FCE745B-0E65-43B1-AC50-D84C5BB88109}"/>
                </a:ext>
              </a:extLst>
            </p:cNvPr>
            <p:cNvCxnSpPr>
              <a:cxnSpLocks/>
            </p:cNvCxnSpPr>
            <p:nvPr/>
          </p:nvCxnSpPr>
          <p:spPr>
            <a:xfrm>
              <a:off x="2339340" y="2266398"/>
              <a:ext cx="4162408" cy="0"/>
            </a:xfrm>
            <a:prstGeom prst="line">
              <a:avLst/>
            </a:prstGeom>
            <a:ln w="9525">
              <a:solidFill>
                <a:schemeClr val="tx2">
                  <a:lumMod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311D7708-C3C4-4048-B654-DBAB01568B45}"/>
                </a:ext>
              </a:extLst>
            </p:cNvPr>
            <p:cNvCxnSpPr>
              <a:cxnSpLocks/>
            </p:cNvCxnSpPr>
            <p:nvPr/>
          </p:nvCxnSpPr>
          <p:spPr>
            <a:xfrm>
              <a:off x="1440180" y="2417528"/>
              <a:ext cx="5061568" cy="0"/>
            </a:xfrm>
            <a:prstGeom prst="line">
              <a:avLst/>
            </a:prstGeom>
            <a:ln w="9525">
              <a:solidFill>
                <a:schemeClr val="tx2">
                  <a:lumMod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55AE1313-CC19-49B4-8878-C553FC539914}"/>
                </a:ext>
              </a:extLst>
            </p:cNvPr>
            <p:cNvCxnSpPr>
              <a:cxnSpLocks/>
            </p:cNvCxnSpPr>
            <p:nvPr/>
          </p:nvCxnSpPr>
          <p:spPr>
            <a:xfrm>
              <a:off x="2186940" y="2583335"/>
              <a:ext cx="4314808" cy="0"/>
            </a:xfrm>
            <a:prstGeom prst="line">
              <a:avLst/>
            </a:prstGeom>
            <a:ln w="9525">
              <a:solidFill>
                <a:schemeClr val="tx2">
                  <a:lumMod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EDD677DB-A66F-4EFA-9CBF-5F77055C9F27}"/>
                </a:ext>
              </a:extLst>
            </p:cNvPr>
            <p:cNvCxnSpPr>
              <a:cxnSpLocks/>
            </p:cNvCxnSpPr>
            <p:nvPr/>
          </p:nvCxnSpPr>
          <p:spPr>
            <a:xfrm>
              <a:off x="3249227" y="2723035"/>
              <a:ext cx="3252521" cy="0"/>
            </a:xfrm>
            <a:prstGeom prst="line">
              <a:avLst/>
            </a:prstGeom>
            <a:ln w="9525">
              <a:solidFill>
                <a:schemeClr val="tx2">
                  <a:lumMod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BB9DF5DF-CAB4-488E-A454-D50CE4568E00}"/>
                </a:ext>
              </a:extLst>
            </p:cNvPr>
            <p:cNvCxnSpPr>
              <a:cxnSpLocks/>
            </p:cNvCxnSpPr>
            <p:nvPr/>
          </p:nvCxnSpPr>
          <p:spPr>
            <a:xfrm>
              <a:off x="922020" y="2867815"/>
              <a:ext cx="5579728" cy="0"/>
            </a:xfrm>
            <a:prstGeom prst="line">
              <a:avLst/>
            </a:prstGeom>
            <a:ln w="9525">
              <a:solidFill>
                <a:schemeClr val="tx2">
                  <a:lumMod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EDA8D067-360B-4EA3-B75B-8AC029B090FF}"/>
                </a:ext>
              </a:extLst>
            </p:cNvPr>
            <p:cNvCxnSpPr>
              <a:cxnSpLocks/>
            </p:cNvCxnSpPr>
            <p:nvPr/>
          </p:nvCxnSpPr>
          <p:spPr>
            <a:xfrm>
              <a:off x="3055620" y="3036584"/>
              <a:ext cx="3446128" cy="0"/>
            </a:xfrm>
            <a:prstGeom prst="line">
              <a:avLst/>
            </a:prstGeom>
            <a:ln w="9525">
              <a:solidFill>
                <a:schemeClr val="tx2">
                  <a:lumMod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699B2160-B7AE-4ACA-9A19-59DFBA208399}"/>
                </a:ext>
              </a:extLst>
            </p:cNvPr>
            <p:cNvCxnSpPr>
              <a:cxnSpLocks/>
            </p:cNvCxnSpPr>
            <p:nvPr/>
          </p:nvCxnSpPr>
          <p:spPr>
            <a:xfrm>
              <a:off x="3136790" y="3171345"/>
              <a:ext cx="3372578" cy="0"/>
            </a:xfrm>
            <a:prstGeom prst="line">
              <a:avLst/>
            </a:prstGeom>
            <a:ln w="9525">
              <a:solidFill>
                <a:schemeClr val="tx2">
                  <a:lumMod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836F651F-7A65-4392-B4A1-A17A6C91A292}"/>
                </a:ext>
              </a:extLst>
            </p:cNvPr>
            <p:cNvCxnSpPr>
              <a:cxnSpLocks/>
            </p:cNvCxnSpPr>
            <p:nvPr/>
          </p:nvCxnSpPr>
          <p:spPr>
            <a:xfrm>
              <a:off x="2186940" y="3317395"/>
              <a:ext cx="4322428" cy="0"/>
            </a:xfrm>
            <a:prstGeom prst="line">
              <a:avLst/>
            </a:prstGeom>
            <a:ln w="9525">
              <a:solidFill>
                <a:schemeClr val="tx2">
                  <a:lumMod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8EF797B2-15CC-4AA1-9F88-2B73697F3478}"/>
                </a:ext>
              </a:extLst>
            </p:cNvPr>
            <p:cNvCxnSpPr>
              <a:cxnSpLocks/>
            </p:cNvCxnSpPr>
            <p:nvPr/>
          </p:nvCxnSpPr>
          <p:spPr>
            <a:xfrm>
              <a:off x="2712720" y="3460905"/>
              <a:ext cx="3796648" cy="0"/>
            </a:xfrm>
            <a:prstGeom prst="line">
              <a:avLst/>
            </a:prstGeom>
            <a:ln w="9525">
              <a:solidFill>
                <a:schemeClr val="tx2">
                  <a:lumMod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E68599B3-C798-48D1-BC22-402B8B429CE7}"/>
                </a:ext>
              </a:extLst>
            </p:cNvPr>
            <p:cNvCxnSpPr>
              <a:cxnSpLocks/>
            </p:cNvCxnSpPr>
            <p:nvPr/>
          </p:nvCxnSpPr>
          <p:spPr>
            <a:xfrm>
              <a:off x="3136790" y="3618244"/>
              <a:ext cx="3372578" cy="0"/>
            </a:xfrm>
            <a:prstGeom prst="line">
              <a:avLst/>
            </a:prstGeom>
            <a:ln w="9525">
              <a:solidFill>
                <a:schemeClr val="tx2">
                  <a:lumMod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9E99BBD1-D900-4934-9577-024DAC5FE6F0}"/>
                </a:ext>
              </a:extLst>
            </p:cNvPr>
            <p:cNvCxnSpPr>
              <a:cxnSpLocks/>
            </p:cNvCxnSpPr>
            <p:nvPr/>
          </p:nvCxnSpPr>
          <p:spPr>
            <a:xfrm>
              <a:off x="1881963" y="3776994"/>
              <a:ext cx="4627405" cy="0"/>
            </a:xfrm>
            <a:prstGeom prst="line">
              <a:avLst/>
            </a:prstGeom>
            <a:ln w="9525">
              <a:solidFill>
                <a:schemeClr val="tx2">
                  <a:lumMod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6A68CAA9-C3CC-4996-B60D-925680AB9C89}"/>
                </a:ext>
              </a:extLst>
            </p:cNvPr>
            <p:cNvCxnSpPr>
              <a:cxnSpLocks/>
            </p:cNvCxnSpPr>
            <p:nvPr/>
          </p:nvCxnSpPr>
          <p:spPr>
            <a:xfrm>
              <a:off x="2042160" y="3905405"/>
              <a:ext cx="4467208" cy="0"/>
            </a:xfrm>
            <a:prstGeom prst="line">
              <a:avLst/>
            </a:prstGeom>
            <a:ln w="9525">
              <a:solidFill>
                <a:schemeClr val="tx2">
                  <a:lumMod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5FE4115C-C03C-491C-8088-A944DBD35488}"/>
                </a:ext>
              </a:extLst>
            </p:cNvPr>
            <p:cNvCxnSpPr>
              <a:cxnSpLocks/>
            </p:cNvCxnSpPr>
            <p:nvPr/>
          </p:nvCxnSpPr>
          <p:spPr>
            <a:xfrm>
              <a:off x="2339340" y="4062885"/>
              <a:ext cx="4170028" cy="0"/>
            </a:xfrm>
            <a:prstGeom prst="line">
              <a:avLst/>
            </a:prstGeom>
            <a:ln w="9525">
              <a:solidFill>
                <a:schemeClr val="tx2">
                  <a:lumMod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542AFDD7-883D-4138-87F2-7D345AD931DA}"/>
                </a:ext>
              </a:extLst>
            </p:cNvPr>
            <p:cNvCxnSpPr>
              <a:cxnSpLocks/>
            </p:cNvCxnSpPr>
            <p:nvPr/>
          </p:nvCxnSpPr>
          <p:spPr>
            <a:xfrm>
              <a:off x="3491345" y="4202726"/>
              <a:ext cx="3018023" cy="0"/>
            </a:xfrm>
            <a:prstGeom prst="line">
              <a:avLst/>
            </a:prstGeom>
            <a:ln w="9525">
              <a:solidFill>
                <a:schemeClr val="tx2">
                  <a:lumMod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1EBD11F9-C14F-4479-A108-DD9124594A62}"/>
                </a:ext>
              </a:extLst>
            </p:cNvPr>
            <p:cNvCxnSpPr>
              <a:cxnSpLocks/>
            </p:cNvCxnSpPr>
            <p:nvPr/>
          </p:nvCxnSpPr>
          <p:spPr>
            <a:xfrm>
              <a:off x="1380067" y="4370084"/>
              <a:ext cx="5129301" cy="0"/>
            </a:xfrm>
            <a:prstGeom prst="line">
              <a:avLst/>
            </a:prstGeom>
            <a:ln w="9525">
              <a:solidFill>
                <a:schemeClr val="tx2">
                  <a:lumMod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58DA5C2A-241F-446A-9B55-975A067A7719}"/>
                </a:ext>
              </a:extLst>
            </p:cNvPr>
            <p:cNvCxnSpPr>
              <a:cxnSpLocks/>
            </p:cNvCxnSpPr>
            <p:nvPr/>
          </p:nvCxnSpPr>
          <p:spPr>
            <a:xfrm>
              <a:off x="3055620" y="4512606"/>
              <a:ext cx="3453748" cy="0"/>
            </a:xfrm>
            <a:prstGeom prst="line">
              <a:avLst/>
            </a:prstGeom>
            <a:ln w="9525">
              <a:solidFill>
                <a:schemeClr val="tx2">
                  <a:lumMod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005E560F-8C6B-458D-A365-4314F805B7AB}"/>
                </a:ext>
              </a:extLst>
            </p:cNvPr>
            <p:cNvCxnSpPr>
              <a:cxnSpLocks/>
            </p:cNvCxnSpPr>
            <p:nvPr/>
          </p:nvCxnSpPr>
          <p:spPr>
            <a:xfrm>
              <a:off x="2186940" y="4657245"/>
              <a:ext cx="4322428" cy="0"/>
            </a:xfrm>
            <a:prstGeom prst="line">
              <a:avLst/>
            </a:prstGeom>
            <a:ln w="9525">
              <a:solidFill>
                <a:schemeClr val="tx2">
                  <a:lumMod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C6660921-1037-4B08-BE91-A1865B5D7310}"/>
                </a:ext>
              </a:extLst>
            </p:cNvPr>
            <p:cNvCxnSpPr>
              <a:cxnSpLocks/>
            </p:cNvCxnSpPr>
            <p:nvPr/>
          </p:nvCxnSpPr>
          <p:spPr>
            <a:xfrm>
              <a:off x="1568302" y="4800614"/>
              <a:ext cx="4941066" cy="0"/>
            </a:xfrm>
            <a:prstGeom prst="line">
              <a:avLst/>
            </a:prstGeom>
            <a:ln w="9525">
              <a:solidFill>
                <a:schemeClr val="tx2">
                  <a:lumMod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60212376-21C8-435F-8D9D-A26BB5C2D136}"/>
                </a:ext>
              </a:extLst>
            </p:cNvPr>
            <p:cNvCxnSpPr>
              <a:cxnSpLocks/>
            </p:cNvCxnSpPr>
            <p:nvPr/>
          </p:nvCxnSpPr>
          <p:spPr>
            <a:xfrm>
              <a:off x="1881963" y="4961277"/>
              <a:ext cx="4656941" cy="0"/>
            </a:xfrm>
            <a:prstGeom prst="line">
              <a:avLst/>
            </a:prstGeom>
            <a:ln w="9525">
              <a:solidFill>
                <a:schemeClr val="tx2">
                  <a:lumMod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A000FF66-E7C2-4A01-A578-71C44B42ED65}"/>
                </a:ext>
              </a:extLst>
            </p:cNvPr>
            <p:cNvCxnSpPr>
              <a:cxnSpLocks/>
            </p:cNvCxnSpPr>
            <p:nvPr/>
          </p:nvCxnSpPr>
          <p:spPr>
            <a:xfrm>
              <a:off x="1137684" y="5109083"/>
              <a:ext cx="5371684" cy="0"/>
            </a:xfrm>
            <a:prstGeom prst="line">
              <a:avLst/>
            </a:prstGeom>
            <a:ln w="9525">
              <a:solidFill>
                <a:schemeClr val="tx2">
                  <a:lumMod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0F4811C2-333D-47FB-BADE-B8D959669805}"/>
                </a:ext>
              </a:extLst>
            </p:cNvPr>
            <p:cNvCxnSpPr>
              <a:cxnSpLocks/>
            </p:cNvCxnSpPr>
            <p:nvPr/>
          </p:nvCxnSpPr>
          <p:spPr>
            <a:xfrm>
              <a:off x="1881963" y="5262894"/>
              <a:ext cx="4627405" cy="0"/>
            </a:xfrm>
            <a:prstGeom prst="line">
              <a:avLst/>
            </a:prstGeom>
            <a:ln w="9525">
              <a:solidFill>
                <a:schemeClr val="tx2">
                  <a:lumMod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E9DCEE45-B4D8-4DE4-A0DC-748AA90A8C71}"/>
                </a:ext>
              </a:extLst>
            </p:cNvPr>
            <p:cNvCxnSpPr>
              <a:cxnSpLocks/>
            </p:cNvCxnSpPr>
            <p:nvPr/>
          </p:nvCxnSpPr>
          <p:spPr>
            <a:xfrm>
              <a:off x="2251364" y="5407674"/>
              <a:ext cx="4258004" cy="0"/>
            </a:xfrm>
            <a:prstGeom prst="line">
              <a:avLst/>
            </a:prstGeom>
            <a:ln w="9525">
              <a:solidFill>
                <a:schemeClr val="tx2">
                  <a:lumMod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4790AA50-734B-4294-83E8-5F97E024932C}"/>
                </a:ext>
              </a:extLst>
            </p:cNvPr>
            <p:cNvCxnSpPr>
              <a:cxnSpLocks/>
            </p:cNvCxnSpPr>
            <p:nvPr/>
          </p:nvCxnSpPr>
          <p:spPr>
            <a:xfrm>
              <a:off x="1881963" y="5560074"/>
              <a:ext cx="4627405" cy="0"/>
            </a:xfrm>
            <a:prstGeom prst="line">
              <a:avLst/>
            </a:prstGeom>
            <a:ln w="9525">
              <a:solidFill>
                <a:schemeClr val="tx2">
                  <a:lumMod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81" name="Straight Connector 80">
              <a:extLst>
                <a:ext uri="{FF2B5EF4-FFF2-40B4-BE49-F238E27FC236}">
                  <a16:creationId xmlns:a16="http://schemas.microsoft.com/office/drawing/2014/main" id="{5CFE9F29-753D-4CAA-B3A2-38951AEA31D0}"/>
                </a:ext>
              </a:extLst>
            </p:cNvPr>
            <p:cNvCxnSpPr>
              <a:cxnSpLocks/>
            </p:cNvCxnSpPr>
            <p:nvPr/>
          </p:nvCxnSpPr>
          <p:spPr>
            <a:xfrm>
              <a:off x="2251364" y="5688626"/>
              <a:ext cx="4250384" cy="0"/>
            </a:xfrm>
            <a:prstGeom prst="line">
              <a:avLst/>
            </a:prstGeom>
            <a:ln w="9525">
              <a:solidFill>
                <a:schemeClr val="tx2">
                  <a:lumMod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82" name="Straight Connector 81">
              <a:extLst>
                <a:ext uri="{FF2B5EF4-FFF2-40B4-BE49-F238E27FC236}">
                  <a16:creationId xmlns:a16="http://schemas.microsoft.com/office/drawing/2014/main" id="{E7CB53C5-39FD-4AAA-8FDD-86585D01F9FF}"/>
                </a:ext>
              </a:extLst>
            </p:cNvPr>
            <p:cNvCxnSpPr>
              <a:cxnSpLocks/>
            </p:cNvCxnSpPr>
            <p:nvPr/>
          </p:nvCxnSpPr>
          <p:spPr>
            <a:xfrm>
              <a:off x="2251364" y="5850904"/>
              <a:ext cx="4250384" cy="0"/>
            </a:xfrm>
            <a:prstGeom prst="line">
              <a:avLst/>
            </a:prstGeom>
            <a:ln w="9525">
              <a:solidFill>
                <a:schemeClr val="tx2">
                  <a:lumMod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F1E5A77C-1B5C-4497-ABDA-A095AFABF477}"/>
                </a:ext>
              </a:extLst>
            </p:cNvPr>
            <p:cNvCxnSpPr>
              <a:cxnSpLocks/>
            </p:cNvCxnSpPr>
            <p:nvPr/>
          </p:nvCxnSpPr>
          <p:spPr>
            <a:xfrm>
              <a:off x="1881963" y="5987782"/>
              <a:ext cx="4619785" cy="0"/>
            </a:xfrm>
            <a:prstGeom prst="line">
              <a:avLst/>
            </a:prstGeom>
            <a:ln w="9525">
              <a:solidFill>
                <a:schemeClr val="tx2">
                  <a:lumMod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84" name="Straight Connector 83">
              <a:extLst>
                <a:ext uri="{FF2B5EF4-FFF2-40B4-BE49-F238E27FC236}">
                  <a16:creationId xmlns:a16="http://schemas.microsoft.com/office/drawing/2014/main" id="{2261B81F-CB01-48C8-92BF-668ABD1A6F18}"/>
                </a:ext>
              </a:extLst>
            </p:cNvPr>
            <p:cNvCxnSpPr>
              <a:cxnSpLocks/>
            </p:cNvCxnSpPr>
            <p:nvPr/>
          </p:nvCxnSpPr>
          <p:spPr>
            <a:xfrm>
              <a:off x="1973580" y="6121273"/>
              <a:ext cx="4528168" cy="0"/>
            </a:xfrm>
            <a:prstGeom prst="line">
              <a:avLst/>
            </a:prstGeom>
            <a:ln w="9525">
              <a:solidFill>
                <a:schemeClr val="tx2">
                  <a:lumMod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85" name="Straight Connector 84">
              <a:extLst>
                <a:ext uri="{FF2B5EF4-FFF2-40B4-BE49-F238E27FC236}">
                  <a16:creationId xmlns:a16="http://schemas.microsoft.com/office/drawing/2014/main" id="{5C7F86B7-4359-4C94-9059-EF68332BCF7B}"/>
                </a:ext>
              </a:extLst>
            </p:cNvPr>
            <p:cNvCxnSpPr>
              <a:cxnSpLocks/>
            </p:cNvCxnSpPr>
            <p:nvPr/>
          </p:nvCxnSpPr>
          <p:spPr>
            <a:xfrm>
              <a:off x="3927475" y="6277342"/>
              <a:ext cx="2574273" cy="0"/>
            </a:xfrm>
            <a:prstGeom prst="line">
              <a:avLst/>
            </a:prstGeom>
            <a:ln w="9525">
              <a:solidFill>
                <a:schemeClr val="tx2">
                  <a:lumMod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86" name="Straight Connector 85">
              <a:extLst>
                <a:ext uri="{FF2B5EF4-FFF2-40B4-BE49-F238E27FC236}">
                  <a16:creationId xmlns:a16="http://schemas.microsoft.com/office/drawing/2014/main" id="{B70BDA47-5780-443C-A023-6BB53ECC939D}"/>
                </a:ext>
              </a:extLst>
            </p:cNvPr>
            <p:cNvCxnSpPr>
              <a:cxnSpLocks/>
            </p:cNvCxnSpPr>
            <p:nvPr/>
          </p:nvCxnSpPr>
          <p:spPr>
            <a:xfrm>
              <a:off x="3136790" y="6452320"/>
              <a:ext cx="3364958" cy="0"/>
            </a:xfrm>
            <a:prstGeom prst="line">
              <a:avLst/>
            </a:prstGeom>
            <a:ln w="9525">
              <a:solidFill>
                <a:schemeClr val="tx2">
                  <a:lumMod val="75000"/>
                </a:schemeClr>
              </a:solidFill>
              <a:prstDash val="sysDot"/>
            </a:ln>
          </p:spPr>
          <p:style>
            <a:lnRef idx="1">
              <a:schemeClr val="accent1"/>
            </a:lnRef>
            <a:fillRef idx="0">
              <a:schemeClr val="accent1"/>
            </a:fillRef>
            <a:effectRef idx="0">
              <a:schemeClr val="accent1"/>
            </a:effectRef>
            <a:fontRef idx="minor">
              <a:schemeClr val="tx1"/>
            </a:fontRef>
          </p:style>
        </p:cxnSp>
      </p:grpSp>
      <p:sp>
        <p:nvSpPr>
          <p:cNvPr id="2" name="TextBox 1">
            <a:extLst>
              <a:ext uri="{FF2B5EF4-FFF2-40B4-BE49-F238E27FC236}">
                <a16:creationId xmlns:a16="http://schemas.microsoft.com/office/drawing/2014/main" id="{65444489-4897-411C-B0EC-D617B6B5BC16}"/>
              </a:ext>
            </a:extLst>
          </p:cNvPr>
          <p:cNvSpPr txBox="1"/>
          <p:nvPr/>
        </p:nvSpPr>
        <p:spPr>
          <a:xfrm>
            <a:off x="221676" y="6607550"/>
            <a:ext cx="5994400" cy="249193"/>
          </a:xfrm>
          <a:prstGeom prst="rect">
            <a:avLst/>
          </a:prstGeom>
        </p:spPr>
        <p:txBody>
          <a:bodyPr vert="horz" wrap="square" lIns="91440" tIns="45720" rIns="91440" bIns="45720" rtlCol="0">
            <a:noAutofit/>
          </a:bodyPr>
          <a:lstStyle/>
          <a:p>
            <a:pPr marL="0" marR="0" lvl="0" indent="0" algn="l" defTabSz="1086775" rtl="0" eaLnBrk="1" fontAlgn="auto" latinLnBrk="0" hangingPunct="1">
              <a:lnSpc>
                <a:spcPct val="90000"/>
              </a:lnSpc>
              <a:spcBef>
                <a:spcPts val="800"/>
              </a:spcBef>
              <a:spcAft>
                <a:spcPts val="0"/>
              </a:spcAft>
              <a:buClrTx/>
              <a:buSzTx/>
              <a:buFontTx/>
              <a:buNone/>
              <a:tabLst/>
              <a:defRPr/>
            </a:pPr>
            <a:r>
              <a:rPr kumimoji="0" lang="en-US" sz="1000" b="1"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rPr>
              <a:t>Note</a:t>
            </a:r>
            <a:r>
              <a:rPr kumimoji="0" lang="en-US" sz="10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rPr>
              <a:t>:  In T4 and T5 packages, Creo Simulation Extension replaces Simulation “Elite” </a:t>
            </a:r>
          </a:p>
        </p:txBody>
      </p:sp>
      <p:sp>
        <p:nvSpPr>
          <p:cNvPr id="195" name="Title 3">
            <a:extLst>
              <a:ext uri="{FF2B5EF4-FFF2-40B4-BE49-F238E27FC236}">
                <a16:creationId xmlns:a16="http://schemas.microsoft.com/office/drawing/2014/main" id="{1B978E3D-1DE3-4568-BB78-AC27CDA7B4EC}"/>
              </a:ext>
            </a:extLst>
          </p:cNvPr>
          <p:cNvSpPr>
            <a:spLocks noGrp="1"/>
          </p:cNvSpPr>
          <p:nvPr>
            <p:ph type="title"/>
          </p:nvPr>
        </p:nvSpPr>
        <p:spPr>
          <a:xfrm>
            <a:off x="6849903" y="469800"/>
            <a:ext cx="4338793" cy="369332"/>
          </a:xfrm>
        </p:spPr>
        <p:txBody>
          <a:bodyPr/>
          <a:lstStyle/>
          <a:p>
            <a:r>
              <a:rPr lang="en-US" sz="2500" cap="none" dirty="0"/>
              <a:t>NEW CREO PACKAGES</a:t>
            </a:r>
          </a:p>
        </p:txBody>
      </p:sp>
      <p:sp>
        <p:nvSpPr>
          <p:cNvPr id="196" name="Content Placeholder 3">
            <a:extLst>
              <a:ext uri="{FF2B5EF4-FFF2-40B4-BE49-F238E27FC236}">
                <a16:creationId xmlns:a16="http://schemas.microsoft.com/office/drawing/2014/main" id="{E08E976B-2F06-4440-A134-E82E1231F5DD}"/>
              </a:ext>
            </a:extLst>
          </p:cNvPr>
          <p:cNvSpPr txBox="1">
            <a:spLocks/>
          </p:cNvSpPr>
          <p:nvPr/>
        </p:nvSpPr>
        <p:spPr>
          <a:xfrm>
            <a:off x="6776353" y="907561"/>
            <a:ext cx="5174060" cy="5859475"/>
          </a:xfrm>
          <a:prstGeom prst="rect">
            <a:avLst/>
          </a:prstGeom>
        </p:spPr>
        <p:txBody>
          <a:bodyPr/>
          <a:lstStyle>
            <a:lvl1pPr marL="273582" indent="-273582" algn="l" defTabSz="1086775" rtl="0" eaLnBrk="1" latinLnBrk="0" hangingPunct="1">
              <a:lnSpc>
                <a:spcPct val="90000"/>
              </a:lnSpc>
              <a:spcBef>
                <a:spcPts val="1800"/>
              </a:spcBef>
              <a:buClr>
                <a:schemeClr val="tx1"/>
              </a:buClr>
              <a:buFont typeface="Arial" pitchFamily="34" charset="0"/>
              <a:buChar char="•"/>
              <a:defRPr sz="2400" kern="1200">
                <a:solidFill>
                  <a:schemeClr val="tx1"/>
                </a:solidFill>
                <a:latin typeface="+mn-lt"/>
                <a:ea typeface="+mn-ea"/>
                <a:cs typeface="+mn-cs"/>
              </a:defRPr>
            </a:lvl1pPr>
            <a:lvl2pPr marL="658368" indent="-271694" algn="l" defTabSz="1086775" rtl="0" eaLnBrk="1" latinLnBrk="0" hangingPunct="1">
              <a:lnSpc>
                <a:spcPct val="90000"/>
              </a:lnSpc>
              <a:spcBef>
                <a:spcPts val="400"/>
              </a:spcBef>
              <a:spcAft>
                <a:spcPts val="0"/>
              </a:spcAft>
              <a:buFont typeface="Arial" pitchFamily="34" charset="0"/>
              <a:buChar char="–"/>
              <a:defRPr sz="2000" kern="1200">
                <a:solidFill>
                  <a:schemeClr val="tx1"/>
                </a:solidFill>
                <a:latin typeface="+mn-lt"/>
                <a:ea typeface="+mn-ea"/>
                <a:cs typeface="+mn-cs"/>
              </a:defRPr>
            </a:lvl2pPr>
            <a:lvl3pPr marL="914400" indent="-210312" algn="l" defTabSz="1290546" rtl="0" eaLnBrk="1" latinLnBrk="0" hangingPunct="1">
              <a:lnSpc>
                <a:spcPct val="90000"/>
              </a:lnSpc>
              <a:spcBef>
                <a:spcPts val="200"/>
              </a:spcBef>
              <a:spcAft>
                <a:spcPts val="0"/>
              </a:spcAft>
              <a:buFont typeface="Arial" pitchFamily="34" charset="0"/>
              <a:buChar char="•"/>
              <a:defRPr sz="1800" kern="1200">
                <a:solidFill>
                  <a:schemeClr val="tx1"/>
                </a:solidFill>
                <a:latin typeface="+mn-lt"/>
                <a:ea typeface="+mn-ea"/>
                <a:cs typeface="+mn-cs"/>
              </a:defRPr>
            </a:lvl3pPr>
            <a:lvl4pPr marL="1197864" indent="-210312" algn="l" defTabSz="1086775" rtl="0" eaLnBrk="1" latinLnBrk="0" hangingPunct="1">
              <a:lnSpc>
                <a:spcPct val="90000"/>
              </a:lnSpc>
              <a:spcBef>
                <a:spcPts val="200"/>
              </a:spcBef>
              <a:spcAft>
                <a:spcPts val="0"/>
              </a:spcAft>
              <a:buFont typeface="Arial" pitchFamily="34" charset="0"/>
              <a:buChar char="–"/>
              <a:defRPr sz="1600" kern="1200" baseline="0">
                <a:solidFill>
                  <a:schemeClr val="tx1"/>
                </a:solidFill>
                <a:latin typeface="+mn-lt"/>
                <a:ea typeface="+mn-ea"/>
                <a:cs typeface="+mn-cs"/>
              </a:defRPr>
            </a:lvl4pPr>
            <a:lvl5pPr marL="1444752" indent="-182880" algn="l" defTabSz="1086775" rtl="0" eaLnBrk="1" latinLnBrk="0" hangingPunct="1">
              <a:lnSpc>
                <a:spcPct val="90000"/>
              </a:lnSpc>
              <a:spcBef>
                <a:spcPts val="200"/>
              </a:spcBef>
              <a:spcAft>
                <a:spcPts val="0"/>
              </a:spcAft>
              <a:buFont typeface="Arial" pitchFamily="34" charset="0"/>
              <a:buChar char="»"/>
              <a:defRPr sz="1400" kern="1200" baseline="0">
                <a:solidFill>
                  <a:schemeClr val="tx1"/>
                </a:solidFill>
                <a:latin typeface="+mn-lt"/>
                <a:ea typeface="+mn-ea"/>
                <a:cs typeface="+mn-cs"/>
              </a:defRPr>
            </a:lvl5pPr>
            <a:lvl6pPr marL="2988632" indent="-271694" algn="l" defTabSz="1086775"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2020" indent="-271694" algn="l" defTabSz="1086775"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5408" indent="-271694" algn="l" defTabSz="1086775"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8796" indent="-271694" algn="l" defTabSz="1086775"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marR="0" lvl="0" indent="0" algn="l" defTabSz="1086775" rtl="0" eaLnBrk="1" fontAlgn="auto" latinLnBrk="0" hangingPunct="1">
              <a:lnSpc>
                <a:spcPct val="90000"/>
              </a:lnSpc>
              <a:spcBef>
                <a:spcPts val="1800"/>
              </a:spcBef>
              <a:spcAft>
                <a:spcPts val="0"/>
              </a:spcAft>
              <a:buClr>
                <a:srgbClr val="3D4647"/>
              </a:buClr>
              <a:buSzTx/>
              <a:buFont typeface="Arial" pitchFamily="34" charset="0"/>
              <a:buNone/>
              <a:tabLst/>
              <a:defRPr/>
            </a:pPr>
            <a:r>
              <a:rPr kumimoji="0" lang="en-US" sz="1600" b="1" i="0" u="none" strike="noStrike" kern="1200" cap="none" spc="0" normalizeH="0" baseline="0" noProof="0" dirty="0">
                <a:ln>
                  <a:noFill/>
                </a:ln>
                <a:solidFill>
                  <a:schemeClr val="accent1"/>
                </a:solidFill>
                <a:effectLst/>
                <a:uLnTx/>
                <a:uFillTx/>
                <a:latin typeface="PTCRaleway" panose="020B0503030101060003" pitchFamily="34" charset="0"/>
                <a:ea typeface="+mn-ea"/>
                <a:cs typeface="+mn-cs"/>
              </a:rPr>
              <a:t>Package Highlights</a:t>
            </a:r>
          </a:p>
          <a:p>
            <a:pPr marL="0" marR="0" lvl="0" indent="0" algn="l" defTabSz="1086775" rtl="0" eaLnBrk="1" fontAlgn="auto" latinLnBrk="0" hangingPunct="1">
              <a:lnSpc>
                <a:spcPct val="90000"/>
              </a:lnSpc>
              <a:spcBef>
                <a:spcPts val="1200"/>
              </a:spcBef>
              <a:spcAft>
                <a:spcPts val="0"/>
              </a:spcAft>
              <a:buClr>
                <a:srgbClr val="3D4647"/>
              </a:buClr>
              <a:buSzTx/>
              <a:buFont typeface="Arial" pitchFamily="34" charset="0"/>
              <a:buNone/>
              <a:tabLst/>
              <a:defRPr/>
            </a:pPr>
            <a:r>
              <a:rPr kumimoji="0" lang="en-US" sz="1600" b="1"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rPr>
              <a:t>Creo Design Essentials (T1)</a:t>
            </a:r>
          </a:p>
          <a:p>
            <a:pPr marR="0" lvl="0" algn="l" defTabSz="1086775" rtl="0" eaLnBrk="1" fontAlgn="auto" latinLnBrk="0" hangingPunct="1">
              <a:lnSpc>
                <a:spcPct val="90000"/>
              </a:lnSpc>
              <a:spcBef>
                <a:spcPts val="600"/>
              </a:spcBef>
              <a:spcAft>
                <a:spcPts val="0"/>
              </a:spcAft>
              <a:buClr>
                <a:srgbClr val="3D4647"/>
              </a:buClr>
              <a:buSzTx/>
              <a:buBlip>
                <a:blip r:embed="rId9">
                  <a:extLst>
                    <a:ext uri="{96DAC541-7B7A-43D3-8B79-37D633B846F1}">
                      <asvg:svgBlip xmlns:asvg="http://schemas.microsoft.com/office/drawing/2016/SVG/main" r:embed="rId10"/>
                    </a:ext>
                  </a:extLst>
                </a:blip>
              </a:buBlip>
              <a:tabLst/>
              <a:defRPr/>
            </a:pPr>
            <a:r>
              <a:rPr kumimoji="0" lang="en-US" sz="15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rPr>
              <a:t>Core functionality to design with confidence</a:t>
            </a:r>
          </a:p>
          <a:p>
            <a:pPr marL="0" marR="0" lvl="0" indent="0" algn="l" defTabSz="1086775" rtl="0" eaLnBrk="1" fontAlgn="auto" latinLnBrk="0" hangingPunct="1">
              <a:lnSpc>
                <a:spcPct val="90000"/>
              </a:lnSpc>
              <a:spcBef>
                <a:spcPts val="600"/>
              </a:spcBef>
              <a:spcAft>
                <a:spcPts val="0"/>
              </a:spcAft>
              <a:buClr>
                <a:srgbClr val="3D4647"/>
              </a:buClr>
              <a:buSzTx/>
              <a:buFont typeface="Arial" pitchFamily="34" charset="0"/>
              <a:buNone/>
              <a:tabLst/>
              <a:defRPr/>
            </a:pPr>
            <a:r>
              <a:rPr kumimoji="0" lang="en-US" sz="1600" b="1"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rPr>
              <a:t>Creo Design Advanced (T2)</a:t>
            </a:r>
          </a:p>
          <a:p>
            <a:pPr marR="0" lvl="0" algn="l" defTabSz="1086775" rtl="0" eaLnBrk="1" fontAlgn="auto" latinLnBrk="0" hangingPunct="1">
              <a:lnSpc>
                <a:spcPct val="90000"/>
              </a:lnSpc>
              <a:spcBef>
                <a:spcPts val="600"/>
              </a:spcBef>
              <a:spcAft>
                <a:spcPts val="0"/>
              </a:spcAft>
              <a:buClr>
                <a:srgbClr val="3D4647"/>
              </a:buClr>
              <a:buSzTx/>
              <a:buBlip>
                <a:blip r:embed="rId9">
                  <a:extLst>
                    <a:ext uri="{96DAC541-7B7A-43D3-8B79-37D633B846F1}">
                      <asvg:svgBlip xmlns:asvg="http://schemas.microsoft.com/office/drawing/2016/SVG/main" r:embed="rId10"/>
                    </a:ext>
                  </a:extLst>
                </a:blip>
              </a:buBlip>
              <a:tabLst/>
              <a:defRPr/>
            </a:pPr>
            <a:r>
              <a:rPr kumimoji="0" lang="en-US" sz="15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rPr>
              <a:t>Top-down design and concurrent engineering</a:t>
            </a:r>
          </a:p>
          <a:p>
            <a:pPr marR="0" lvl="0" algn="l" defTabSz="1086775" rtl="0" eaLnBrk="1" fontAlgn="auto" latinLnBrk="0" hangingPunct="1">
              <a:lnSpc>
                <a:spcPct val="90000"/>
              </a:lnSpc>
              <a:spcBef>
                <a:spcPts val="600"/>
              </a:spcBef>
              <a:spcAft>
                <a:spcPts val="0"/>
              </a:spcAft>
              <a:buClr>
                <a:srgbClr val="3D4647"/>
              </a:buClr>
              <a:buSzTx/>
              <a:buBlip>
                <a:blip r:embed="rId9">
                  <a:extLst>
                    <a:ext uri="{96DAC541-7B7A-43D3-8B79-37D633B846F1}">
                      <asvg:svgBlip xmlns:asvg="http://schemas.microsoft.com/office/drawing/2016/SVG/main" r:embed="rId10"/>
                    </a:ext>
                  </a:extLst>
                </a:blip>
              </a:buBlip>
              <a:tabLst/>
              <a:defRPr/>
            </a:pPr>
            <a:r>
              <a:rPr kumimoji="0" lang="en-US" sz="15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rPr>
              <a:t>Prismatic and multi-surface milling</a:t>
            </a:r>
          </a:p>
          <a:p>
            <a:pPr marR="0" lvl="0" algn="l" defTabSz="1086775" rtl="0" eaLnBrk="1" fontAlgn="auto" latinLnBrk="0" hangingPunct="1">
              <a:lnSpc>
                <a:spcPct val="90000"/>
              </a:lnSpc>
              <a:spcBef>
                <a:spcPts val="600"/>
              </a:spcBef>
              <a:spcAft>
                <a:spcPts val="0"/>
              </a:spcAft>
              <a:buClr>
                <a:srgbClr val="3D4647"/>
              </a:buClr>
              <a:buSzTx/>
              <a:buBlip>
                <a:blip r:embed="rId9">
                  <a:extLst>
                    <a:ext uri="{96DAC541-7B7A-43D3-8B79-37D633B846F1}">
                      <asvg:svgBlip xmlns:asvg="http://schemas.microsoft.com/office/drawing/2016/SVG/main" r:embed="rId10"/>
                    </a:ext>
                  </a:extLst>
                </a:blip>
              </a:buBlip>
              <a:tabLst/>
              <a:defRPr/>
            </a:pPr>
            <a:r>
              <a:rPr kumimoji="0" lang="en-US" sz="15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rPr>
              <a:t>Mathcad engineering calculations</a:t>
            </a:r>
          </a:p>
          <a:p>
            <a:pPr marL="0" marR="0" lvl="0" indent="0" algn="l" defTabSz="1086775" rtl="0" eaLnBrk="1" fontAlgn="auto" latinLnBrk="0" hangingPunct="1">
              <a:lnSpc>
                <a:spcPct val="90000"/>
              </a:lnSpc>
              <a:spcBef>
                <a:spcPts val="600"/>
              </a:spcBef>
              <a:spcAft>
                <a:spcPts val="0"/>
              </a:spcAft>
              <a:buClr>
                <a:srgbClr val="3D4647"/>
              </a:buClr>
              <a:buSzTx/>
              <a:buFont typeface="Arial" pitchFamily="34" charset="0"/>
              <a:buNone/>
              <a:tabLst/>
              <a:defRPr/>
            </a:pPr>
            <a:r>
              <a:rPr kumimoji="0" lang="en-US" sz="1600" b="1"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rPr>
              <a:t>Creo Design Advanced Professional (T3)</a:t>
            </a:r>
          </a:p>
          <a:p>
            <a:pPr marR="0" lvl="0" algn="l" defTabSz="1086775" rtl="0" eaLnBrk="1" fontAlgn="auto" latinLnBrk="0" hangingPunct="1">
              <a:lnSpc>
                <a:spcPct val="90000"/>
              </a:lnSpc>
              <a:spcBef>
                <a:spcPts val="600"/>
              </a:spcBef>
              <a:spcAft>
                <a:spcPts val="0"/>
              </a:spcAft>
              <a:buClr>
                <a:srgbClr val="3D4647"/>
              </a:buClr>
              <a:buSzTx/>
              <a:buBlip>
                <a:blip r:embed="rId9">
                  <a:extLst>
                    <a:ext uri="{96DAC541-7B7A-43D3-8B79-37D633B846F1}">
                      <asvg:svgBlip xmlns:asvg="http://schemas.microsoft.com/office/drawing/2016/SVG/main" r:embed="rId10"/>
                    </a:ext>
                  </a:extLst>
                </a:blip>
              </a:buBlip>
              <a:tabLst/>
              <a:defRPr/>
            </a:pPr>
            <a:r>
              <a:rPr kumimoji="0" lang="en-US" sz="15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rPr>
              <a:t>Advanced surfacing and additive manufacturing</a:t>
            </a:r>
          </a:p>
          <a:p>
            <a:pPr marR="0" lvl="0" algn="l" defTabSz="1086775" rtl="0" eaLnBrk="1" fontAlgn="auto" latinLnBrk="0" hangingPunct="1">
              <a:lnSpc>
                <a:spcPct val="90000"/>
              </a:lnSpc>
              <a:spcBef>
                <a:spcPts val="600"/>
              </a:spcBef>
              <a:spcAft>
                <a:spcPts val="0"/>
              </a:spcAft>
              <a:buClr>
                <a:srgbClr val="3D4647"/>
              </a:buClr>
              <a:buSzTx/>
              <a:buBlip>
                <a:blip r:embed="rId9">
                  <a:extLst>
                    <a:ext uri="{96DAC541-7B7A-43D3-8B79-37D633B846F1}">
                      <asvg:svgBlip xmlns:asvg="http://schemas.microsoft.com/office/drawing/2016/SVG/main" r:embed="rId10"/>
                    </a:ext>
                  </a:extLst>
                </a:blip>
              </a:buBlip>
              <a:tabLst/>
              <a:defRPr/>
            </a:pPr>
            <a:r>
              <a:rPr kumimoji="0" lang="en-US" sz="15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rPr>
              <a:t>Mechanism dynamics and behavioral modeling</a:t>
            </a:r>
          </a:p>
          <a:p>
            <a:pPr marR="0" lvl="0" algn="l" defTabSz="1086775" rtl="0" eaLnBrk="1" fontAlgn="auto" latinLnBrk="0" hangingPunct="1">
              <a:lnSpc>
                <a:spcPct val="90000"/>
              </a:lnSpc>
              <a:spcBef>
                <a:spcPts val="600"/>
              </a:spcBef>
              <a:spcAft>
                <a:spcPts val="0"/>
              </a:spcAft>
              <a:buClr>
                <a:srgbClr val="3D4647"/>
              </a:buClr>
              <a:buSzTx/>
              <a:buBlip>
                <a:blip r:embed="rId9">
                  <a:extLst>
                    <a:ext uri="{96DAC541-7B7A-43D3-8B79-37D633B846F1}">
                      <asvg:svgBlip xmlns:asvg="http://schemas.microsoft.com/office/drawing/2016/SVG/main" r:embed="rId10"/>
                    </a:ext>
                  </a:extLst>
                </a:blip>
              </a:buBlip>
              <a:tabLst/>
              <a:defRPr/>
            </a:pPr>
            <a:r>
              <a:rPr kumimoji="0" lang="en-US" sz="15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rPr>
              <a:t>GD&amp;T Advisor and tolerance analysis</a:t>
            </a:r>
          </a:p>
          <a:p>
            <a:pPr marR="0" lvl="0" algn="l" defTabSz="1086775" rtl="0" eaLnBrk="1" fontAlgn="auto" latinLnBrk="0" hangingPunct="1">
              <a:lnSpc>
                <a:spcPct val="90000"/>
              </a:lnSpc>
              <a:spcBef>
                <a:spcPts val="600"/>
              </a:spcBef>
              <a:spcAft>
                <a:spcPts val="0"/>
              </a:spcAft>
              <a:buClr>
                <a:srgbClr val="3D4647"/>
              </a:buClr>
              <a:buSzTx/>
              <a:buBlip>
                <a:blip r:embed="rId9">
                  <a:extLst>
                    <a:ext uri="{96DAC541-7B7A-43D3-8B79-37D633B846F1}">
                      <asvg:svgBlip xmlns:asvg="http://schemas.microsoft.com/office/drawing/2016/SVG/main" r:embed="rId10"/>
                    </a:ext>
                  </a:extLst>
                </a:blip>
              </a:buBlip>
              <a:tabLst/>
              <a:defRPr/>
            </a:pPr>
            <a:r>
              <a:rPr kumimoji="0" lang="en-US" sz="15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rPr>
              <a:t>Mold design and mold machining</a:t>
            </a:r>
          </a:p>
          <a:p>
            <a:pPr marL="0" marR="0" lvl="0" indent="0" algn="l" defTabSz="1086775" rtl="0" eaLnBrk="1" fontAlgn="auto" latinLnBrk="0" hangingPunct="1">
              <a:lnSpc>
                <a:spcPct val="90000"/>
              </a:lnSpc>
              <a:spcBef>
                <a:spcPts val="600"/>
              </a:spcBef>
              <a:spcAft>
                <a:spcPts val="0"/>
              </a:spcAft>
              <a:buClr>
                <a:srgbClr val="3D4647"/>
              </a:buClr>
              <a:buSzTx/>
              <a:buFont typeface="Arial" pitchFamily="34" charset="0"/>
              <a:buNone/>
              <a:tabLst/>
              <a:defRPr/>
            </a:pPr>
            <a:r>
              <a:rPr kumimoji="0" lang="en-US" sz="1600" b="1"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rPr>
              <a:t>Creo Design Premium (T4)</a:t>
            </a:r>
          </a:p>
          <a:p>
            <a:pPr marR="0" lvl="0" algn="l" defTabSz="1086775" rtl="0" eaLnBrk="1" fontAlgn="auto" latinLnBrk="0" hangingPunct="1">
              <a:lnSpc>
                <a:spcPct val="90000"/>
              </a:lnSpc>
              <a:spcBef>
                <a:spcPts val="600"/>
              </a:spcBef>
              <a:spcAft>
                <a:spcPts val="0"/>
              </a:spcAft>
              <a:buClr>
                <a:srgbClr val="3D4647"/>
              </a:buClr>
              <a:buSzTx/>
              <a:buBlip>
                <a:blip r:embed="rId9">
                  <a:extLst>
                    <a:ext uri="{96DAC541-7B7A-43D3-8B79-37D633B846F1}">
                      <asvg:svgBlip xmlns:asvg="http://schemas.microsoft.com/office/drawing/2016/SVG/main" r:embed="rId10"/>
                    </a:ext>
                  </a:extLst>
                </a:blip>
              </a:buBlip>
              <a:tabLst/>
              <a:defRPr/>
            </a:pPr>
            <a:r>
              <a:rPr kumimoji="0" lang="en-US" sz="15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rPr>
              <a:t>Extended collaboration (CATIA V4/V5 &amp; NX)</a:t>
            </a:r>
          </a:p>
          <a:p>
            <a:pPr marR="0" lvl="0" algn="l" defTabSz="1086775" rtl="0" eaLnBrk="1" fontAlgn="auto" latinLnBrk="0" hangingPunct="1">
              <a:lnSpc>
                <a:spcPct val="90000"/>
              </a:lnSpc>
              <a:spcBef>
                <a:spcPts val="600"/>
              </a:spcBef>
              <a:spcAft>
                <a:spcPts val="0"/>
              </a:spcAft>
              <a:buClr>
                <a:srgbClr val="3D4647"/>
              </a:buClr>
              <a:buSzTx/>
              <a:buBlip>
                <a:blip r:embed="rId9">
                  <a:extLst>
                    <a:ext uri="{96DAC541-7B7A-43D3-8B79-37D633B846F1}">
                      <asvg:svgBlip xmlns:asvg="http://schemas.microsoft.com/office/drawing/2016/SVG/main" r:embed="rId10"/>
                    </a:ext>
                  </a:extLst>
                </a:blip>
              </a:buBlip>
              <a:tabLst/>
              <a:defRPr/>
            </a:pPr>
            <a:r>
              <a:rPr kumimoji="0" lang="en-US" sz="15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rPr>
              <a:t>Simulation, flow analysis and fatigue advisor </a:t>
            </a:r>
          </a:p>
          <a:p>
            <a:pPr marR="0" lvl="0" algn="l" defTabSz="1086775" rtl="0" eaLnBrk="1" fontAlgn="auto" latinLnBrk="0" hangingPunct="1">
              <a:lnSpc>
                <a:spcPct val="90000"/>
              </a:lnSpc>
              <a:spcBef>
                <a:spcPts val="600"/>
              </a:spcBef>
              <a:spcAft>
                <a:spcPts val="0"/>
              </a:spcAft>
              <a:buClr>
                <a:srgbClr val="3D4647"/>
              </a:buClr>
              <a:buSzTx/>
              <a:buBlip>
                <a:blip r:embed="rId9">
                  <a:extLst>
                    <a:ext uri="{96DAC541-7B7A-43D3-8B79-37D633B846F1}">
                      <asvg:svgBlip xmlns:asvg="http://schemas.microsoft.com/office/drawing/2016/SVG/main" r:embed="rId10"/>
                    </a:ext>
                  </a:extLst>
                </a:blip>
              </a:buBlip>
              <a:tabLst/>
              <a:defRPr/>
            </a:pPr>
            <a:r>
              <a:rPr kumimoji="0" lang="en-US" sz="15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rPr>
              <a:t>Production machining </a:t>
            </a:r>
          </a:p>
          <a:p>
            <a:pPr marL="0" marR="0" lvl="0" indent="0" algn="l" defTabSz="1086775" rtl="0" eaLnBrk="1" fontAlgn="auto" latinLnBrk="0" hangingPunct="1">
              <a:lnSpc>
                <a:spcPct val="90000"/>
              </a:lnSpc>
              <a:spcBef>
                <a:spcPts val="600"/>
              </a:spcBef>
              <a:spcAft>
                <a:spcPts val="0"/>
              </a:spcAft>
              <a:buClr>
                <a:srgbClr val="3D4647"/>
              </a:buClr>
              <a:buSzTx/>
              <a:buFont typeface="Arial" pitchFamily="34" charset="0"/>
              <a:buNone/>
              <a:tabLst/>
              <a:defRPr/>
            </a:pPr>
            <a:r>
              <a:rPr kumimoji="0" lang="en-US" sz="1600" b="1"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rPr>
              <a:t>Creo Design Premium Professional (T5)</a:t>
            </a:r>
          </a:p>
          <a:p>
            <a:pPr marR="0" lvl="0" algn="l" defTabSz="1086775" rtl="0" eaLnBrk="1" fontAlgn="auto" latinLnBrk="0" hangingPunct="1">
              <a:lnSpc>
                <a:spcPct val="90000"/>
              </a:lnSpc>
              <a:spcBef>
                <a:spcPts val="600"/>
              </a:spcBef>
              <a:spcAft>
                <a:spcPts val="0"/>
              </a:spcAft>
              <a:buClr>
                <a:srgbClr val="3D4647"/>
              </a:buClr>
              <a:buSzTx/>
              <a:buBlip>
                <a:blip r:embed="rId9">
                  <a:extLst>
                    <a:ext uri="{96DAC541-7B7A-43D3-8B79-37D633B846F1}">
                      <asvg:svgBlip xmlns:asvg="http://schemas.microsoft.com/office/drawing/2016/SVG/main" r:embed="rId10"/>
                    </a:ext>
                  </a:extLst>
                </a:blip>
              </a:buBlip>
              <a:tabLst/>
              <a:defRPr/>
            </a:pPr>
            <a:r>
              <a:rPr kumimoji="0" lang="en-US" sz="15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rPr>
              <a:t>Advanced simulation and flow Analysis</a:t>
            </a:r>
          </a:p>
          <a:p>
            <a:pPr marR="0" lvl="0" algn="l" defTabSz="1086775" rtl="0" eaLnBrk="1" fontAlgn="auto" latinLnBrk="0" hangingPunct="1">
              <a:lnSpc>
                <a:spcPct val="90000"/>
              </a:lnSpc>
              <a:spcBef>
                <a:spcPts val="600"/>
              </a:spcBef>
              <a:spcAft>
                <a:spcPts val="0"/>
              </a:spcAft>
              <a:buClr>
                <a:srgbClr val="3D4647"/>
              </a:buClr>
              <a:buSzTx/>
              <a:buBlip>
                <a:blip r:embed="rId9">
                  <a:extLst>
                    <a:ext uri="{96DAC541-7B7A-43D3-8B79-37D633B846F1}">
                      <asvg:svgBlip xmlns:asvg="http://schemas.microsoft.com/office/drawing/2016/SVG/main" r:embed="rId10"/>
                    </a:ext>
                  </a:extLst>
                </a:blip>
              </a:buBlip>
              <a:tabLst/>
              <a:defRPr/>
            </a:pPr>
            <a:r>
              <a:rPr kumimoji="0" lang="en-US" sz="15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rPr>
              <a:t>Options modeler and topology optimization</a:t>
            </a:r>
          </a:p>
          <a:p>
            <a:pPr marR="0" lvl="0" algn="l" defTabSz="1086775" rtl="0" eaLnBrk="1" fontAlgn="auto" latinLnBrk="0" hangingPunct="1">
              <a:lnSpc>
                <a:spcPct val="90000"/>
              </a:lnSpc>
              <a:spcBef>
                <a:spcPts val="600"/>
              </a:spcBef>
              <a:spcAft>
                <a:spcPts val="0"/>
              </a:spcAft>
              <a:buClr>
                <a:srgbClr val="3D4647"/>
              </a:buClr>
              <a:buSzTx/>
              <a:buBlip>
                <a:blip r:embed="rId9">
                  <a:extLst>
                    <a:ext uri="{96DAC541-7B7A-43D3-8B79-37D633B846F1}">
                      <asvg:svgBlip xmlns:asvg="http://schemas.microsoft.com/office/drawing/2016/SVG/main" r:embed="rId10"/>
                    </a:ext>
                  </a:extLst>
                </a:blip>
              </a:buBlip>
              <a:tabLst/>
              <a:defRPr/>
            </a:pPr>
            <a:r>
              <a:rPr kumimoji="0" lang="en-US" sz="15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rPr>
              <a:t>Metal printing and complete machining </a:t>
            </a:r>
          </a:p>
        </p:txBody>
      </p:sp>
      <p:sp>
        <p:nvSpPr>
          <p:cNvPr id="224" name="Rectangle 223">
            <a:extLst>
              <a:ext uri="{FF2B5EF4-FFF2-40B4-BE49-F238E27FC236}">
                <a16:creationId xmlns:a16="http://schemas.microsoft.com/office/drawing/2014/main" id="{3318FB95-2795-4AF0-981D-C68EE0922E6B}"/>
              </a:ext>
            </a:extLst>
          </p:cNvPr>
          <p:cNvSpPr/>
          <p:nvPr/>
        </p:nvSpPr>
        <p:spPr>
          <a:xfrm>
            <a:off x="6501748" y="-1046"/>
            <a:ext cx="73152"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6775" rtl="0" eaLnBrk="1" fontAlgn="auto" latinLnBrk="0" hangingPunct="1">
              <a:lnSpc>
                <a:spcPct val="90000"/>
              </a:lnSpc>
              <a:spcBef>
                <a:spcPts val="800"/>
              </a:spcBef>
              <a:spcAft>
                <a:spcPts val="0"/>
              </a:spcAft>
              <a:buClrTx/>
              <a:buSzTx/>
              <a:buFontTx/>
              <a:buNone/>
              <a:tabLst/>
              <a:defRPr/>
            </a:pPr>
            <a:endParaRPr kumimoji="0" lang="en-US" sz="2200" b="0" i="0" u="none" strike="noStrike" kern="1200" cap="none" spc="0" normalizeH="0" baseline="0" noProof="0" dirty="0">
              <a:ln>
                <a:noFill/>
              </a:ln>
              <a:solidFill>
                <a:srgbClr val="FFFFFF"/>
              </a:solidFill>
              <a:effectLst/>
              <a:uLnTx/>
              <a:uFillTx/>
              <a:latin typeface="PTCRaleway" panose="020B0503030101060003" pitchFamily="34" charset="0"/>
              <a:ea typeface="+mn-ea"/>
              <a:cs typeface="+mn-cs"/>
            </a:endParaRPr>
          </a:p>
        </p:txBody>
      </p:sp>
      <p:grpSp>
        <p:nvGrpSpPr>
          <p:cNvPr id="19" name="Group 18">
            <a:extLst>
              <a:ext uri="{FF2B5EF4-FFF2-40B4-BE49-F238E27FC236}">
                <a16:creationId xmlns:a16="http://schemas.microsoft.com/office/drawing/2014/main" id="{67C318E6-DE8E-4EF1-AE74-DE1CF731144C}"/>
              </a:ext>
            </a:extLst>
          </p:cNvPr>
          <p:cNvGrpSpPr/>
          <p:nvPr/>
        </p:nvGrpSpPr>
        <p:grpSpPr>
          <a:xfrm>
            <a:off x="3927475" y="328764"/>
            <a:ext cx="2305050" cy="6236577"/>
            <a:chOff x="3927475" y="328764"/>
            <a:chExt cx="2305050" cy="6236577"/>
          </a:xfrm>
        </p:grpSpPr>
        <p:grpSp>
          <p:nvGrpSpPr>
            <p:cNvPr id="593" name="Group 592">
              <a:extLst>
                <a:ext uri="{FF2B5EF4-FFF2-40B4-BE49-F238E27FC236}">
                  <a16:creationId xmlns:a16="http://schemas.microsoft.com/office/drawing/2014/main" id="{5C231635-DBC9-4DB0-81DF-9E547B3D50CE}"/>
                </a:ext>
              </a:extLst>
            </p:cNvPr>
            <p:cNvGrpSpPr/>
            <p:nvPr/>
          </p:nvGrpSpPr>
          <p:grpSpPr>
            <a:xfrm>
              <a:off x="3927475" y="328764"/>
              <a:ext cx="504825" cy="2234685"/>
              <a:chOff x="3876675" y="328764"/>
              <a:chExt cx="504825" cy="2234685"/>
            </a:xfrm>
          </p:grpSpPr>
          <p:grpSp>
            <p:nvGrpSpPr>
              <p:cNvPr id="594" name="Group 593">
                <a:extLst>
                  <a:ext uri="{FF2B5EF4-FFF2-40B4-BE49-F238E27FC236}">
                    <a16:creationId xmlns:a16="http://schemas.microsoft.com/office/drawing/2014/main" id="{A0DF2B09-4C37-4633-92C7-0AFEBD009B83}"/>
                  </a:ext>
                </a:extLst>
              </p:cNvPr>
              <p:cNvGrpSpPr/>
              <p:nvPr/>
            </p:nvGrpSpPr>
            <p:grpSpPr>
              <a:xfrm>
                <a:off x="4066716" y="656417"/>
                <a:ext cx="120148" cy="1907032"/>
                <a:chOff x="4066716" y="656417"/>
                <a:chExt cx="120148" cy="1907032"/>
              </a:xfrm>
            </p:grpSpPr>
            <p:sp>
              <p:nvSpPr>
                <p:cNvPr id="596" name="Oval 595">
                  <a:extLst>
                    <a:ext uri="{FF2B5EF4-FFF2-40B4-BE49-F238E27FC236}">
                      <a16:creationId xmlns:a16="http://schemas.microsoft.com/office/drawing/2014/main" id="{13103AC0-E222-45D6-AD5F-F9059BF9B0EB}"/>
                    </a:ext>
                  </a:extLst>
                </p:cNvPr>
                <p:cNvSpPr/>
                <p:nvPr/>
              </p:nvSpPr>
              <p:spPr>
                <a:xfrm>
                  <a:off x="4067986" y="656417"/>
                  <a:ext cx="118872" cy="118872"/>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6775" rtl="0" eaLnBrk="1" fontAlgn="auto" latinLnBrk="0" hangingPunct="1">
                    <a:lnSpc>
                      <a:spcPct val="90000"/>
                    </a:lnSpc>
                    <a:spcBef>
                      <a:spcPts val="800"/>
                    </a:spcBef>
                    <a:spcAft>
                      <a:spcPts val="0"/>
                    </a:spcAft>
                    <a:buClrTx/>
                    <a:buSzTx/>
                    <a:buFontTx/>
                    <a:buNone/>
                    <a:tabLst/>
                    <a:defRPr/>
                  </a:pPr>
                  <a:endParaRPr kumimoji="0" lang="en-US" sz="2200" b="0" i="0" u="none" strike="noStrike" kern="1200" cap="none" spc="0" normalizeH="0" baseline="0" noProof="0" dirty="0">
                    <a:ln>
                      <a:noFill/>
                    </a:ln>
                    <a:solidFill>
                      <a:srgbClr val="FFFFFF"/>
                    </a:solidFill>
                    <a:effectLst/>
                    <a:uLnTx/>
                    <a:uFillTx/>
                    <a:latin typeface="PTCRaleway" panose="020B0503030101060003" pitchFamily="34" charset="0"/>
                    <a:ea typeface="+mn-ea"/>
                    <a:cs typeface="+mn-cs"/>
                  </a:endParaRPr>
                </a:p>
              </p:txBody>
            </p:sp>
            <p:sp>
              <p:nvSpPr>
                <p:cNvPr id="597" name="Oval 596">
                  <a:extLst>
                    <a:ext uri="{FF2B5EF4-FFF2-40B4-BE49-F238E27FC236}">
                      <a16:creationId xmlns:a16="http://schemas.microsoft.com/office/drawing/2014/main" id="{1359CB3D-9A3B-4B7C-952F-2FD41580C816}"/>
                    </a:ext>
                  </a:extLst>
                </p:cNvPr>
                <p:cNvSpPr/>
                <p:nvPr/>
              </p:nvSpPr>
              <p:spPr>
                <a:xfrm>
                  <a:off x="4067992" y="807752"/>
                  <a:ext cx="118872" cy="118872"/>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6775" rtl="0" eaLnBrk="1" fontAlgn="auto" latinLnBrk="0" hangingPunct="1">
                    <a:lnSpc>
                      <a:spcPct val="90000"/>
                    </a:lnSpc>
                    <a:spcBef>
                      <a:spcPts val="800"/>
                    </a:spcBef>
                    <a:spcAft>
                      <a:spcPts val="0"/>
                    </a:spcAft>
                    <a:buClrTx/>
                    <a:buSzTx/>
                    <a:buFontTx/>
                    <a:buNone/>
                    <a:tabLst/>
                    <a:defRPr/>
                  </a:pPr>
                  <a:endParaRPr kumimoji="0" lang="en-US" sz="2200" b="0" i="0" u="none" strike="noStrike" kern="1200" cap="none" spc="0" normalizeH="0" baseline="0" noProof="0" dirty="0">
                    <a:ln>
                      <a:noFill/>
                    </a:ln>
                    <a:solidFill>
                      <a:srgbClr val="FFFFFF"/>
                    </a:solidFill>
                    <a:effectLst/>
                    <a:uLnTx/>
                    <a:uFillTx/>
                    <a:latin typeface="PTCRaleway" panose="020B0503030101060003" pitchFamily="34" charset="0"/>
                    <a:ea typeface="+mn-ea"/>
                    <a:cs typeface="+mn-cs"/>
                  </a:endParaRPr>
                </a:p>
              </p:txBody>
            </p:sp>
            <p:sp>
              <p:nvSpPr>
                <p:cNvPr id="598" name="Oval 597">
                  <a:extLst>
                    <a:ext uri="{FF2B5EF4-FFF2-40B4-BE49-F238E27FC236}">
                      <a16:creationId xmlns:a16="http://schemas.microsoft.com/office/drawing/2014/main" id="{B9FD1BAE-5678-47D6-A30E-90003F0D67EB}"/>
                    </a:ext>
                  </a:extLst>
                </p:cNvPr>
                <p:cNvSpPr/>
                <p:nvPr/>
              </p:nvSpPr>
              <p:spPr>
                <a:xfrm>
                  <a:off x="4067992" y="947358"/>
                  <a:ext cx="118872" cy="118872"/>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6775" rtl="0" eaLnBrk="1" fontAlgn="auto" latinLnBrk="0" hangingPunct="1">
                    <a:lnSpc>
                      <a:spcPct val="90000"/>
                    </a:lnSpc>
                    <a:spcBef>
                      <a:spcPts val="800"/>
                    </a:spcBef>
                    <a:spcAft>
                      <a:spcPts val="0"/>
                    </a:spcAft>
                    <a:buClrTx/>
                    <a:buSzTx/>
                    <a:buFontTx/>
                    <a:buNone/>
                    <a:tabLst/>
                    <a:defRPr/>
                  </a:pPr>
                  <a:endParaRPr kumimoji="0" lang="en-US" sz="2200" b="0" i="0" u="none" strike="noStrike" kern="1200" cap="none" spc="0" normalizeH="0" baseline="0" noProof="0" dirty="0">
                    <a:ln>
                      <a:noFill/>
                    </a:ln>
                    <a:solidFill>
                      <a:srgbClr val="FFFFFF"/>
                    </a:solidFill>
                    <a:effectLst/>
                    <a:uLnTx/>
                    <a:uFillTx/>
                    <a:latin typeface="PTCRaleway" panose="020B0503030101060003" pitchFamily="34" charset="0"/>
                    <a:ea typeface="+mn-ea"/>
                    <a:cs typeface="+mn-cs"/>
                  </a:endParaRPr>
                </a:p>
              </p:txBody>
            </p:sp>
            <p:sp>
              <p:nvSpPr>
                <p:cNvPr id="599" name="Oval 598">
                  <a:extLst>
                    <a:ext uri="{FF2B5EF4-FFF2-40B4-BE49-F238E27FC236}">
                      <a16:creationId xmlns:a16="http://schemas.microsoft.com/office/drawing/2014/main" id="{72290CB4-5244-40EB-AA39-17A0558744CA}"/>
                    </a:ext>
                  </a:extLst>
                </p:cNvPr>
                <p:cNvSpPr/>
                <p:nvPr/>
              </p:nvSpPr>
              <p:spPr>
                <a:xfrm>
                  <a:off x="4067986" y="1099758"/>
                  <a:ext cx="118872" cy="118872"/>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6775" rtl="0" eaLnBrk="1" fontAlgn="auto" latinLnBrk="0" hangingPunct="1">
                    <a:lnSpc>
                      <a:spcPct val="90000"/>
                    </a:lnSpc>
                    <a:spcBef>
                      <a:spcPts val="800"/>
                    </a:spcBef>
                    <a:spcAft>
                      <a:spcPts val="0"/>
                    </a:spcAft>
                    <a:buClrTx/>
                    <a:buSzTx/>
                    <a:buFontTx/>
                    <a:buNone/>
                    <a:tabLst/>
                    <a:defRPr/>
                  </a:pPr>
                  <a:endParaRPr kumimoji="0" lang="en-US" sz="2200" b="0" i="0" u="none" strike="noStrike" kern="1200" cap="none" spc="0" normalizeH="0" baseline="0" noProof="0" dirty="0">
                    <a:ln>
                      <a:noFill/>
                    </a:ln>
                    <a:solidFill>
                      <a:srgbClr val="FFFFFF"/>
                    </a:solidFill>
                    <a:effectLst/>
                    <a:uLnTx/>
                    <a:uFillTx/>
                    <a:latin typeface="PTCRaleway" panose="020B0503030101060003" pitchFamily="34" charset="0"/>
                    <a:ea typeface="+mn-ea"/>
                    <a:cs typeface="+mn-cs"/>
                  </a:endParaRPr>
                </a:p>
              </p:txBody>
            </p:sp>
            <p:sp>
              <p:nvSpPr>
                <p:cNvPr id="600" name="Oval 599">
                  <a:extLst>
                    <a:ext uri="{FF2B5EF4-FFF2-40B4-BE49-F238E27FC236}">
                      <a16:creationId xmlns:a16="http://schemas.microsoft.com/office/drawing/2014/main" id="{24D9EC1B-2FF6-4AE0-808F-5487143FE409}"/>
                    </a:ext>
                  </a:extLst>
                </p:cNvPr>
                <p:cNvSpPr/>
                <p:nvPr/>
              </p:nvSpPr>
              <p:spPr>
                <a:xfrm>
                  <a:off x="4066716" y="1259667"/>
                  <a:ext cx="118872" cy="118872"/>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6775" rtl="0" eaLnBrk="1" fontAlgn="auto" latinLnBrk="0" hangingPunct="1">
                    <a:lnSpc>
                      <a:spcPct val="90000"/>
                    </a:lnSpc>
                    <a:spcBef>
                      <a:spcPts val="800"/>
                    </a:spcBef>
                    <a:spcAft>
                      <a:spcPts val="0"/>
                    </a:spcAft>
                    <a:buClrTx/>
                    <a:buSzTx/>
                    <a:buFontTx/>
                    <a:buNone/>
                    <a:tabLst/>
                    <a:defRPr/>
                  </a:pPr>
                  <a:endParaRPr kumimoji="0" lang="en-US" sz="2200" b="0" i="0" u="none" strike="noStrike" kern="1200" cap="none" spc="0" normalizeH="0" baseline="0" noProof="0" dirty="0">
                    <a:ln>
                      <a:noFill/>
                    </a:ln>
                    <a:solidFill>
                      <a:srgbClr val="FFFFFF"/>
                    </a:solidFill>
                    <a:effectLst/>
                    <a:uLnTx/>
                    <a:uFillTx/>
                    <a:latin typeface="PTCRaleway" panose="020B0503030101060003" pitchFamily="34" charset="0"/>
                    <a:ea typeface="+mn-ea"/>
                    <a:cs typeface="+mn-cs"/>
                  </a:endParaRPr>
                </a:p>
              </p:txBody>
            </p:sp>
            <p:sp>
              <p:nvSpPr>
                <p:cNvPr id="601" name="Oval 600">
                  <a:extLst>
                    <a:ext uri="{FF2B5EF4-FFF2-40B4-BE49-F238E27FC236}">
                      <a16:creationId xmlns:a16="http://schemas.microsoft.com/office/drawing/2014/main" id="{69A650F0-C308-455D-8C0F-D0AF077A05E6}"/>
                    </a:ext>
                  </a:extLst>
                </p:cNvPr>
                <p:cNvSpPr/>
                <p:nvPr/>
              </p:nvSpPr>
              <p:spPr>
                <a:xfrm>
                  <a:off x="4067992" y="1411002"/>
                  <a:ext cx="118872" cy="118872"/>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6775" rtl="0" eaLnBrk="1" fontAlgn="auto" latinLnBrk="0" hangingPunct="1">
                    <a:lnSpc>
                      <a:spcPct val="90000"/>
                    </a:lnSpc>
                    <a:spcBef>
                      <a:spcPts val="800"/>
                    </a:spcBef>
                    <a:spcAft>
                      <a:spcPts val="0"/>
                    </a:spcAft>
                    <a:buClrTx/>
                    <a:buSzTx/>
                    <a:buFontTx/>
                    <a:buNone/>
                    <a:tabLst/>
                    <a:defRPr/>
                  </a:pPr>
                  <a:endParaRPr kumimoji="0" lang="en-US" sz="2200" b="0" i="0" u="none" strike="noStrike" kern="1200" cap="none" spc="0" normalizeH="0" baseline="0" noProof="0" dirty="0">
                    <a:ln>
                      <a:noFill/>
                    </a:ln>
                    <a:solidFill>
                      <a:srgbClr val="FFFFFF"/>
                    </a:solidFill>
                    <a:effectLst/>
                    <a:uLnTx/>
                    <a:uFillTx/>
                    <a:latin typeface="PTCRaleway" panose="020B0503030101060003" pitchFamily="34" charset="0"/>
                    <a:ea typeface="+mn-ea"/>
                    <a:cs typeface="+mn-cs"/>
                  </a:endParaRPr>
                </a:p>
              </p:txBody>
            </p:sp>
            <p:sp>
              <p:nvSpPr>
                <p:cNvPr id="602" name="Oval 601">
                  <a:extLst>
                    <a:ext uri="{FF2B5EF4-FFF2-40B4-BE49-F238E27FC236}">
                      <a16:creationId xmlns:a16="http://schemas.microsoft.com/office/drawing/2014/main" id="{A50FBC1D-30F3-4204-BBCF-4D7A43A47C4F}"/>
                    </a:ext>
                  </a:extLst>
                </p:cNvPr>
                <p:cNvSpPr/>
                <p:nvPr/>
              </p:nvSpPr>
              <p:spPr>
                <a:xfrm>
                  <a:off x="4067992" y="1550608"/>
                  <a:ext cx="118872" cy="118872"/>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6775" rtl="0" eaLnBrk="1" fontAlgn="auto" latinLnBrk="0" hangingPunct="1">
                    <a:lnSpc>
                      <a:spcPct val="90000"/>
                    </a:lnSpc>
                    <a:spcBef>
                      <a:spcPts val="800"/>
                    </a:spcBef>
                    <a:spcAft>
                      <a:spcPts val="0"/>
                    </a:spcAft>
                    <a:buClrTx/>
                    <a:buSzTx/>
                    <a:buFontTx/>
                    <a:buNone/>
                    <a:tabLst/>
                    <a:defRPr/>
                  </a:pPr>
                  <a:endParaRPr kumimoji="0" lang="en-US" sz="2200" b="0" i="0" u="none" strike="noStrike" kern="1200" cap="none" spc="0" normalizeH="0" baseline="0" noProof="0" dirty="0">
                    <a:ln>
                      <a:noFill/>
                    </a:ln>
                    <a:solidFill>
                      <a:srgbClr val="FFFFFF"/>
                    </a:solidFill>
                    <a:effectLst/>
                    <a:uLnTx/>
                    <a:uFillTx/>
                    <a:latin typeface="PTCRaleway" panose="020B0503030101060003" pitchFamily="34" charset="0"/>
                    <a:ea typeface="+mn-ea"/>
                    <a:cs typeface="+mn-cs"/>
                  </a:endParaRPr>
                </a:p>
              </p:txBody>
            </p:sp>
            <p:sp>
              <p:nvSpPr>
                <p:cNvPr id="603" name="Oval 602">
                  <a:extLst>
                    <a:ext uri="{FF2B5EF4-FFF2-40B4-BE49-F238E27FC236}">
                      <a16:creationId xmlns:a16="http://schemas.microsoft.com/office/drawing/2014/main" id="{B091CBD9-7029-4D97-9344-AA4D23BBCAFC}"/>
                    </a:ext>
                  </a:extLst>
                </p:cNvPr>
                <p:cNvSpPr/>
                <p:nvPr/>
              </p:nvSpPr>
              <p:spPr>
                <a:xfrm>
                  <a:off x="4067986" y="1691417"/>
                  <a:ext cx="118872" cy="118872"/>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6775" rtl="0" eaLnBrk="1" fontAlgn="auto" latinLnBrk="0" hangingPunct="1">
                    <a:lnSpc>
                      <a:spcPct val="90000"/>
                    </a:lnSpc>
                    <a:spcBef>
                      <a:spcPts val="800"/>
                    </a:spcBef>
                    <a:spcAft>
                      <a:spcPts val="0"/>
                    </a:spcAft>
                    <a:buClrTx/>
                    <a:buSzTx/>
                    <a:buFontTx/>
                    <a:buNone/>
                    <a:tabLst/>
                    <a:defRPr/>
                  </a:pPr>
                  <a:endParaRPr kumimoji="0" lang="en-US" sz="2200" b="0" i="0" u="none" strike="noStrike" kern="1200" cap="none" spc="0" normalizeH="0" baseline="0" noProof="0" dirty="0">
                    <a:ln>
                      <a:noFill/>
                    </a:ln>
                    <a:solidFill>
                      <a:srgbClr val="FFFFFF"/>
                    </a:solidFill>
                    <a:effectLst/>
                    <a:uLnTx/>
                    <a:uFillTx/>
                    <a:latin typeface="PTCRaleway" panose="020B0503030101060003" pitchFamily="34" charset="0"/>
                    <a:ea typeface="+mn-ea"/>
                    <a:cs typeface="+mn-cs"/>
                  </a:endParaRPr>
                </a:p>
              </p:txBody>
            </p:sp>
            <p:sp>
              <p:nvSpPr>
                <p:cNvPr id="604" name="Oval 603">
                  <a:extLst>
                    <a:ext uri="{FF2B5EF4-FFF2-40B4-BE49-F238E27FC236}">
                      <a16:creationId xmlns:a16="http://schemas.microsoft.com/office/drawing/2014/main" id="{A3A5BE75-0BC9-49AC-8197-B3CBB73B9CD2}"/>
                    </a:ext>
                  </a:extLst>
                </p:cNvPr>
                <p:cNvSpPr/>
                <p:nvPr/>
              </p:nvSpPr>
              <p:spPr>
                <a:xfrm>
                  <a:off x="4067986" y="1841327"/>
                  <a:ext cx="118872" cy="118872"/>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6775" rtl="0" eaLnBrk="1" fontAlgn="auto" latinLnBrk="0" hangingPunct="1">
                    <a:lnSpc>
                      <a:spcPct val="90000"/>
                    </a:lnSpc>
                    <a:spcBef>
                      <a:spcPts val="800"/>
                    </a:spcBef>
                    <a:spcAft>
                      <a:spcPts val="0"/>
                    </a:spcAft>
                    <a:buClrTx/>
                    <a:buSzTx/>
                    <a:buFontTx/>
                    <a:buNone/>
                    <a:tabLst/>
                    <a:defRPr/>
                  </a:pPr>
                  <a:endParaRPr kumimoji="0" lang="en-US" sz="2200" b="0" i="0" u="none" strike="noStrike" kern="1200" cap="none" spc="0" normalizeH="0" baseline="0" noProof="0" dirty="0">
                    <a:ln>
                      <a:noFill/>
                    </a:ln>
                    <a:solidFill>
                      <a:srgbClr val="FFFFFF"/>
                    </a:solidFill>
                    <a:effectLst/>
                    <a:uLnTx/>
                    <a:uFillTx/>
                    <a:latin typeface="PTCRaleway" panose="020B0503030101060003" pitchFamily="34" charset="0"/>
                    <a:ea typeface="+mn-ea"/>
                    <a:cs typeface="+mn-cs"/>
                  </a:endParaRPr>
                </a:p>
              </p:txBody>
            </p:sp>
            <p:sp>
              <p:nvSpPr>
                <p:cNvPr id="605" name="Oval 604">
                  <a:extLst>
                    <a:ext uri="{FF2B5EF4-FFF2-40B4-BE49-F238E27FC236}">
                      <a16:creationId xmlns:a16="http://schemas.microsoft.com/office/drawing/2014/main" id="{CA7D624C-F2DA-4F10-93A5-43655BDF56A2}"/>
                    </a:ext>
                  </a:extLst>
                </p:cNvPr>
                <p:cNvSpPr/>
                <p:nvPr/>
              </p:nvSpPr>
              <p:spPr>
                <a:xfrm>
                  <a:off x="4067992" y="1992662"/>
                  <a:ext cx="118872" cy="118872"/>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6775" rtl="0" eaLnBrk="1" fontAlgn="auto" latinLnBrk="0" hangingPunct="1">
                    <a:lnSpc>
                      <a:spcPct val="90000"/>
                    </a:lnSpc>
                    <a:spcBef>
                      <a:spcPts val="800"/>
                    </a:spcBef>
                    <a:spcAft>
                      <a:spcPts val="0"/>
                    </a:spcAft>
                    <a:buClrTx/>
                    <a:buSzTx/>
                    <a:buFontTx/>
                    <a:buNone/>
                    <a:tabLst/>
                    <a:defRPr/>
                  </a:pPr>
                  <a:endParaRPr kumimoji="0" lang="en-US" sz="2200" b="0" i="0" u="none" strike="noStrike" kern="1200" cap="none" spc="0" normalizeH="0" baseline="0" noProof="0" dirty="0">
                    <a:ln>
                      <a:noFill/>
                    </a:ln>
                    <a:solidFill>
                      <a:srgbClr val="FFFFFF"/>
                    </a:solidFill>
                    <a:effectLst/>
                    <a:uLnTx/>
                    <a:uFillTx/>
                    <a:latin typeface="PTCRaleway" panose="020B0503030101060003" pitchFamily="34" charset="0"/>
                    <a:ea typeface="+mn-ea"/>
                    <a:cs typeface="+mn-cs"/>
                  </a:endParaRPr>
                </a:p>
              </p:txBody>
            </p:sp>
            <p:sp>
              <p:nvSpPr>
                <p:cNvPr id="606" name="Oval 605">
                  <a:extLst>
                    <a:ext uri="{FF2B5EF4-FFF2-40B4-BE49-F238E27FC236}">
                      <a16:creationId xmlns:a16="http://schemas.microsoft.com/office/drawing/2014/main" id="{2D8382C5-51F4-44F1-98BD-DF5F83A94FC7}"/>
                    </a:ext>
                  </a:extLst>
                </p:cNvPr>
                <p:cNvSpPr/>
                <p:nvPr/>
              </p:nvSpPr>
              <p:spPr>
                <a:xfrm>
                  <a:off x="4067992" y="2132268"/>
                  <a:ext cx="118872" cy="118872"/>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6775" rtl="0" eaLnBrk="1" fontAlgn="auto" latinLnBrk="0" hangingPunct="1">
                    <a:lnSpc>
                      <a:spcPct val="90000"/>
                    </a:lnSpc>
                    <a:spcBef>
                      <a:spcPts val="800"/>
                    </a:spcBef>
                    <a:spcAft>
                      <a:spcPts val="0"/>
                    </a:spcAft>
                    <a:buClrTx/>
                    <a:buSzTx/>
                    <a:buFontTx/>
                    <a:buNone/>
                    <a:tabLst/>
                    <a:defRPr/>
                  </a:pPr>
                  <a:endParaRPr kumimoji="0" lang="en-US" sz="2200" b="0" i="0" u="none" strike="noStrike" kern="1200" cap="none" spc="0" normalizeH="0" baseline="0" noProof="0" dirty="0">
                    <a:ln>
                      <a:noFill/>
                    </a:ln>
                    <a:solidFill>
                      <a:srgbClr val="FFFFFF"/>
                    </a:solidFill>
                    <a:effectLst/>
                    <a:uLnTx/>
                    <a:uFillTx/>
                    <a:latin typeface="PTCRaleway" panose="020B0503030101060003" pitchFamily="34" charset="0"/>
                    <a:ea typeface="+mn-ea"/>
                    <a:cs typeface="+mn-cs"/>
                  </a:endParaRPr>
                </a:p>
              </p:txBody>
            </p:sp>
            <p:sp>
              <p:nvSpPr>
                <p:cNvPr id="607" name="Oval 606">
                  <a:extLst>
                    <a:ext uri="{FF2B5EF4-FFF2-40B4-BE49-F238E27FC236}">
                      <a16:creationId xmlns:a16="http://schemas.microsoft.com/office/drawing/2014/main" id="{0590E958-1254-4884-B947-6AC52322A2FB}"/>
                    </a:ext>
                  </a:extLst>
                </p:cNvPr>
                <p:cNvSpPr/>
                <p:nvPr/>
              </p:nvSpPr>
              <p:spPr>
                <a:xfrm>
                  <a:off x="4067986" y="2284668"/>
                  <a:ext cx="118872" cy="118872"/>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6775" rtl="0" eaLnBrk="1" fontAlgn="auto" latinLnBrk="0" hangingPunct="1">
                    <a:lnSpc>
                      <a:spcPct val="90000"/>
                    </a:lnSpc>
                    <a:spcBef>
                      <a:spcPts val="800"/>
                    </a:spcBef>
                    <a:spcAft>
                      <a:spcPts val="0"/>
                    </a:spcAft>
                    <a:buClrTx/>
                    <a:buSzTx/>
                    <a:buFontTx/>
                    <a:buNone/>
                    <a:tabLst/>
                    <a:defRPr/>
                  </a:pPr>
                  <a:endParaRPr kumimoji="0" lang="en-US" sz="2200" b="0" i="0" u="none" strike="noStrike" kern="1200" cap="none" spc="0" normalizeH="0" baseline="0" noProof="0" dirty="0">
                    <a:ln>
                      <a:noFill/>
                    </a:ln>
                    <a:solidFill>
                      <a:srgbClr val="FFFFFF"/>
                    </a:solidFill>
                    <a:effectLst/>
                    <a:uLnTx/>
                    <a:uFillTx/>
                    <a:latin typeface="PTCRaleway" panose="020B0503030101060003" pitchFamily="34" charset="0"/>
                    <a:ea typeface="+mn-ea"/>
                    <a:cs typeface="+mn-cs"/>
                  </a:endParaRPr>
                </a:p>
              </p:txBody>
            </p:sp>
            <p:sp>
              <p:nvSpPr>
                <p:cNvPr id="608" name="Oval 607">
                  <a:extLst>
                    <a:ext uri="{FF2B5EF4-FFF2-40B4-BE49-F238E27FC236}">
                      <a16:creationId xmlns:a16="http://schemas.microsoft.com/office/drawing/2014/main" id="{EAEC82C5-4C13-4646-A050-1C4C55333DB6}"/>
                    </a:ext>
                  </a:extLst>
                </p:cNvPr>
                <p:cNvSpPr/>
                <p:nvPr/>
              </p:nvSpPr>
              <p:spPr>
                <a:xfrm>
                  <a:off x="4066716" y="2444577"/>
                  <a:ext cx="118872" cy="118872"/>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6775" rtl="0" eaLnBrk="1" fontAlgn="auto" latinLnBrk="0" hangingPunct="1">
                    <a:lnSpc>
                      <a:spcPct val="90000"/>
                    </a:lnSpc>
                    <a:spcBef>
                      <a:spcPts val="800"/>
                    </a:spcBef>
                    <a:spcAft>
                      <a:spcPts val="0"/>
                    </a:spcAft>
                    <a:buClrTx/>
                    <a:buSzTx/>
                    <a:buFontTx/>
                    <a:buNone/>
                    <a:tabLst/>
                    <a:defRPr/>
                  </a:pPr>
                  <a:endParaRPr kumimoji="0" lang="en-US" sz="2200" b="0" i="0" u="none" strike="noStrike" kern="1200" cap="none" spc="0" normalizeH="0" baseline="0" noProof="0" dirty="0">
                    <a:ln>
                      <a:noFill/>
                    </a:ln>
                    <a:solidFill>
                      <a:srgbClr val="FFFFFF"/>
                    </a:solidFill>
                    <a:effectLst/>
                    <a:uLnTx/>
                    <a:uFillTx/>
                    <a:latin typeface="PTCRaleway" panose="020B0503030101060003" pitchFamily="34" charset="0"/>
                    <a:ea typeface="+mn-ea"/>
                    <a:cs typeface="+mn-cs"/>
                  </a:endParaRPr>
                </a:p>
              </p:txBody>
            </p:sp>
            <p:cxnSp>
              <p:nvCxnSpPr>
                <p:cNvPr id="609" name="Straight Connector 608">
                  <a:extLst>
                    <a:ext uri="{FF2B5EF4-FFF2-40B4-BE49-F238E27FC236}">
                      <a16:creationId xmlns:a16="http://schemas.microsoft.com/office/drawing/2014/main" id="{FC299212-1E52-46A0-9857-D863F0CAF781}"/>
                    </a:ext>
                  </a:extLst>
                </p:cNvPr>
                <p:cNvCxnSpPr>
                  <a:cxnSpLocks/>
                </p:cNvCxnSpPr>
                <p:nvPr/>
              </p:nvCxnSpPr>
              <p:spPr>
                <a:xfrm>
                  <a:off x="4124595" y="724618"/>
                  <a:ext cx="0" cy="1775460"/>
                </a:xfrm>
                <a:prstGeom prst="line">
                  <a:avLst/>
                </a:prstGeom>
                <a:ln w="25400">
                  <a:solidFill>
                    <a:schemeClr val="bg2"/>
                  </a:solidFill>
                </a:ln>
              </p:spPr>
              <p:style>
                <a:lnRef idx="1">
                  <a:schemeClr val="accent1"/>
                </a:lnRef>
                <a:fillRef idx="0">
                  <a:schemeClr val="accent1"/>
                </a:fillRef>
                <a:effectRef idx="0">
                  <a:schemeClr val="accent1"/>
                </a:effectRef>
                <a:fontRef idx="minor">
                  <a:schemeClr val="tx1"/>
                </a:fontRef>
              </p:style>
            </p:cxnSp>
          </p:grpSp>
          <p:sp>
            <p:nvSpPr>
              <p:cNvPr id="595" name="TextBox 594">
                <a:extLst>
                  <a:ext uri="{FF2B5EF4-FFF2-40B4-BE49-F238E27FC236}">
                    <a16:creationId xmlns:a16="http://schemas.microsoft.com/office/drawing/2014/main" id="{848DDDAA-2252-4839-BC3D-80108631947A}"/>
                  </a:ext>
                </a:extLst>
              </p:cNvPr>
              <p:cNvSpPr txBox="1"/>
              <p:nvPr/>
            </p:nvSpPr>
            <p:spPr>
              <a:xfrm>
                <a:off x="3876675" y="328764"/>
                <a:ext cx="504825" cy="190500"/>
              </a:xfrm>
              <a:prstGeom prst="rect">
                <a:avLst/>
              </a:prstGeom>
            </p:spPr>
            <p:txBody>
              <a:bodyPr vert="horz" wrap="square" lIns="91440" tIns="45720" rIns="91440" bIns="45720" rtlCol="0">
                <a:noAutofit/>
              </a:bodyPr>
              <a:lstStyle/>
              <a:p>
                <a:pPr marL="0" marR="0" lvl="0" indent="0" algn="ctr" defTabSz="1086775" rtl="0" eaLnBrk="1" fontAlgn="auto" latinLnBrk="0" hangingPunct="1">
                  <a:lnSpc>
                    <a:spcPct val="90000"/>
                  </a:lnSpc>
                  <a:spcBef>
                    <a:spcPts val="800"/>
                  </a:spcBef>
                  <a:spcAft>
                    <a:spcPts val="0"/>
                  </a:spcAft>
                  <a:buClrTx/>
                  <a:buSzTx/>
                  <a:buFontTx/>
                  <a:buNone/>
                  <a:tabLst/>
                  <a:defRPr/>
                </a:pPr>
                <a:r>
                  <a:rPr kumimoji="0" lang="en-US" sz="2000" b="1"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rPr>
                  <a:t>T1</a:t>
                </a:r>
              </a:p>
            </p:txBody>
          </p:sp>
        </p:grpSp>
        <p:grpSp>
          <p:nvGrpSpPr>
            <p:cNvPr id="610" name="Group 609">
              <a:extLst>
                <a:ext uri="{FF2B5EF4-FFF2-40B4-BE49-F238E27FC236}">
                  <a16:creationId xmlns:a16="http://schemas.microsoft.com/office/drawing/2014/main" id="{45876A9D-0193-434A-9746-CE2F65381C44}"/>
                </a:ext>
              </a:extLst>
            </p:cNvPr>
            <p:cNvGrpSpPr/>
            <p:nvPr/>
          </p:nvGrpSpPr>
          <p:grpSpPr>
            <a:xfrm>
              <a:off x="5280025" y="328764"/>
              <a:ext cx="504825" cy="5357393"/>
              <a:chOff x="5229225" y="328764"/>
              <a:chExt cx="504825" cy="5357393"/>
            </a:xfrm>
          </p:grpSpPr>
          <p:sp>
            <p:nvSpPr>
              <p:cNvPr id="611" name="Oval 610">
                <a:extLst>
                  <a:ext uri="{FF2B5EF4-FFF2-40B4-BE49-F238E27FC236}">
                    <a16:creationId xmlns:a16="http://schemas.microsoft.com/office/drawing/2014/main" id="{A5C2D9CD-F34F-4E1F-9C11-3D0E776FF42C}"/>
                  </a:ext>
                </a:extLst>
              </p:cNvPr>
              <p:cNvSpPr/>
              <p:nvPr/>
            </p:nvSpPr>
            <p:spPr>
              <a:xfrm>
                <a:off x="5438729" y="664880"/>
                <a:ext cx="118872" cy="118872"/>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6775" rtl="0" eaLnBrk="1" fontAlgn="auto" latinLnBrk="0" hangingPunct="1">
                  <a:lnSpc>
                    <a:spcPct val="90000"/>
                  </a:lnSpc>
                  <a:spcBef>
                    <a:spcPts val="800"/>
                  </a:spcBef>
                  <a:spcAft>
                    <a:spcPts val="0"/>
                  </a:spcAft>
                  <a:buClrTx/>
                  <a:buSzTx/>
                  <a:buFontTx/>
                  <a:buNone/>
                  <a:tabLst/>
                  <a:defRPr/>
                </a:pPr>
                <a:endParaRPr kumimoji="0" lang="en-US" sz="2200" b="0" i="0" u="none" strike="noStrike" kern="1200" cap="none" spc="0" normalizeH="0" baseline="0" noProof="0" dirty="0">
                  <a:ln>
                    <a:noFill/>
                  </a:ln>
                  <a:solidFill>
                    <a:srgbClr val="FFFFFF"/>
                  </a:solidFill>
                  <a:effectLst/>
                  <a:uLnTx/>
                  <a:uFillTx/>
                  <a:latin typeface="PTCRaleway" panose="020B0503030101060003" pitchFamily="34" charset="0"/>
                  <a:ea typeface="+mn-ea"/>
                  <a:cs typeface="+mn-cs"/>
                </a:endParaRPr>
              </a:p>
            </p:txBody>
          </p:sp>
          <p:sp>
            <p:nvSpPr>
              <p:cNvPr id="612" name="Oval 611">
                <a:extLst>
                  <a:ext uri="{FF2B5EF4-FFF2-40B4-BE49-F238E27FC236}">
                    <a16:creationId xmlns:a16="http://schemas.microsoft.com/office/drawing/2014/main" id="{AA216F71-250E-4385-B3C7-CC189D09652D}"/>
                  </a:ext>
                </a:extLst>
              </p:cNvPr>
              <p:cNvSpPr/>
              <p:nvPr/>
            </p:nvSpPr>
            <p:spPr>
              <a:xfrm>
                <a:off x="5438735" y="816215"/>
                <a:ext cx="118872" cy="118872"/>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6775" rtl="0" eaLnBrk="1" fontAlgn="auto" latinLnBrk="0" hangingPunct="1">
                  <a:lnSpc>
                    <a:spcPct val="90000"/>
                  </a:lnSpc>
                  <a:spcBef>
                    <a:spcPts val="800"/>
                  </a:spcBef>
                  <a:spcAft>
                    <a:spcPts val="0"/>
                  </a:spcAft>
                  <a:buClrTx/>
                  <a:buSzTx/>
                  <a:buFontTx/>
                  <a:buNone/>
                  <a:tabLst/>
                  <a:defRPr/>
                </a:pPr>
                <a:endParaRPr kumimoji="0" lang="en-US" sz="2200" b="0" i="0" u="none" strike="noStrike" kern="1200" cap="none" spc="0" normalizeH="0" baseline="0" noProof="0" dirty="0">
                  <a:ln>
                    <a:noFill/>
                  </a:ln>
                  <a:solidFill>
                    <a:srgbClr val="FFFFFF"/>
                  </a:solidFill>
                  <a:effectLst/>
                  <a:uLnTx/>
                  <a:uFillTx/>
                  <a:latin typeface="PTCRaleway" panose="020B0503030101060003" pitchFamily="34" charset="0"/>
                  <a:ea typeface="+mn-ea"/>
                  <a:cs typeface="+mn-cs"/>
                </a:endParaRPr>
              </a:p>
            </p:txBody>
          </p:sp>
          <p:sp>
            <p:nvSpPr>
              <p:cNvPr id="613" name="Oval 612">
                <a:extLst>
                  <a:ext uri="{FF2B5EF4-FFF2-40B4-BE49-F238E27FC236}">
                    <a16:creationId xmlns:a16="http://schemas.microsoft.com/office/drawing/2014/main" id="{701683DC-636F-4651-9447-D0659BCADA9A}"/>
                  </a:ext>
                </a:extLst>
              </p:cNvPr>
              <p:cNvSpPr/>
              <p:nvPr/>
            </p:nvSpPr>
            <p:spPr>
              <a:xfrm>
                <a:off x="5438735" y="955821"/>
                <a:ext cx="118872" cy="118872"/>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6775" rtl="0" eaLnBrk="1" fontAlgn="auto" latinLnBrk="0" hangingPunct="1">
                  <a:lnSpc>
                    <a:spcPct val="90000"/>
                  </a:lnSpc>
                  <a:spcBef>
                    <a:spcPts val="800"/>
                  </a:spcBef>
                  <a:spcAft>
                    <a:spcPts val="0"/>
                  </a:spcAft>
                  <a:buClrTx/>
                  <a:buSzTx/>
                  <a:buFontTx/>
                  <a:buNone/>
                  <a:tabLst/>
                  <a:defRPr/>
                </a:pPr>
                <a:endParaRPr kumimoji="0" lang="en-US" sz="2200" b="0" i="0" u="none" strike="noStrike" kern="1200" cap="none" spc="0" normalizeH="0" baseline="0" noProof="0" dirty="0">
                  <a:ln>
                    <a:noFill/>
                  </a:ln>
                  <a:solidFill>
                    <a:srgbClr val="FFFFFF"/>
                  </a:solidFill>
                  <a:effectLst/>
                  <a:uLnTx/>
                  <a:uFillTx/>
                  <a:latin typeface="PTCRaleway" panose="020B0503030101060003" pitchFamily="34" charset="0"/>
                  <a:ea typeface="+mn-ea"/>
                  <a:cs typeface="+mn-cs"/>
                </a:endParaRPr>
              </a:p>
            </p:txBody>
          </p:sp>
          <p:sp>
            <p:nvSpPr>
              <p:cNvPr id="614" name="Oval 613">
                <a:extLst>
                  <a:ext uri="{FF2B5EF4-FFF2-40B4-BE49-F238E27FC236}">
                    <a16:creationId xmlns:a16="http://schemas.microsoft.com/office/drawing/2014/main" id="{B2E3ADFD-D8C3-4816-AEFC-931DE403357F}"/>
                  </a:ext>
                </a:extLst>
              </p:cNvPr>
              <p:cNvSpPr/>
              <p:nvPr/>
            </p:nvSpPr>
            <p:spPr>
              <a:xfrm>
                <a:off x="5438729" y="1108221"/>
                <a:ext cx="118872" cy="118872"/>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6775" rtl="0" eaLnBrk="1" fontAlgn="auto" latinLnBrk="0" hangingPunct="1">
                  <a:lnSpc>
                    <a:spcPct val="90000"/>
                  </a:lnSpc>
                  <a:spcBef>
                    <a:spcPts val="800"/>
                  </a:spcBef>
                  <a:spcAft>
                    <a:spcPts val="0"/>
                  </a:spcAft>
                  <a:buClrTx/>
                  <a:buSzTx/>
                  <a:buFontTx/>
                  <a:buNone/>
                  <a:tabLst/>
                  <a:defRPr/>
                </a:pPr>
                <a:endParaRPr kumimoji="0" lang="en-US" sz="2200" b="0" i="0" u="none" strike="noStrike" kern="1200" cap="none" spc="0" normalizeH="0" baseline="0" noProof="0" dirty="0">
                  <a:ln>
                    <a:noFill/>
                  </a:ln>
                  <a:solidFill>
                    <a:srgbClr val="FFFFFF"/>
                  </a:solidFill>
                  <a:effectLst/>
                  <a:uLnTx/>
                  <a:uFillTx/>
                  <a:latin typeface="PTCRaleway" panose="020B0503030101060003" pitchFamily="34" charset="0"/>
                  <a:ea typeface="+mn-ea"/>
                  <a:cs typeface="+mn-cs"/>
                </a:endParaRPr>
              </a:p>
            </p:txBody>
          </p:sp>
          <p:sp>
            <p:nvSpPr>
              <p:cNvPr id="615" name="Oval 614">
                <a:extLst>
                  <a:ext uri="{FF2B5EF4-FFF2-40B4-BE49-F238E27FC236}">
                    <a16:creationId xmlns:a16="http://schemas.microsoft.com/office/drawing/2014/main" id="{DB31AF53-4B5C-4E2F-9333-E33AE68498A2}"/>
                  </a:ext>
                </a:extLst>
              </p:cNvPr>
              <p:cNvSpPr/>
              <p:nvPr/>
            </p:nvSpPr>
            <p:spPr>
              <a:xfrm>
                <a:off x="5437459" y="1268130"/>
                <a:ext cx="118872" cy="118872"/>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6775" rtl="0" eaLnBrk="1" fontAlgn="auto" latinLnBrk="0" hangingPunct="1">
                  <a:lnSpc>
                    <a:spcPct val="90000"/>
                  </a:lnSpc>
                  <a:spcBef>
                    <a:spcPts val="800"/>
                  </a:spcBef>
                  <a:spcAft>
                    <a:spcPts val="0"/>
                  </a:spcAft>
                  <a:buClrTx/>
                  <a:buSzTx/>
                  <a:buFontTx/>
                  <a:buNone/>
                  <a:tabLst/>
                  <a:defRPr/>
                </a:pPr>
                <a:endParaRPr kumimoji="0" lang="en-US" sz="2200" b="0" i="0" u="none" strike="noStrike" kern="1200" cap="none" spc="0" normalizeH="0" baseline="0" noProof="0" dirty="0">
                  <a:ln>
                    <a:noFill/>
                  </a:ln>
                  <a:solidFill>
                    <a:srgbClr val="FFFFFF"/>
                  </a:solidFill>
                  <a:effectLst/>
                  <a:uLnTx/>
                  <a:uFillTx/>
                  <a:latin typeface="PTCRaleway" panose="020B0503030101060003" pitchFamily="34" charset="0"/>
                  <a:ea typeface="+mn-ea"/>
                  <a:cs typeface="+mn-cs"/>
                </a:endParaRPr>
              </a:p>
            </p:txBody>
          </p:sp>
          <p:sp>
            <p:nvSpPr>
              <p:cNvPr id="616" name="Oval 615">
                <a:extLst>
                  <a:ext uri="{FF2B5EF4-FFF2-40B4-BE49-F238E27FC236}">
                    <a16:creationId xmlns:a16="http://schemas.microsoft.com/office/drawing/2014/main" id="{F6074896-81BA-4BBD-8E78-99CEBAA82BD4}"/>
                  </a:ext>
                </a:extLst>
              </p:cNvPr>
              <p:cNvSpPr/>
              <p:nvPr/>
            </p:nvSpPr>
            <p:spPr>
              <a:xfrm>
                <a:off x="5438735" y="1419465"/>
                <a:ext cx="118872" cy="118872"/>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6775" rtl="0" eaLnBrk="1" fontAlgn="auto" latinLnBrk="0" hangingPunct="1">
                  <a:lnSpc>
                    <a:spcPct val="90000"/>
                  </a:lnSpc>
                  <a:spcBef>
                    <a:spcPts val="800"/>
                  </a:spcBef>
                  <a:spcAft>
                    <a:spcPts val="0"/>
                  </a:spcAft>
                  <a:buClrTx/>
                  <a:buSzTx/>
                  <a:buFontTx/>
                  <a:buNone/>
                  <a:tabLst/>
                  <a:defRPr/>
                </a:pPr>
                <a:endParaRPr kumimoji="0" lang="en-US" sz="2200" b="0" i="0" u="none" strike="noStrike" kern="1200" cap="none" spc="0" normalizeH="0" baseline="0" noProof="0" dirty="0">
                  <a:ln>
                    <a:noFill/>
                  </a:ln>
                  <a:solidFill>
                    <a:srgbClr val="FFFFFF"/>
                  </a:solidFill>
                  <a:effectLst/>
                  <a:uLnTx/>
                  <a:uFillTx/>
                  <a:latin typeface="PTCRaleway" panose="020B0503030101060003" pitchFamily="34" charset="0"/>
                  <a:ea typeface="+mn-ea"/>
                  <a:cs typeface="+mn-cs"/>
                </a:endParaRPr>
              </a:p>
            </p:txBody>
          </p:sp>
          <p:sp>
            <p:nvSpPr>
              <p:cNvPr id="617" name="Oval 616">
                <a:extLst>
                  <a:ext uri="{FF2B5EF4-FFF2-40B4-BE49-F238E27FC236}">
                    <a16:creationId xmlns:a16="http://schemas.microsoft.com/office/drawing/2014/main" id="{3FF5BFDB-EE42-4F27-A3DC-5EA2D774F567}"/>
                  </a:ext>
                </a:extLst>
              </p:cNvPr>
              <p:cNvSpPr/>
              <p:nvPr/>
            </p:nvSpPr>
            <p:spPr>
              <a:xfrm>
                <a:off x="5438735" y="1559071"/>
                <a:ext cx="118872" cy="118872"/>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6775" rtl="0" eaLnBrk="1" fontAlgn="auto" latinLnBrk="0" hangingPunct="1">
                  <a:lnSpc>
                    <a:spcPct val="90000"/>
                  </a:lnSpc>
                  <a:spcBef>
                    <a:spcPts val="800"/>
                  </a:spcBef>
                  <a:spcAft>
                    <a:spcPts val="0"/>
                  </a:spcAft>
                  <a:buClrTx/>
                  <a:buSzTx/>
                  <a:buFontTx/>
                  <a:buNone/>
                  <a:tabLst/>
                  <a:defRPr/>
                </a:pPr>
                <a:endParaRPr kumimoji="0" lang="en-US" sz="2200" b="0" i="0" u="none" strike="noStrike" kern="1200" cap="none" spc="0" normalizeH="0" baseline="0" noProof="0" dirty="0">
                  <a:ln>
                    <a:noFill/>
                  </a:ln>
                  <a:solidFill>
                    <a:srgbClr val="FFFFFF"/>
                  </a:solidFill>
                  <a:effectLst/>
                  <a:uLnTx/>
                  <a:uFillTx/>
                  <a:latin typeface="PTCRaleway" panose="020B0503030101060003" pitchFamily="34" charset="0"/>
                  <a:ea typeface="+mn-ea"/>
                  <a:cs typeface="+mn-cs"/>
                </a:endParaRPr>
              </a:p>
            </p:txBody>
          </p:sp>
          <p:sp>
            <p:nvSpPr>
              <p:cNvPr id="618" name="Oval 617">
                <a:extLst>
                  <a:ext uri="{FF2B5EF4-FFF2-40B4-BE49-F238E27FC236}">
                    <a16:creationId xmlns:a16="http://schemas.microsoft.com/office/drawing/2014/main" id="{DA30FC63-7B56-42AF-9B2A-6F2E2650A7B2}"/>
                  </a:ext>
                </a:extLst>
              </p:cNvPr>
              <p:cNvSpPr/>
              <p:nvPr/>
            </p:nvSpPr>
            <p:spPr>
              <a:xfrm>
                <a:off x="5438729" y="1699880"/>
                <a:ext cx="118872" cy="118872"/>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6775" rtl="0" eaLnBrk="1" fontAlgn="auto" latinLnBrk="0" hangingPunct="1">
                  <a:lnSpc>
                    <a:spcPct val="90000"/>
                  </a:lnSpc>
                  <a:spcBef>
                    <a:spcPts val="800"/>
                  </a:spcBef>
                  <a:spcAft>
                    <a:spcPts val="0"/>
                  </a:spcAft>
                  <a:buClrTx/>
                  <a:buSzTx/>
                  <a:buFontTx/>
                  <a:buNone/>
                  <a:tabLst/>
                  <a:defRPr/>
                </a:pPr>
                <a:endParaRPr kumimoji="0" lang="en-US" sz="2200" b="0" i="0" u="none" strike="noStrike" kern="1200" cap="none" spc="0" normalizeH="0" baseline="0" noProof="0" dirty="0">
                  <a:ln>
                    <a:noFill/>
                  </a:ln>
                  <a:solidFill>
                    <a:srgbClr val="FFFFFF"/>
                  </a:solidFill>
                  <a:effectLst/>
                  <a:uLnTx/>
                  <a:uFillTx/>
                  <a:latin typeface="PTCRaleway" panose="020B0503030101060003" pitchFamily="34" charset="0"/>
                  <a:ea typeface="+mn-ea"/>
                  <a:cs typeface="+mn-cs"/>
                </a:endParaRPr>
              </a:p>
            </p:txBody>
          </p:sp>
          <p:sp>
            <p:nvSpPr>
              <p:cNvPr id="619" name="Oval 618">
                <a:extLst>
                  <a:ext uri="{FF2B5EF4-FFF2-40B4-BE49-F238E27FC236}">
                    <a16:creationId xmlns:a16="http://schemas.microsoft.com/office/drawing/2014/main" id="{8DF9778A-C373-42F3-B545-ADC7A2CD6689}"/>
                  </a:ext>
                </a:extLst>
              </p:cNvPr>
              <p:cNvSpPr/>
              <p:nvPr/>
            </p:nvSpPr>
            <p:spPr>
              <a:xfrm>
                <a:off x="5438729" y="1849790"/>
                <a:ext cx="118872" cy="118872"/>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6775" rtl="0" eaLnBrk="1" fontAlgn="auto" latinLnBrk="0" hangingPunct="1">
                  <a:lnSpc>
                    <a:spcPct val="90000"/>
                  </a:lnSpc>
                  <a:spcBef>
                    <a:spcPts val="800"/>
                  </a:spcBef>
                  <a:spcAft>
                    <a:spcPts val="0"/>
                  </a:spcAft>
                  <a:buClrTx/>
                  <a:buSzTx/>
                  <a:buFontTx/>
                  <a:buNone/>
                  <a:tabLst/>
                  <a:defRPr/>
                </a:pPr>
                <a:endParaRPr kumimoji="0" lang="en-US" sz="2200" b="0" i="0" u="none" strike="noStrike" kern="1200" cap="none" spc="0" normalizeH="0" baseline="0" noProof="0" dirty="0">
                  <a:ln>
                    <a:noFill/>
                  </a:ln>
                  <a:solidFill>
                    <a:srgbClr val="FFFFFF"/>
                  </a:solidFill>
                  <a:effectLst/>
                  <a:uLnTx/>
                  <a:uFillTx/>
                  <a:latin typeface="PTCRaleway" panose="020B0503030101060003" pitchFamily="34" charset="0"/>
                  <a:ea typeface="+mn-ea"/>
                  <a:cs typeface="+mn-cs"/>
                </a:endParaRPr>
              </a:p>
            </p:txBody>
          </p:sp>
          <p:sp>
            <p:nvSpPr>
              <p:cNvPr id="620" name="Oval 619">
                <a:extLst>
                  <a:ext uri="{FF2B5EF4-FFF2-40B4-BE49-F238E27FC236}">
                    <a16:creationId xmlns:a16="http://schemas.microsoft.com/office/drawing/2014/main" id="{AB5A230B-A6C2-49A9-901F-853C7C948E02}"/>
                  </a:ext>
                </a:extLst>
              </p:cNvPr>
              <p:cNvSpPr/>
              <p:nvPr/>
            </p:nvSpPr>
            <p:spPr>
              <a:xfrm>
                <a:off x="5438735" y="2001125"/>
                <a:ext cx="118872" cy="118872"/>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6775" rtl="0" eaLnBrk="1" fontAlgn="auto" latinLnBrk="0" hangingPunct="1">
                  <a:lnSpc>
                    <a:spcPct val="90000"/>
                  </a:lnSpc>
                  <a:spcBef>
                    <a:spcPts val="800"/>
                  </a:spcBef>
                  <a:spcAft>
                    <a:spcPts val="0"/>
                  </a:spcAft>
                  <a:buClrTx/>
                  <a:buSzTx/>
                  <a:buFontTx/>
                  <a:buNone/>
                  <a:tabLst/>
                  <a:defRPr/>
                </a:pPr>
                <a:endParaRPr kumimoji="0" lang="en-US" sz="2200" b="0" i="0" u="none" strike="noStrike" kern="1200" cap="none" spc="0" normalizeH="0" baseline="0" noProof="0" dirty="0">
                  <a:ln>
                    <a:noFill/>
                  </a:ln>
                  <a:solidFill>
                    <a:srgbClr val="FFFFFF"/>
                  </a:solidFill>
                  <a:effectLst/>
                  <a:uLnTx/>
                  <a:uFillTx/>
                  <a:latin typeface="PTCRaleway" panose="020B0503030101060003" pitchFamily="34" charset="0"/>
                  <a:ea typeface="+mn-ea"/>
                  <a:cs typeface="+mn-cs"/>
                </a:endParaRPr>
              </a:p>
            </p:txBody>
          </p:sp>
          <p:sp>
            <p:nvSpPr>
              <p:cNvPr id="621" name="Oval 620">
                <a:extLst>
                  <a:ext uri="{FF2B5EF4-FFF2-40B4-BE49-F238E27FC236}">
                    <a16:creationId xmlns:a16="http://schemas.microsoft.com/office/drawing/2014/main" id="{80D3D6D7-5781-4B5C-B776-274BA044532B}"/>
                  </a:ext>
                </a:extLst>
              </p:cNvPr>
              <p:cNvSpPr/>
              <p:nvPr/>
            </p:nvSpPr>
            <p:spPr>
              <a:xfrm>
                <a:off x="5438735" y="2140731"/>
                <a:ext cx="118872" cy="118872"/>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6775" rtl="0" eaLnBrk="1" fontAlgn="auto" latinLnBrk="0" hangingPunct="1">
                  <a:lnSpc>
                    <a:spcPct val="90000"/>
                  </a:lnSpc>
                  <a:spcBef>
                    <a:spcPts val="800"/>
                  </a:spcBef>
                  <a:spcAft>
                    <a:spcPts val="0"/>
                  </a:spcAft>
                  <a:buClrTx/>
                  <a:buSzTx/>
                  <a:buFontTx/>
                  <a:buNone/>
                  <a:tabLst/>
                  <a:defRPr/>
                </a:pPr>
                <a:endParaRPr kumimoji="0" lang="en-US" sz="2200" b="0" i="0" u="none" strike="noStrike" kern="1200" cap="none" spc="0" normalizeH="0" baseline="0" noProof="0" dirty="0">
                  <a:ln>
                    <a:noFill/>
                  </a:ln>
                  <a:solidFill>
                    <a:srgbClr val="FFFFFF"/>
                  </a:solidFill>
                  <a:effectLst/>
                  <a:uLnTx/>
                  <a:uFillTx/>
                  <a:latin typeface="PTCRaleway" panose="020B0503030101060003" pitchFamily="34" charset="0"/>
                  <a:ea typeface="+mn-ea"/>
                  <a:cs typeface="+mn-cs"/>
                </a:endParaRPr>
              </a:p>
            </p:txBody>
          </p:sp>
          <p:sp>
            <p:nvSpPr>
              <p:cNvPr id="622" name="Oval 621">
                <a:extLst>
                  <a:ext uri="{FF2B5EF4-FFF2-40B4-BE49-F238E27FC236}">
                    <a16:creationId xmlns:a16="http://schemas.microsoft.com/office/drawing/2014/main" id="{A735CE7D-DD21-4BBC-AE5E-B3DB55D37ED9}"/>
                  </a:ext>
                </a:extLst>
              </p:cNvPr>
              <p:cNvSpPr/>
              <p:nvPr/>
            </p:nvSpPr>
            <p:spPr>
              <a:xfrm>
                <a:off x="5438729" y="2293131"/>
                <a:ext cx="118872" cy="118872"/>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6775" rtl="0" eaLnBrk="1" fontAlgn="auto" latinLnBrk="0" hangingPunct="1">
                  <a:lnSpc>
                    <a:spcPct val="90000"/>
                  </a:lnSpc>
                  <a:spcBef>
                    <a:spcPts val="800"/>
                  </a:spcBef>
                  <a:spcAft>
                    <a:spcPts val="0"/>
                  </a:spcAft>
                  <a:buClrTx/>
                  <a:buSzTx/>
                  <a:buFontTx/>
                  <a:buNone/>
                  <a:tabLst/>
                  <a:defRPr/>
                </a:pPr>
                <a:endParaRPr kumimoji="0" lang="en-US" sz="2200" b="0" i="0" u="none" strike="noStrike" kern="1200" cap="none" spc="0" normalizeH="0" baseline="0" noProof="0" dirty="0">
                  <a:ln>
                    <a:noFill/>
                  </a:ln>
                  <a:solidFill>
                    <a:srgbClr val="FFFFFF"/>
                  </a:solidFill>
                  <a:effectLst/>
                  <a:uLnTx/>
                  <a:uFillTx/>
                  <a:latin typeface="PTCRaleway" panose="020B0503030101060003" pitchFamily="34" charset="0"/>
                  <a:ea typeface="+mn-ea"/>
                  <a:cs typeface="+mn-cs"/>
                </a:endParaRPr>
              </a:p>
            </p:txBody>
          </p:sp>
          <p:sp>
            <p:nvSpPr>
              <p:cNvPr id="623" name="Oval 622">
                <a:extLst>
                  <a:ext uri="{FF2B5EF4-FFF2-40B4-BE49-F238E27FC236}">
                    <a16:creationId xmlns:a16="http://schemas.microsoft.com/office/drawing/2014/main" id="{D316727F-5C16-4F7D-88E8-CFB71C30CA37}"/>
                  </a:ext>
                </a:extLst>
              </p:cNvPr>
              <p:cNvSpPr/>
              <p:nvPr/>
            </p:nvSpPr>
            <p:spPr>
              <a:xfrm>
                <a:off x="5437459" y="2453040"/>
                <a:ext cx="118872" cy="118872"/>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6775" rtl="0" eaLnBrk="1" fontAlgn="auto" latinLnBrk="0" hangingPunct="1">
                  <a:lnSpc>
                    <a:spcPct val="90000"/>
                  </a:lnSpc>
                  <a:spcBef>
                    <a:spcPts val="800"/>
                  </a:spcBef>
                  <a:spcAft>
                    <a:spcPts val="0"/>
                  </a:spcAft>
                  <a:buClrTx/>
                  <a:buSzTx/>
                  <a:buFontTx/>
                  <a:buNone/>
                  <a:tabLst/>
                  <a:defRPr/>
                </a:pPr>
                <a:endParaRPr kumimoji="0" lang="en-US" sz="2200" b="0" i="0" u="none" strike="noStrike" kern="1200" cap="none" spc="0" normalizeH="0" baseline="0" noProof="0" dirty="0">
                  <a:ln>
                    <a:noFill/>
                  </a:ln>
                  <a:solidFill>
                    <a:srgbClr val="FFFFFF"/>
                  </a:solidFill>
                  <a:effectLst/>
                  <a:uLnTx/>
                  <a:uFillTx/>
                  <a:latin typeface="PTCRaleway" panose="020B0503030101060003" pitchFamily="34" charset="0"/>
                  <a:ea typeface="+mn-ea"/>
                  <a:cs typeface="+mn-cs"/>
                </a:endParaRPr>
              </a:p>
            </p:txBody>
          </p:sp>
          <p:sp>
            <p:nvSpPr>
              <p:cNvPr id="624" name="Oval 623">
                <a:extLst>
                  <a:ext uri="{FF2B5EF4-FFF2-40B4-BE49-F238E27FC236}">
                    <a16:creationId xmlns:a16="http://schemas.microsoft.com/office/drawing/2014/main" id="{00BCD82D-3CBE-4A3D-B272-4F1B3D33E50B}"/>
                  </a:ext>
                </a:extLst>
              </p:cNvPr>
              <p:cNvSpPr/>
              <p:nvPr/>
            </p:nvSpPr>
            <p:spPr>
              <a:xfrm>
                <a:off x="5438735" y="2604375"/>
                <a:ext cx="118872" cy="118872"/>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6775" rtl="0" eaLnBrk="1" fontAlgn="auto" latinLnBrk="0" hangingPunct="1">
                  <a:lnSpc>
                    <a:spcPct val="90000"/>
                  </a:lnSpc>
                  <a:spcBef>
                    <a:spcPts val="800"/>
                  </a:spcBef>
                  <a:spcAft>
                    <a:spcPts val="0"/>
                  </a:spcAft>
                  <a:buClrTx/>
                  <a:buSzTx/>
                  <a:buFontTx/>
                  <a:buNone/>
                  <a:tabLst/>
                  <a:defRPr/>
                </a:pPr>
                <a:endParaRPr kumimoji="0" lang="en-US" sz="2200" b="0" i="0" u="none" strike="noStrike" kern="1200" cap="none" spc="0" normalizeH="0" baseline="0" noProof="0" dirty="0">
                  <a:ln>
                    <a:noFill/>
                  </a:ln>
                  <a:solidFill>
                    <a:srgbClr val="FFFFFF"/>
                  </a:solidFill>
                  <a:effectLst/>
                  <a:uLnTx/>
                  <a:uFillTx/>
                  <a:latin typeface="PTCRaleway" panose="020B0503030101060003" pitchFamily="34" charset="0"/>
                  <a:ea typeface="+mn-ea"/>
                  <a:cs typeface="+mn-cs"/>
                </a:endParaRPr>
              </a:p>
            </p:txBody>
          </p:sp>
          <p:sp>
            <p:nvSpPr>
              <p:cNvPr id="625" name="Oval 624">
                <a:extLst>
                  <a:ext uri="{FF2B5EF4-FFF2-40B4-BE49-F238E27FC236}">
                    <a16:creationId xmlns:a16="http://schemas.microsoft.com/office/drawing/2014/main" id="{7F48A075-D6D0-4E45-A01D-8E05D89D73DB}"/>
                  </a:ext>
                </a:extLst>
              </p:cNvPr>
              <p:cNvSpPr/>
              <p:nvPr/>
            </p:nvSpPr>
            <p:spPr>
              <a:xfrm>
                <a:off x="5438735" y="2743981"/>
                <a:ext cx="118872" cy="118872"/>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6775" rtl="0" eaLnBrk="1" fontAlgn="auto" latinLnBrk="0" hangingPunct="1">
                  <a:lnSpc>
                    <a:spcPct val="90000"/>
                  </a:lnSpc>
                  <a:spcBef>
                    <a:spcPts val="800"/>
                  </a:spcBef>
                  <a:spcAft>
                    <a:spcPts val="0"/>
                  </a:spcAft>
                  <a:buClrTx/>
                  <a:buSzTx/>
                  <a:buFontTx/>
                  <a:buNone/>
                  <a:tabLst/>
                  <a:defRPr/>
                </a:pPr>
                <a:endParaRPr kumimoji="0" lang="en-US" sz="2200" b="0" i="0" u="none" strike="noStrike" kern="1200" cap="none" spc="0" normalizeH="0" baseline="0" noProof="0" dirty="0">
                  <a:ln>
                    <a:noFill/>
                  </a:ln>
                  <a:solidFill>
                    <a:srgbClr val="FFFFFF"/>
                  </a:solidFill>
                  <a:effectLst/>
                  <a:uLnTx/>
                  <a:uFillTx/>
                  <a:latin typeface="PTCRaleway" panose="020B0503030101060003" pitchFamily="34" charset="0"/>
                  <a:ea typeface="+mn-ea"/>
                  <a:cs typeface="+mn-cs"/>
                </a:endParaRPr>
              </a:p>
            </p:txBody>
          </p:sp>
          <p:sp>
            <p:nvSpPr>
              <p:cNvPr id="626" name="Oval 625">
                <a:extLst>
                  <a:ext uri="{FF2B5EF4-FFF2-40B4-BE49-F238E27FC236}">
                    <a16:creationId xmlns:a16="http://schemas.microsoft.com/office/drawing/2014/main" id="{275B2675-CA3F-41C0-B114-D892C2985C4A}"/>
                  </a:ext>
                </a:extLst>
              </p:cNvPr>
              <p:cNvSpPr/>
              <p:nvPr/>
            </p:nvSpPr>
            <p:spPr>
              <a:xfrm>
                <a:off x="5438729" y="2884790"/>
                <a:ext cx="118872" cy="118872"/>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6775" rtl="0" eaLnBrk="1" fontAlgn="auto" latinLnBrk="0" hangingPunct="1">
                  <a:lnSpc>
                    <a:spcPct val="90000"/>
                  </a:lnSpc>
                  <a:spcBef>
                    <a:spcPts val="800"/>
                  </a:spcBef>
                  <a:spcAft>
                    <a:spcPts val="0"/>
                  </a:spcAft>
                  <a:buClrTx/>
                  <a:buSzTx/>
                  <a:buFontTx/>
                  <a:buNone/>
                  <a:tabLst/>
                  <a:defRPr/>
                </a:pPr>
                <a:endParaRPr kumimoji="0" lang="en-US" sz="2200" b="0" i="0" u="none" strike="noStrike" kern="1200" cap="none" spc="0" normalizeH="0" baseline="0" noProof="0" dirty="0">
                  <a:ln>
                    <a:noFill/>
                  </a:ln>
                  <a:solidFill>
                    <a:srgbClr val="FFFFFF"/>
                  </a:solidFill>
                  <a:effectLst/>
                  <a:uLnTx/>
                  <a:uFillTx/>
                  <a:latin typeface="PTCRaleway" panose="020B0503030101060003" pitchFamily="34" charset="0"/>
                  <a:ea typeface="+mn-ea"/>
                  <a:cs typeface="+mn-cs"/>
                </a:endParaRPr>
              </a:p>
            </p:txBody>
          </p:sp>
          <p:sp>
            <p:nvSpPr>
              <p:cNvPr id="627" name="Oval 626">
                <a:extLst>
                  <a:ext uri="{FF2B5EF4-FFF2-40B4-BE49-F238E27FC236}">
                    <a16:creationId xmlns:a16="http://schemas.microsoft.com/office/drawing/2014/main" id="{24DE0895-CE28-4E72-A756-D003C780AF84}"/>
                  </a:ext>
                </a:extLst>
              </p:cNvPr>
              <p:cNvSpPr/>
              <p:nvPr/>
            </p:nvSpPr>
            <p:spPr>
              <a:xfrm>
                <a:off x="5438729" y="3042320"/>
                <a:ext cx="118872" cy="118872"/>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6775" rtl="0" eaLnBrk="1" fontAlgn="auto" latinLnBrk="0" hangingPunct="1">
                  <a:lnSpc>
                    <a:spcPct val="90000"/>
                  </a:lnSpc>
                  <a:spcBef>
                    <a:spcPts val="800"/>
                  </a:spcBef>
                  <a:spcAft>
                    <a:spcPts val="0"/>
                  </a:spcAft>
                  <a:buClrTx/>
                  <a:buSzTx/>
                  <a:buFontTx/>
                  <a:buNone/>
                  <a:tabLst/>
                  <a:defRPr/>
                </a:pPr>
                <a:endParaRPr kumimoji="0" lang="en-US" sz="2200" b="0" i="0" u="none" strike="noStrike" kern="1200" cap="none" spc="0" normalizeH="0" baseline="0" noProof="0" dirty="0">
                  <a:ln>
                    <a:noFill/>
                  </a:ln>
                  <a:solidFill>
                    <a:srgbClr val="FFFFFF"/>
                  </a:solidFill>
                  <a:effectLst/>
                  <a:uLnTx/>
                  <a:uFillTx/>
                  <a:latin typeface="PTCRaleway" panose="020B0503030101060003" pitchFamily="34" charset="0"/>
                  <a:ea typeface="+mn-ea"/>
                  <a:cs typeface="+mn-cs"/>
                </a:endParaRPr>
              </a:p>
            </p:txBody>
          </p:sp>
          <p:sp>
            <p:nvSpPr>
              <p:cNvPr id="628" name="Oval 627">
                <a:extLst>
                  <a:ext uri="{FF2B5EF4-FFF2-40B4-BE49-F238E27FC236}">
                    <a16:creationId xmlns:a16="http://schemas.microsoft.com/office/drawing/2014/main" id="{176C85C1-AE56-4A7C-9161-67A6AA0BBBBE}"/>
                  </a:ext>
                </a:extLst>
              </p:cNvPr>
              <p:cNvSpPr/>
              <p:nvPr/>
            </p:nvSpPr>
            <p:spPr>
              <a:xfrm>
                <a:off x="5438735" y="3193655"/>
                <a:ext cx="118872" cy="118872"/>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6775" rtl="0" eaLnBrk="1" fontAlgn="auto" latinLnBrk="0" hangingPunct="1">
                  <a:lnSpc>
                    <a:spcPct val="90000"/>
                  </a:lnSpc>
                  <a:spcBef>
                    <a:spcPts val="800"/>
                  </a:spcBef>
                  <a:spcAft>
                    <a:spcPts val="0"/>
                  </a:spcAft>
                  <a:buClrTx/>
                  <a:buSzTx/>
                  <a:buFontTx/>
                  <a:buNone/>
                  <a:tabLst/>
                  <a:defRPr/>
                </a:pPr>
                <a:endParaRPr kumimoji="0" lang="en-US" sz="2200" b="0" i="0" u="none" strike="noStrike" kern="1200" cap="none" spc="0" normalizeH="0" baseline="0" noProof="0" dirty="0">
                  <a:ln>
                    <a:noFill/>
                  </a:ln>
                  <a:solidFill>
                    <a:srgbClr val="FFFFFF"/>
                  </a:solidFill>
                  <a:effectLst/>
                  <a:uLnTx/>
                  <a:uFillTx/>
                  <a:latin typeface="PTCRaleway" panose="020B0503030101060003" pitchFamily="34" charset="0"/>
                  <a:ea typeface="+mn-ea"/>
                  <a:cs typeface="+mn-cs"/>
                </a:endParaRPr>
              </a:p>
            </p:txBody>
          </p:sp>
          <p:sp>
            <p:nvSpPr>
              <p:cNvPr id="629" name="Oval 628">
                <a:extLst>
                  <a:ext uri="{FF2B5EF4-FFF2-40B4-BE49-F238E27FC236}">
                    <a16:creationId xmlns:a16="http://schemas.microsoft.com/office/drawing/2014/main" id="{FFE96981-38A4-4EAE-9B3C-E346E356B6A4}"/>
                  </a:ext>
                </a:extLst>
              </p:cNvPr>
              <p:cNvSpPr/>
              <p:nvPr/>
            </p:nvSpPr>
            <p:spPr>
              <a:xfrm>
                <a:off x="5438735" y="3333261"/>
                <a:ext cx="118872" cy="118872"/>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6775" rtl="0" eaLnBrk="1" fontAlgn="auto" latinLnBrk="0" hangingPunct="1">
                  <a:lnSpc>
                    <a:spcPct val="90000"/>
                  </a:lnSpc>
                  <a:spcBef>
                    <a:spcPts val="800"/>
                  </a:spcBef>
                  <a:spcAft>
                    <a:spcPts val="0"/>
                  </a:spcAft>
                  <a:buClrTx/>
                  <a:buSzTx/>
                  <a:buFontTx/>
                  <a:buNone/>
                  <a:tabLst/>
                  <a:defRPr/>
                </a:pPr>
                <a:endParaRPr kumimoji="0" lang="en-US" sz="2200" b="0" i="0" u="none" strike="noStrike" kern="1200" cap="none" spc="0" normalizeH="0" baseline="0" noProof="0" dirty="0">
                  <a:ln>
                    <a:noFill/>
                  </a:ln>
                  <a:solidFill>
                    <a:srgbClr val="FFFFFF"/>
                  </a:solidFill>
                  <a:effectLst/>
                  <a:uLnTx/>
                  <a:uFillTx/>
                  <a:latin typeface="PTCRaleway" panose="020B0503030101060003" pitchFamily="34" charset="0"/>
                  <a:ea typeface="+mn-ea"/>
                  <a:cs typeface="+mn-cs"/>
                </a:endParaRPr>
              </a:p>
            </p:txBody>
          </p:sp>
          <p:sp>
            <p:nvSpPr>
              <p:cNvPr id="630" name="Oval 629">
                <a:extLst>
                  <a:ext uri="{FF2B5EF4-FFF2-40B4-BE49-F238E27FC236}">
                    <a16:creationId xmlns:a16="http://schemas.microsoft.com/office/drawing/2014/main" id="{F3A8FE9B-4A9E-4E3B-AB16-C6FC4D13E267}"/>
                  </a:ext>
                </a:extLst>
              </p:cNvPr>
              <p:cNvSpPr/>
              <p:nvPr/>
            </p:nvSpPr>
            <p:spPr>
              <a:xfrm>
                <a:off x="5438729" y="3485661"/>
                <a:ext cx="118872" cy="118872"/>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6775" rtl="0" eaLnBrk="1" fontAlgn="auto" latinLnBrk="0" hangingPunct="1">
                  <a:lnSpc>
                    <a:spcPct val="90000"/>
                  </a:lnSpc>
                  <a:spcBef>
                    <a:spcPts val="800"/>
                  </a:spcBef>
                  <a:spcAft>
                    <a:spcPts val="0"/>
                  </a:spcAft>
                  <a:buClrTx/>
                  <a:buSzTx/>
                  <a:buFontTx/>
                  <a:buNone/>
                  <a:tabLst/>
                  <a:defRPr/>
                </a:pPr>
                <a:endParaRPr kumimoji="0" lang="en-US" sz="2200" b="0" i="0" u="none" strike="noStrike" kern="1200" cap="none" spc="0" normalizeH="0" baseline="0" noProof="0" dirty="0">
                  <a:ln>
                    <a:noFill/>
                  </a:ln>
                  <a:solidFill>
                    <a:srgbClr val="FFFFFF"/>
                  </a:solidFill>
                  <a:effectLst/>
                  <a:uLnTx/>
                  <a:uFillTx/>
                  <a:latin typeface="PTCRaleway" panose="020B0503030101060003" pitchFamily="34" charset="0"/>
                  <a:ea typeface="+mn-ea"/>
                  <a:cs typeface="+mn-cs"/>
                </a:endParaRPr>
              </a:p>
            </p:txBody>
          </p:sp>
          <p:sp>
            <p:nvSpPr>
              <p:cNvPr id="631" name="Oval 630">
                <a:extLst>
                  <a:ext uri="{FF2B5EF4-FFF2-40B4-BE49-F238E27FC236}">
                    <a16:creationId xmlns:a16="http://schemas.microsoft.com/office/drawing/2014/main" id="{B4E5C2A7-A616-41D0-A81D-C736B71F1C8E}"/>
                  </a:ext>
                </a:extLst>
              </p:cNvPr>
              <p:cNvSpPr/>
              <p:nvPr/>
            </p:nvSpPr>
            <p:spPr>
              <a:xfrm>
                <a:off x="5437459" y="3645570"/>
                <a:ext cx="118872" cy="118872"/>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6775" rtl="0" eaLnBrk="1" fontAlgn="auto" latinLnBrk="0" hangingPunct="1">
                  <a:lnSpc>
                    <a:spcPct val="90000"/>
                  </a:lnSpc>
                  <a:spcBef>
                    <a:spcPts val="800"/>
                  </a:spcBef>
                  <a:spcAft>
                    <a:spcPts val="0"/>
                  </a:spcAft>
                  <a:buClrTx/>
                  <a:buSzTx/>
                  <a:buFontTx/>
                  <a:buNone/>
                  <a:tabLst/>
                  <a:defRPr/>
                </a:pPr>
                <a:endParaRPr kumimoji="0" lang="en-US" sz="2200" b="0" i="0" u="none" strike="noStrike" kern="1200" cap="none" spc="0" normalizeH="0" baseline="0" noProof="0" dirty="0">
                  <a:ln>
                    <a:noFill/>
                  </a:ln>
                  <a:solidFill>
                    <a:srgbClr val="FFFFFF"/>
                  </a:solidFill>
                  <a:effectLst/>
                  <a:uLnTx/>
                  <a:uFillTx/>
                  <a:latin typeface="PTCRaleway" panose="020B0503030101060003" pitchFamily="34" charset="0"/>
                  <a:ea typeface="+mn-ea"/>
                  <a:cs typeface="+mn-cs"/>
                </a:endParaRPr>
              </a:p>
            </p:txBody>
          </p:sp>
          <p:sp>
            <p:nvSpPr>
              <p:cNvPr id="632" name="Oval 631">
                <a:extLst>
                  <a:ext uri="{FF2B5EF4-FFF2-40B4-BE49-F238E27FC236}">
                    <a16:creationId xmlns:a16="http://schemas.microsoft.com/office/drawing/2014/main" id="{9C1B42E5-5589-4991-816C-845DFBC7E75D}"/>
                  </a:ext>
                </a:extLst>
              </p:cNvPr>
              <p:cNvSpPr/>
              <p:nvPr/>
            </p:nvSpPr>
            <p:spPr>
              <a:xfrm>
                <a:off x="5438735" y="3796905"/>
                <a:ext cx="118872" cy="118872"/>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6775" rtl="0" eaLnBrk="1" fontAlgn="auto" latinLnBrk="0" hangingPunct="1">
                  <a:lnSpc>
                    <a:spcPct val="90000"/>
                  </a:lnSpc>
                  <a:spcBef>
                    <a:spcPts val="800"/>
                  </a:spcBef>
                  <a:spcAft>
                    <a:spcPts val="0"/>
                  </a:spcAft>
                  <a:buClrTx/>
                  <a:buSzTx/>
                  <a:buFontTx/>
                  <a:buNone/>
                  <a:tabLst/>
                  <a:defRPr/>
                </a:pPr>
                <a:endParaRPr kumimoji="0" lang="en-US" sz="2200" b="0" i="0" u="none" strike="noStrike" kern="1200" cap="none" spc="0" normalizeH="0" baseline="0" noProof="0" dirty="0">
                  <a:ln>
                    <a:noFill/>
                  </a:ln>
                  <a:solidFill>
                    <a:srgbClr val="FFFFFF"/>
                  </a:solidFill>
                  <a:effectLst/>
                  <a:uLnTx/>
                  <a:uFillTx/>
                  <a:latin typeface="PTCRaleway" panose="020B0503030101060003" pitchFamily="34" charset="0"/>
                  <a:ea typeface="+mn-ea"/>
                  <a:cs typeface="+mn-cs"/>
                </a:endParaRPr>
              </a:p>
            </p:txBody>
          </p:sp>
          <p:sp>
            <p:nvSpPr>
              <p:cNvPr id="633" name="Oval 632">
                <a:extLst>
                  <a:ext uri="{FF2B5EF4-FFF2-40B4-BE49-F238E27FC236}">
                    <a16:creationId xmlns:a16="http://schemas.microsoft.com/office/drawing/2014/main" id="{663D93DB-CA1A-496E-AF3E-517EAAE8545A}"/>
                  </a:ext>
                </a:extLst>
              </p:cNvPr>
              <p:cNvSpPr/>
              <p:nvPr/>
            </p:nvSpPr>
            <p:spPr>
              <a:xfrm>
                <a:off x="5438735" y="3936511"/>
                <a:ext cx="118872" cy="118872"/>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6775" rtl="0" eaLnBrk="1" fontAlgn="auto" latinLnBrk="0" hangingPunct="1">
                  <a:lnSpc>
                    <a:spcPct val="90000"/>
                  </a:lnSpc>
                  <a:spcBef>
                    <a:spcPts val="800"/>
                  </a:spcBef>
                  <a:spcAft>
                    <a:spcPts val="0"/>
                  </a:spcAft>
                  <a:buClrTx/>
                  <a:buSzTx/>
                  <a:buFontTx/>
                  <a:buNone/>
                  <a:tabLst/>
                  <a:defRPr/>
                </a:pPr>
                <a:endParaRPr kumimoji="0" lang="en-US" sz="2200" b="0" i="0" u="none" strike="noStrike" kern="1200" cap="none" spc="0" normalizeH="0" baseline="0" noProof="0" dirty="0">
                  <a:ln>
                    <a:noFill/>
                  </a:ln>
                  <a:solidFill>
                    <a:srgbClr val="FFFFFF"/>
                  </a:solidFill>
                  <a:effectLst/>
                  <a:uLnTx/>
                  <a:uFillTx/>
                  <a:latin typeface="PTCRaleway" panose="020B0503030101060003" pitchFamily="34" charset="0"/>
                  <a:ea typeface="+mn-ea"/>
                  <a:cs typeface="+mn-cs"/>
                </a:endParaRPr>
              </a:p>
            </p:txBody>
          </p:sp>
          <p:sp>
            <p:nvSpPr>
              <p:cNvPr id="634" name="Oval 633">
                <a:extLst>
                  <a:ext uri="{FF2B5EF4-FFF2-40B4-BE49-F238E27FC236}">
                    <a16:creationId xmlns:a16="http://schemas.microsoft.com/office/drawing/2014/main" id="{6DB0686B-E5D3-437A-A005-2DF907B227FC}"/>
                  </a:ext>
                </a:extLst>
              </p:cNvPr>
              <p:cNvSpPr/>
              <p:nvPr/>
            </p:nvSpPr>
            <p:spPr>
              <a:xfrm>
                <a:off x="5438729" y="4077320"/>
                <a:ext cx="118872" cy="118872"/>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6775" rtl="0" eaLnBrk="1" fontAlgn="auto" latinLnBrk="0" hangingPunct="1">
                  <a:lnSpc>
                    <a:spcPct val="90000"/>
                  </a:lnSpc>
                  <a:spcBef>
                    <a:spcPts val="800"/>
                  </a:spcBef>
                  <a:spcAft>
                    <a:spcPts val="0"/>
                  </a:spcAft>
                  <a:buClrTx/>
                  <a:buSzTx/>
                  <a:buFontTx/>
                  <a:buNone/>
                  <a:tabLst/>
                  <a:defRPr/>
                </a:pPr>
                <a:endParaRPr kumimoji="0" lang="en-US" sz="2200" b="0" i="0" u="none" strike="noStrike" kern="1200" cap="none" spc="0" normalizeH="0" baseline="0" noProof="0" dirty="0">
                  <a:ln>
                    <a:noFill/>
                  </a:ln>
                  <a:solidFill>
                    <a:srgbClr val="FFFFFF"/>
                  </a:solidFill>
                  <a:effectLst/>
                  <a:uLnTx/>
                  <a:uFillTx/>
                  <a:latin typeface="PTCRaleway" panose="020B0503030101060003" pitchFamily="34" charset="0"/>
                  <a:ea typeface="+mn-ea"/>
                  <a:cs typeface="+mn-cs"/>
                </a:endParaRPr>
              </a:p>
            </p:txBody>
          </p:sp>
          <p:sp>
            <p:nvSpPr>
              <p:cNvPr id="635" name="Oval 634">
                <a:extLst>
                  <a:ext uri="{FF2B5EF4-FFF2-40B4-BE49-F238E27FC236}">
                    <a16:creationId xmlns:a16="http://schemas.microsoft.com/office/drawing/2014/main" id="{3EA17AF5-A1A9-4C75-9614-55BC7A5F35C5}"/>
                  </a:ext>
                </a:extLst>
              </p:cNvPr>
              <p:cNvSpPr/>
              <p:nvPr/>
            </p:nvSpPr>
            <p:spPr>
              <a:xfrm>
                <a:off x="5438729" y="4227230"/>
                <a:ext cx="118872" cy="118872"/>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6775" rtl="0" eaLnBrk="1" fontAlgn="auto" latinLnBrk="0" hangingPunct="1">
                  <a:lnSpc>
                    <a:spcPct val="90000"/>
                  </a:lnSpc>
                  <a:spcBef>
                    <a:spcPts val="800"/>
                  </a:spcBef>
                  <a:spcAft>
                    <a:spcPts val="0"/>
                  </a:spcAft>
                  <a:buClrTx/>
                  <a:buSzTx/>
                  <a:buFontTx/>
                  <a:buNone/>
                  <a:tabLst/>
                  <a:defRPr/>
                </a:pPr>
                <a:endParaRPr kumimoji="0" lang="en-US" sz="2200" b="0" i="0" u="none" strike="noStrike" kern="1200" cap="none" spc="0" normalizeH="0" baseline="0" noProof="0" dirty="0">
                  <a:ln>
                    <a:noFill/>
                  </a:ln>
                  <a:solidFill>
                    <a:srgbClr val="FFFFFF"/>
                  </a:solidFill>
                  <a:effectLst/>
                  <a:uLnTx/>
                  <a:uFillTx/>
                  <a:latin typeface="PTCRaleway" panose="020B0503030101060003" pitchFamily="34" charset="0"/>
                  <a:ea typeface="+mn-ea"/>
                  <a:cs typeface="+mn-cs"/>
                </a:endParaRPr>
              </a:p>
            </p:txBody>
          </p:sp>
          <p:sp>
            <p:nvSpPr>
              <p:cNvPr id="636" name="Oval 635">
                <a:extLst>
                  <a:ext uri="{FF2B5EF4-FFF2-40B4-BE49-F238E27FC236}">
                    <a16:creationId xmlns:a16="http://schemas.microsoft.com/office/drawing/2014/main" id="{53192550-5828-4E62-B379-2ACC7EE5FCAB}"/>
                  </a:ext>
                </a:extLst>
              </p:cNvPr>
              <p:cNvSpPr/>
              <p:nvPr/>
            </p:nvSpPr>
            <p:spPr>
              <a:xfrm>
                <a:off x="5438735" y="4378565"/>
                <a:ext cx="118872" cy="118872"/>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6775" rtl="0" eaLnBrk="1" fontAlgn="auto" latinLnBrk="0" hangingPunct="1">
                  <a:lnSpc>
                    <a:spcPct val="90000"/>
                  </a:lnSpc>
                  <a:spcBef>
                    <a:spcPts val="800"/>
                  </a:spcBef>
                  <a:spcAft>
                    <a:spcPts val="0"/>
                  </a:spcAft>
                  <a:buClrTx/>
                  <a:buSzTx/>
                  <a:buFontTx/>
                  <a:buNone/>
                  <a:tabLst/>
                  <a:defRPr/>
                </a:pPr>
                <a:endParaRPr kumimoji="0" lang="en-US" sz="2200" b="0" i="0" u="none" strike="noStrike" kern="1200" cap="none" spc="0" normalizeH="0" baseline="0" noProof="0" dirty="0">
                  <a:ln>
                    <a:noFill/>
                  </a:ln>
                  <a:solidFill>
                    <a:srgbClr val="FFFFFF"/>
                  </a:solidFill>
                  <a:effectLst/>
                  <a:uLnTx/>
                  <a:uFillTx/>
                  <a:latin typeface="PTCRaleway" panose="020B0503030101060003" pitchFamily="34" charset="0"/>
                  <a:ea typeface="+mn-ea"/>
                  <a:cs typeface="+mn-cs"/>
                </a:endParaRPr>
              </a:p>
            </p:txBody>
          </p:sp>
          <p:sp>
            <p:nvSpPr>
              <p:cNvPr id="637" name="Oval 636">
                <a:extLst>
                  <a:ext uri="{FF2B5EF4-FFF2-40B4-BE49-F238E27FC236}">
                    <a16:creationId xmlns:a16="http://schemas.microsoft.com/office/drawing/2014/main" id="{636DE013-D7D5-48FA-B962-2EEFCF6273B6}"/>
                  </a:ext>
                </a:extLst>
              </p:cNvPr>
              <p:cNvSpPr/>
              <p:nvPr/>
            </p:nvSpPr>
            <p:spPr>
              <a:xfrm>
                <a:off x="5438735" y="4518171"/>
                <a:ext cx="118872" cy="118872"/>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6775" rtl="0" eaLnBrk="1" fontAlgn="auto" latinLnBrk="0" hangingPunct="1">
                  <a:lnSpc>
                    <a:spcPct val="90000"/>
                  </a:lnSpc>
                  <a:spcBef>
                    <a:spcPts val="800"/>
                  </a:spcBef>
                  <a:spcAft>
                    <a:spcPts val="0"/>
                  </a:spcAft>
                  <a:buClrTx/>
                  <a:buSzTx/>
                  <a:buFontTx/>
                  <a:buNone/>
                  <a:tabLst/>
                  <a:defRPr/>
                </a:pPr>
                <a:endParaRPr kumimoji="0" lang="en-US" sz="2200" b="0" i="0" u="none" strike="noStrike" kern="1200" cap="none" spc="0" normalizeH="0" baseline="0" noProof="0" dirty="0">
                  <a:ln>
                    <a:noFill/>
                  </a:ln>
                  <a:solidFill>
                    <a:srgbClr val="FFFFFF"/>
                  </a:solidFill>
                  <a:effectLst/>
                  <a:uLnTx/>
                  <a:uFillTx/>
                  <a:latin typeface="PTCRaleway" panose="020B0503030101060003" pitchFamily="34" charset="0"/>
                  <a:ea typeface="+mn-ea"/>
                  <a:cs typeface="+mn-cs"/>
                </a:endParaRPr>
              </a:p>
            </p:txBody>
          </p:sp>
          <p:sp>
            <p:nvSpPr>
              <p:cNvPr id="638" name="Oval 637">
                <a:extLst>
                  <a:ext uri="{FF2B5EF4-FFF2-40B4-BE49-F238E27FC236}">
                    <a16:creationId xmlns:a16="http://schemas.microsoft.com/office/drawing/2014/main" id="{CB712802-D6FC-485F-B8E8-19DEE1928054}"/>
                  </a:ext>
                </a:extLst>
              </p:cNvPr>
              <p:cNvSpPr/>
              <p:nvPr/>
            </p:nvSpPr>
            <p:spPr>
              <a:xfrm>
                <a:off x="5438729" y="4670571"/>
                <a:ext cx="118872" cy="118872"/>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6775" rtl="0" eaLnBrk="1" fontAlgn="auto" latinLnBrk="0" hangingPunct="1">
                  <a:lnSpc>
                    <a:spcPct val="90000"/>
                  </a:lnSpc>
                  <a:spcBef>
                    <a:spcPts val="800"/>
                  </a:spcBef>
                  <a:spcAft>
                    <a:spcPts val="0"/>
                  </a:spcAft>
                  <a:buClrTx/>
                  <a:buSzTx/>
                  <a:buFontTx/>
                  <a:buNone/>
                  <a:tabLst/>
                  <a:defRPr/>
                </a:pPr>
                <a:endParaRPr kumimoji="0" lang="en-US" sz="2200" b="0" i="0" u="none" strike="noStrike" kern="1200" cap="none" spc="0" normalizeH="0" baseline="0" noProof="0" dirty="0">
                  <a:ln>
                    <a:noFill/>
                  </a:ln>
                  <a:solidFill>
                    <a:srgbClr val="FFFFFF"/>
                  </a:solidFill>
                  <a:effectLst/>
                  <a:uLnTx/>
                  <a:uFillTx/>
                  <a:latin typeface="PTCRaleway" panose="020B0503030101060003" pitchFamily="34" charset="0"/>
                  <a:ea typeface="+mn-ea"/>
                  <a:cs typeface="+mn-cs"/>
                </a:endParaRPr>
              </a:p>
            </p:txBody>
          </p:sp>
          <p:sp>
            <p:nvSpPr>
              <p:cNvPr id="639" name="Oval 638">
                <a:extLst>
                  <a:ext uri="{FF2B5EF4-FFF2-40B4-BE49-F238E27FC236}">
                    <a16:creationId xmlns:a16="http://schemas.microsoft.com/office/drawing/2014/main" id="{C8161690-F5B6-4584-AC96-AAE43BC13F57}"/>
                  </a:ext>
                </a:extLst>
              </p:cNvPr>
              <p:cNvSpPr/>
              <p:nvPr/>
            </p:nvSpPr>
            <p:spPr>
              <a:xfrm>
                <a:off x="5437459" y="4830480"/>
                <a:ext cx="118872" cy="118872"/>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6775" rtl="0" eaLnBrk="1" fontAlgn="auto" latinLnBrk="0" hangingPunct="1">
                  <a:lnSpc>
                    <a:spcPct val="90000"/>
                  </a:lnSpc>
                  <a:spcBef>
                    <a:spcPts val="800"/>
                  </a:spcBef>
                  <a:spcAft>
                    <a:spcPts val="0"/>
                  </a:spcAft>
                  <a:buClrTx/>
                  <a:buSzTx/>
                  <a:buFontTx/>
                  <a:buNone/>
                  <a:tabLst/>
                  <a:defRPr/>
                </a:pPr>
                <a:endParaRPr kumimoji="0" lang="en-US" sz="2200" b="0" i="0" u="none" strike="noStrike" kern="1200" cap="none" spc="0" normalizeH="0" baseline="0" noProof="0" dirty="0">
                  <a:ln>
                    <a:noFill/>
                  </a:ln>
                  <a:solidFill>
                    <a:srgbClr val="FFFFFF"/>
                  </a:solidFill>
                  <a:effectLst/>
                  <a:uLnTx/>
                  <a:uFillTx/>
                  <a:latin typeface="PTCRaleway" panose="020B0503030101060003" pitchFamily="34" charset="0"/>
                  <a:ea typeface="+mn-ea"/>
                  <a:cs typeface="+mn-cs"/>
                </a:endParaRPr>
              </a:p>
            </p:txBody>
          </p:sp>
          <p:sp>
            <p:nvSpPr>
              <p:cNvPr id="640" name="Oval 639">
                <a:extLst>
                  <a:ext uri="{FF2B5EF4-FFF2-40B4-BE49-F238E27FC236}">
                    <a16:creationId xmlns:a16="http://schemas.microsoft.com/office/drawing/2014/main" id="{08315A58-A121-42CD-A043-D98DE8BDC0B0}"/>
                  </a:ext>
                </a:extLst>
              </p:cNvPr>
              <p:cNvSpPr/>
              <p:nvPr/>
            </p:nvSpPr>
            <p:spPr>
              <a:xfrm>
                <a:off x="5438735" y="4981815"/>
                <a:ext cx="118872" cy="118872"/>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6775" rtl="0" eaLnBrk="1" fontAlgn="auto" latinLnBrk="0" hangingPunct="1">
                  <a:lnSpc>
                    <a:spcPct val="90000"/>
                  </a:lnSpc>
                  <a:spcBef>
                    <a:spcPts val="800"/>
                  </a:spcBef>
                  <a:spcAft>
                    <a:spcPts val="0"/>
                  </a:spcAft>
                  <a:buClrTx/>
                  <a:buSzTx/>
                  <a:buFontTx/>
                  <a:buNone/>
                  <a:tabLst/>
                  <a:defRPr/>
                </a:pPr>
                <a:endParaRPr kumimoji="0" lang="en-US" sz="2200" b="0" i="0" u="none" strike="noStrike" kern="1200" cap="none" spc="0" normalizeH="0" baseline="0" noProof="0" dirty="0">
                  <a:ln>
                    <a:noFill/>
                  </a:ln>
                  <a:solidFill>
                    <a:srgbClr val="FFFFFF"/>
                  </a:solidFill>
                  <a:effectLst/>
                  <a:uLnTx/>
                  <a:uFillTx/>
                  <a:latin typeface="PTCRaleway" panose="020B0503030101060003" pitchFamily="34" charset="0"/>
                  <a:ea typeface="+mn-ea"/>
                  <a:cs typeface="+mn-cs"/>
                </a:endParaRPr>
              </a:p>
            </p:txBody>
          </p:sp>
          <p:sp>
            <p:nvSpPr>
              <p:cNvPr id="641" name="Oval 640">
                <a:extLst>
                  <a:ext uri="{FF2B5EF4-FFF2-40B4-BE49-F238E27FC236}">
                    <a16:creationId xmlns:a16="http://schemas.microsoft.com/office/drawing/2014/main" id="{5A9E3922-FA73-4642-8D7E-34D4F4E35FB5}"/>
                  </a:ext>
                </a:extLst>
              </p:cNvPr>
              <p:cNvSpPr/>
              <p:nvPr/>
            </p:nvSpPr>
            <p:spPr>
              <a:xfrm>
                <a:off x="5438735" y="5121421"/>
                <a:ext cx="118872" cy="118872"/>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6775" rtl="0" eaLnBrk="1" fontAlgn="auto" latinLnBrk="0" hangingPunct="1">
                  <a:lnSpc>
                    <a:spcPct val="90000"/>
                  </a:lnSpc>
                  <a:spcBef>
                    <a:spcPts val="800"/>
                  </a:spcBef>
                  <a:spcAft>
                    <a:spcPts val="0"/>
                  </a:spcAft>
                  <a:buClrTx/>
                  <a:buSzTx/>
                  <a:buFontTx/>
                  <a:buNone/>
                  <a:tabLst/>
                  <a:defRPr/>
                </a:pPr>
                <a:endParaRPr kumimoji="0" lang="en-US" sz="2200" b="0" i="0" u="none" strike="noStrike" kern="1200" cap="none" spc="0" normalizeH="0" baseline="0" noProof="0" dirty="0">
                  <a:ln>
                    <a:noFill/>
                  </a:ln>
                  <a:solidFill>
                    <a:srgbClr val="FFFFFF"/>
                  </a:solidFill>
                  <a:effectLst/>
                  <a:uLnTx/>
                  <a:uFillTx/>
                  <a:latin typeface="PTCRaleway" panose="020B0503030101060003" pitchFamily="34" charset="0"/>
                  <a:ea typeface="+mn-ea"/>
                  <a:cs typeface="+mn-cs"/>
                </a:endParaRPr>
              </a:p>
            </p:txBody>
          </p:sp>
          <p:sp>
            <p:nvSpPr>
              <p:cNvPr id="642" name="Oval 641">
                <a:extLst>
                  <a:ext uri="{FF2B5EF4-FFF2-40B4-BE49-F238E27FC236}">
                    <a16:creationId xmlns:a16="http://schemas.microsoft.com/office/drawing/2014/main" id="{97836A1A-518E-4907-8912-7E29518863C1}"/>
                  </a:ext>
                </a:extLst>
              </p:cNvPr>
              <p:cNvSpPr/>
              <p:nvPr/>
            </p:nvSpPr>
            <p:spPr>
              <a:xfrm>
                <a:off x="5438729" y="5262230"/>
                <a:ext cx="118872" cy="118872"/>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6775" rtl="0" eaLnBrk="1" fontAlgn="auto" latinLnBrk="0" hangingPunct="1">
                  <a:lnSpc>
                    <a:spcPct val="90000"/>
                  </a:lnSpc>
                  <a:spcBef>
                    <a:spcPts val="800"/>
                  </a:spcBef>
                  <a:spcAft>
                    <a:spcPts val="0"/>
                  </a:spcAft>
                  <a:buClrTx/>
                  <a:buSzTx/>
                  <a:buFontTx/>
                  <a:buNone/>
                  <a:tabLst/>
                  <a:defRPr/>
                </a:pPr>
                <a:endParaRPr kumimoji="0" lang="en-US" sz="2200" b="0" i="0" u="none" strike="noStrike" kern="1200" cap="none" spc="0" normalizeH="0" baseline="0" noProof="0" dirty="0">
                  <a:ln>
                    <a:noFill/>
                  </a:ln>
                  <a:solidFill>
                    <a:srgbClr val="FFFFFF"/>
                  </a:solidFill>
                  <a:effectLst/>
                  <a:uLnTx/>
                  <a:uFillTx/>
                  <a:latin typeface="PTCRaleway" panose="020B0503030101060003" pitchFamily="34" charset="0"/>
                  <a:ea typeface="+mn-ea"/>
                  <a:cs typeface="+mn-cs"/>
                </a:endParaRPr>
              </a:p>
            </p:txBody>
          </p:sp>
          <p:sp>
            <p:nvSpPr>
              <p:cNvPr id="643" name="Oval 642">
                <a:extLst>
                  <a:ext uri="{FF2B5EF4-FFF2-40B4-BE49-F238E27FC236}">
                    <a16:creationId xmlns:a16="http://schemas.microsoft.com/office/drawing/2014/main" id="{498121B5-82D4-4AB6-B41B-450236D945EB}"/>
                  </a:ext>
                </a:extLst>
              </p:cNvPr>
              <p:cNvSpPr/>
              <p:nvPr/>
            </p:nvSpPr>
            <p:spPr>
              <a:xfrm>
                <a:off x="5438729" y="5415950"/>
                <a:ext cx="118872" cy="118872"/>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6775" rtl="0" eaLnBrk="1" fontAlgn="auto" latinLnBrk="0" hangingPunct="1">
                  <a:lnSpc>
                    <a:spcPct val="90000"/>
                  </a:lnSpc>
                  <a:spcBef>
                    <a:spcPts val="800"/>
                  </a:spcBef>
                  <a:spcAft>
                    <a:spcPts val="0"/>
                  </a:spcAft>
                  <a:buClrTx/>
                  <a:buSzTx/>
                  <a:buFontTx/>
                  <a:buNone/>
                  <a:tabLst/>
                  <a:defRPr/>
                </a:pPr>
                <a:endParaRPr kumimoji="0" lang="en-US" sz="2200" b="0" i="0" u="none" strike="noStrike" kern="1200" cap="none" spc="0" normalizeH="0" baseline="0" noProof="0" dirty="0">
                  <a:ln>
                    <a:noFill/>
                  </a:ln>
                  <a:solidFill>
                    <a:srgbClr val="FFFFFF"/>
                  </a:solidFill>
                  <a:effectLst/>
                  <a:uLnTx/>
                  <a:uFillTx/>
                  <a:latin typeface="PTCRaleway" panose="020B0503030101060003" pitchFamily="34" charset="0"/>
                  <a:ea typeface="+mn-ea"/>
                  <a:cs typeface="+mn-cs"/>
                </a:endParaRPr>
              </a:p>
            </p:txBody>
          </p:sp>
          <p:sp>
            <p:nvSpPr>
              <p:cNvPr id="644" name="Oval 643">
                <a:extLst>
                  <a:ext uri="{FF2B5EF4-FFF2-40B4-BE49-F238E27FC236}">
                    <a16:creationId xmlns:a16="http://schemas.microsoft.com/office/drawing/2014/main" id="{54E1F13E-206B-4045-ADB6-E81913C88177}"/>
                  </a:ext>
                </a:extLst>
              </p:cNvPr>
              <p:cNvSpPr/>
              <p:nvPr/>
            </p:nvSpPr>
            <p:spPr>
              <a:xfrm>
                <a:off x="5438735" y="5567285"/>
                <a:ext cx="118872" cy="118872"/>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6775" rtl="0" eaLnBrk="1" fontAlgn="auto" latinLnBrk="0" hangingPunct="1">
                  <a:lnSpc>
                    <a:spcPct val="90000"/>
                  </a:lnSpc>
                  <a:spcBef>
                    <a:spcPts val="800"/>
                  </a:spcBef>
                  <a:spcAft>
                    <a:spcPts val="0"/>
                  </a:spcAft>
                  <a:buClrTx/>
                  <a:buSzTx/>
                  <a:buFontTx/>
                  <a:buNone/>
                  <a:tabLst/>
                  <a:defRPr/>
                </a:pPr>
                <a:endParaRPr kumimoji="0" lang="en-US" sz="2200" b="0" i="0" u="none" strike="noStrike" kern="1200" cap="none" spc="0" normalizeH="0" baseline="0" noProof="0" dirty="0">
                  <a:ln>
                    <a:noFill/>
                  </a:ln>
                  <a:solidFill>
                    <a:srgbClr val="FFFFFF"/>
                  </a:solidFill>
                  <a:effectLst/>
                  <a:uLnTx/>
                  <a:uFillTx/>
                  <a:latin typeface="PTCRaleway" panose="020B0503030101060003" pitchFamily="34" charset="0"/>
                  <a:ea typeface="+mn-ea"/>
                  <a:cs typeface="+mn-cs"/>
                </a:endParaRPr>
              </a:p>
            </p:txBody>
          </p:sp>
          <p:cxnSp>
            <p:nvCxnSpPr>
              <p:cNvPr id="645" name="Straight Connector 644">
                <a:extLst>
                  <a:ext uri="{FF2B5EF4-FFF2-40B4-BE49-F238E27FC236}">
                    <a16:creationId xmlns:a16="http://schemas.microsoft.com/office/drawing/2014/main" id="{7E751D34-8F36-400A-9CB8-4E444B819998}"/>
                  </a:ext>
                </a:extLst>
              </p:cNvPr>
              <p:cNvCxnSpPr>
                <a:cxnSpLocks/>
                <a:endCxn id="644" idx="0"/>
              </p:cNvCxnSpPr>
              <p:nvPr/>
            </p:nvCxnSpPr>
            <p:spPr>
              <a:xfrm>
                <a:off x="5495338" y="724618"/>
                <a:ext cx="2833" cy="4842667"/>
              </a:xfrm>
              <a:prstGeom prst="line">
                <a:avLst/>
              </a:prstGeom>
              <a:ln w="25400">
                <a:solidFill>
                  <a:schemeClr val="bg2"/>
                </a:solidFill>
              </a:ln>
            </p:spPr>
            <p:style>
              <a:lnRef idx="1">
                <a:schemeClr val="accent1"/>
              </a:lnRef>
              <a:fillRef idx="0">
                <a:schemeClr val="accent1"/>
              </a:fillRef>
              <a:effectRef idx="0">
                <a:schemeClr val="accent1"/>
              </a:effectRef>
              <a:fontRef idx="minor">
                <a:schemeClr val="tx1"/>
              </a:fontRef>
            </p:style>
          </p:cxnSp>
          <p:sp>
            <p:nvSpPr>
              <p:cNvPr id="646" name="TextBox 645">
                <a:extLst>
                  <a:ext uri="{FF2B5EF4-FFF2-40B4-BE49-F238E27FC236}">
                    <a16:creationId xmlns:a16="http://schemas.microsoft.com/office/drawing/2014/main" id="{32BA4F78-4B6C-48AF-B0D1-9ECE1C9765BE}"/>
                  </a:ext>
                </a:extLst>
              </p:cNvPr>
              <p:cNvSpPr txBox="1"/>
              <p:nvPr/>
            </p:nvSpPr>
            <p:spPr>
              <a:xfrm>
                <a:off x="5229225" y="328764"/>
                <a:ext cx="504825" cy="190500"/>
              </a:xfrm>
              <a:prstGeom prst="rect">
                <a:avLst/>
              </a:prstGeom>
            </p:spPr>
            <p:txBody>
              <a:bodyPr vert="horz" wrap="square" lIns="91440" tIns="45720" rIns="91440" bIns="45720" rtlCol="0">
                <a:noAutofit/>
              </a:bodyPr>
              <a:lstStyle/>
              <a:p>
                <a:pPr marL="0" marR="0" lvl="0" indent="0" algn="ctr" defTabSz="1086775" rtl="0" eaLnBrk="1" fontAlgn="auto" latinLnBrk="0" hangingPunct="1">
                  <a:lnSpc>
                    <a:spcPct val="90000"/>
                  </a:lnSpc>
                  <a:spcBef>
                    <a:spcPts val="800"/>
                  </a:spcBef>
                  <a:spcAft>
                    <a:spcPts val="0"/>
                  </a:spcAft>
                  <a:buClrTx/>
                  <a:buSzTx/>
                  <a:buFontTx/>
                  <a:buNone/>
                  <a:tabLst/>
                  <a:defRPr/>
                </a:pPr>
                <a:r>
                  <a:rPr kumimoji="0" lang="en-US" sz="2000" b="1"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rPr>
                  <a:t>T4</a:t>
                </a:r>
              </a:p>
            </p:txBody>
          </p:sp>
        </p:grpSp>
        <p:grpSp>
          <p:nvGrpSpPr>
            <p:cNvPr id="647" name="Group 646">
              <a:extLst>
                <a:ext uri="{FF2B5EF4-FFF2-40B4-BE49-F238E27FC236}">
                  <a16:creationId xmlns:a16="http://schemas.microsoft.com/office/drawing/2014/main" id="{E4A8D5B7-AFE6-4EEF-A144-12576B3BF5DE}"/>
                </a:ext>
              </a:extLst>
            </p:cNvPr>
            <p:cNvGrpSpPr/>
            <p:nvPr/>
          </p:nvGrpSpPr>
          <p:grpSpPr>
            <a:xfrm>
              <a:off x="5727700" y="328764"/>
              <a:ext cx="504825" cy="6236577"/>
              <a:chOff x="5676900" y="328764"/>
              <a:chExt cx="504825" cy="6236577"/>
            </a:xfrm>
          </p:grpSpPr>
          <p:sp>
            <p:nvSpPr>
              <p:cNvPr id="648" name="Oval 647">
                <a:extLst>
                  <a:ext uri="{FF2B5EF4-FFF2-40B4-BE49-F238E27FC236}">
                    <a16:creationId xmlns:a16="http://schemas.microsoft.com/office/drawing/2014/main" id="{633ED3E6-BCC0-46D7-B2AD-BFE2FA8D6DF6}"/>
                  </a:ext>
                </a:extLst>
              </p:cNvPr>
              <p:cNvSpPr/>
              <p:nvPr/>
            </p:nvSpPr>
            <p:spPr>
              <a:xfrm>
                <a:off x="5894431" y="660399"/>
                <a:ext cx="118872" cy="118872"/>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6775" rtl="0" eaLnBrk="1" fontAlgn="auto" latinLnBrk="0" hangingPunct="1">
                  <a:lnSpc>
                    <a:spcPct val="90000"/>
                  </a:lnSpc>
                  <a:spcBef>
                    <a:spcPts val="800"/>
                  </a:spcBef>
                  <a:spcAft>
                    <a:spcPts val="0"/>
                  </a:spcAft>
                  <a:buClrTx/>
                  <a:buSzTx/>
                  <a:buFontTx/>
                  <a:buNone/>
                  <a:tabLst/>
                  <a:defRPr/>
                </a:pPr>
                <a:endParaRPr kumimoji="0" lang="en-US" sz="2200" b="0" i="0" u="none" strike="noStrike" kern="1200" cap="none" spc="0" normalizeH="0" baseline="0" noProof="0" dirty="0">
                  <a:ln>
                    <a:noFill/>
                  </a:ln>
                  <a:solidFill>
                    <a:srgbClr val="FFFFFF"/>
                  </a:solidFill>
                  <a:effectLst/>
                  <a:uLnTx/>
                  <a:uFillTx/>
                  <a:latin typeface="PTCRaleway" panose="020B0503030101060003" pitchFamily="34" charset="0"/>
                  <a:ea typeface="+mn-ea"/>
                  <a:cs typeface="+mn-cs"/>
                </a:endParaRPr>
              </a:p>
            </p:txBody>
          </p:sp>
          <p:sp>
            <p:nvSpPr>
              <p:cNvPr id="649" name="Oval 648">
                <a:extLst>
                  <a:ext uri="{FF2B5EF4-FFF2-40B4-BE49-F238E27FC236}">
                    <a16:creationId xmlns:a16="http://schemas.microsoft.com/office/drawing/2014/main" id="{9928A8AC-CE89-4B33-A6EA-ACBD69D2F5B9}"/>
                  </a:ext>
                </a:extLst>
              </p:cNvPr>
              <p:cNvSpPr/>
              <p:nvPr/>
            </p:nvSpPr>
            <p:spPr>
              <a:xfrm>
                <a:off x="5894437" y="811734"/>
                <a:ext cx="118872" cy="118872"/>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6775" rtl="0" eaLnBrk="1" fontAlgn="auto" latinLnBrk="0" hangingPunct="1">
                  <a:lnSpc>
                    <a:spcPct val="90000"/>
                  </a:lnSpc>
                  <a:spcBef>
                    <a:spcPts val="800"/>
                  </a:spcBef>
                  <a:spcAft>
                    <a:spcPts val="0"/>
                  </a:spcAft>
                  <a:buClrTx/>
                  <a:buSzTx/>
                  <a:buFontTx/>
                  <a:buNone/>
                  <a:tabLst/>
                  <a:defRPr/>
                </a:pPr>
                <a:endParaRPr kumimoji="0" lang="en-US" sz="2200" b="0" i="0" u="none" strike="noStrike" kern="1200" cap="none" spc="0" normalizeH="0" baseline="0" noProof="0" dirty="0">
                  <a:ln>
                    <a:noFill/>
                  </a:ln>
                  <a:solidFill>
                    <a:srgbClr val="FFFFFF"/>
                  </a:solidFill>
                  <a:effectLst/>
                  <a:uLnTx/>
                  <a:uFillTx/>
                  <a:latin typeface="PTCRaleway" panose="020B0503030101060003" pitchFamily="34" charset="0"/>
                  <a:ea typeface="+mn-ea"/>
                  <a:cs typeface="+mn-cs"/>
                </a:endParaRPr>
              </a:p>
            </p:txBody>
          </p:sp>
          <p:sp>
            <p:nvSpPr>
              <p:cNvPr id="650" name="Oval 649">
                <a:extLst>
                  <a:ext uri="{FF2B5EF4-FFF2-40B4-BE49-F238E27FC236}">
                    <a16:creationId xmlns:a16="http://schemas.microsoft.com/office/drawing/2014/main" id="{78D147E3-B274-4D81-95AF-8DAB2AA9C2C7}"/>
                  </a:ext>
                </a:extLst>
              </p:cNvPr>
              <p:cNvSpPr/>
              <p:nvPr/>
            </p:nvSpPr>
            <p:spPr>
              <a:xfrm>
                <a:off x="5894437" y="951340"/>
                <a:ext cx="118872" cy="118872"/>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6775" rtl="0" eaLnBrk="1" fontAlgn="auto" latinLnBrk="0" hangingPunct="1">
                  <a:lnSpc>
                    <a:spcPct val="90000"/>
                  </a:lnSpc>
                  <a:spcBef>
                    <a:spcPts val="800"/>
                  </a:spcBef>
                  <a:spcAft>
                    <a:spcPts val="0"/>
                  </a:spcAft>
                  <a:buClrTx/>
                  <a:buSzTx/>
                  <a:buFontTx/>
                  <a:buNone/>
                  <a:tabLst/>
                  <a:defRPr/>
                </a:pPr>
                <a:endParaRPr kumimoji="0" lang="en-US" sz="2200" b="0" i="0" u="none" strike="noStrike" kern="1200" cap="none" spc="0" normalizeH="0" baseline="0" noProof="0" dirty="0">
                  <a:ln>
                    <a:noFill/>
                  </a:ln>
                  <a:solidFill>
                    <a:srgbClr val="FFFFFF"/>
                  </a:solidFill>
                  <a:effectLst/>
                  <a:uLnTx/>
                  <a:uFillTx/>
                  <a:latin typeface="PTCRaleway" panose="020B0503030101060003" pitchFamily="34" charset="0"/>
                  <a:ea typeface="+mn-ea"/>
                  <a:cs typeface="+mn-cs"/>
                </a:endParaRPr>
              </a:p>
            </p:txBody>
          </p:sp>
          <p:sp>
            <p:nvSpPr>
              <p:cNvPr id="651" name="Oval 650">
                <a:extLst>
                  <a:ext uri="{FF2B5EF4-FFF2-40B4-BE49-F238E27FC236}">
                    <a16:creationId xmlns:a16="http://schemas.microsoft.com/office/drawing/2014/main" id="{2766E62B-344D-42E6-A1D4-CDCBA90DD490}"/>
                  </a:ext>
                </a:extLst>
              </p:cNvPr>
              <p:cNvSpPr/>
              <p:nvPr/>
            </p:nvSpPr>
            <p:spPr>
              <a:xfrm>
                <a:off x="5894431" y="1103740"/>
                <a:ext cx="118872" cy="118872"/>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6775" rtl="0" eaLnBrk="1" fontAlgn="auto" latinLnBrk="0" hangingPunct="1">
                  <a:lnSpc>
                    <a:spcPct val="90000"/>
                  </a:lnSpc>
                  <a:spcBef>
                    <a:spcPts val="800"/>
                  </a:spcBef>
                  <a:spcAft>
                    <a:spcPts val="0"/>
                  </a:spcAft>
                  <a:buClrTx/>
                  <a:buSzTx/>
                  <a:buFontTx/>
                  <a:buNone/>
                  <a:tabLst/>
                  <a:defRPr/>
                </a:pPr>
                <a:endParaRPr kumimoji="0" lang="en-US" sz="2200" b="0" i="0" u="none" strike="noStrike" kern="1200" cap="none" spc="0" normalizeH="0" baseline="0" noProof="0" dirty="0">
                  <a:ln>
                    <a:noFill/>
                  </a:ln>
                  <a:solidFill>
                    <a:srgbClr val="FFFFFF"/>
                  </a:solidFill>
                  <a:effectLst/>
                  <a:uLnTx/>
                  <a:uFillTx/>
                  <a:latin typeface="PTCRaleway" panose="020B0503030101060003" pitchFamily="34" charset="0"/>
                  <a:ea typeface="+mn-ea"/>
                  <a:cs typeface="+mn-cs"/>
                </a:endParaRPr>
              </a:p>
            </p:txBody>
          </p:sp>
          <p:sp>
            <p:nvSpPr>
              <p:cNvPr id="652" name="Oval 651">
                <a:extLst>
                  <a:ext uri="{FF2B5EF4-FFF2-40B4-BE49-F238E27FC236}">
                    <a16:creationId xmlns:a16="http://schemas.microsoft.com/office/drawing/2014/main" id="{2D6D7B78-3BFD-40D0-A781-A0F8BD172A6A}"/>
                  </a:ext>
                </a:extLst>
              </p:cNvPr>
              <p:cNvSpPr/>
              <p:nvPr/>
            </p:nvSpPr>
            <p:spPr>
              <a:xfrm>
                <a:off x="5893161" y="1263649"/>
                <a:ext cx="118872" cy="118872"/>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6775" rtl="0" eaLnBrk="1" fontAlgn="auto" latinLnBrk="0" hangingPunct="1">
                  <a:lnSpc>
                    <a:spcPct val="90000"/>
                  </a:lnSpc>
                  <a:spcBef>
                    <a:spcPts val="800"/>
                  </a:spcBef>
                  <a:spcAft>
                    <a:spcPts val="0"/>
                  </a:spcAft>
                  <a:buClrTx/>
                  <a:buSzTx/>
                  <a:buFontTx/>
                  <a:buNone/>
                  <a:tabLst/>
                  <a:defRPr/>
                </a:pPr>
                <a:endParaRPr kumimoji="0" lang="en-US" sz="2200" b="0" i="0" u="none" strike="noStrike" kern="1200" cap="none" spc="0" normalizeH="0" baseline="0" noProof="0" dirty="0">
                  <a:ln>
                    <a:noFill/>
                  </a:ln>
                  <a:solidFill>
                    <a:srgbClr val="FFFFFF"/>
                  </a:solidFill>
                  <a:effectLst/>
                  <a:uLnTx/>
                  <a:uFillTx/>
                  <a:latin typeface="PTCRaleway" panose="020B0503030101060003" pitchFamily="34" charset="0"/>
                  <a:ea typeface="+mn-ea"/>
                  <a:cs typeface="+mn-cs"/>
                </a:endParaRPr>
              </a:p>
            </p:txBody>
          </p:sp>
          <p:sp>
            <p:nvSpPr>
              <p:cNvPr id="653" name="Oval 652">
                <a:extLst>
                  <a:ext uri="{FF2B5EF4-FFF2-40B4-BE49-F238E27FC236}">
                    <a16:creationId xmlns:a16="http://schemas.microsoft.com/office/drawing/2014/main" id="{41DD5FC6-C900-40B7-90A4-7781E8530E58}"/>
                  </a:ext>
                </a:extLst>
              </p:cNvPr>
              <p:cNvSpPr/>
              <p:nvPr/>
            </p:nvSpPr>
            <p:spPr>
              <a:xfrm>
                <a:off x="5894437" y="1414984"/>
                <a:ext cx="118872" cy="118872"/>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6775" rtl="0" eaLnBrk="1" fontAlgn="auto" latinLnBrk="0" hangingPunct="1">
                  <a:lnSpc>
                    <a:spcPct val="90000"/>
                  </a:lnSpc>
                  <a:spcBef>
                    <a:spcPts val="800"/>
                  </a:spcBef>
                  <a:spcAft>
                    <a:spcPts val="0"/>
                  </a:spcAft>
                  <a:buClrTx/>
                  <a:buSzTx/>
                  <a:buFontTx/>
                  <a:buNone/>
                  <a:tabLst/>
                  <a:defRPr/>
                </a:pPr>
                <a:endParaRPr kumimoji="0" lang="en-US" sz="2200" b="0" i="0" u="none" strike="noStrike" kern="1200" cap="none" spc="0" normalizeH="0" baseline="0" noProof="0" dirty="0">
                  <a:ln>
                    <a:noFill/>
                  </a:ln>
                  <a:solidFill>
                    <a:srgbClr val="FFFFFF"/>
                  </a:solidFill>
                  <a:effectLst/>
                  <a:uLnTx/>
                  <a:uFillTx/>
                  <a:latin typeface="PTCRaleway" panose="020B0503030101060003" pitchFamily="34" charset="0"/>
                  <a:ea typeface="+mn-ea"/>
                  <a:cs typeface="+mn-cs"/>
                </a:endParaRPr>
              </a:p>
            </p:txBody>
          </p:sp>
          <p:sp>
            <p:nvSpPr>
              <p:cNvPr id="654" name="Oval 653">
                <a:extLst>
                  <a:ext uri="{FF2B5EF4-FFF2-40B4-BE49-F238E27FC236}">
                    <a16:creationId xmlns:a16="http://schemas.microsoft.com/office/drawing/2014/main" id="{8C0BC059-B413-47A0-B712-B22EAAC03C8A}"/>
                  </a:ext>
                </a:extLst>
              </p:cNvPr>
              <p:cNvSpPr/>
              <p:nvPr/>
            </p:nvSpPr>
            <p:spPr>
              <a:xfrm>
                <a:off x="5894437" y="1554590"/>
                <a:ext cx="118872" cy="118872"/>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6775" rtl="0" eaLnBrk="1" fontAlgn="auto" latinLnBrk="0" hangingPunct="1">
                  <a:lnSpc>
                    <a:spcPct val="90000"/>
                  </a:lnSpc>
                  <a:spcBef>
                    <a:spcPts val="800"/>
                  </a:spcBef>
                  <a:spcAft>
                    <a:spcPts val="0"/>
                  </a:spcAft>
                  <a:buClrTx/>
                  <a:buSzTx/>
                  <a:buFontTx/>
                  <a:buNone/>
                  <a:tabLst/>
                  <a:defRPr/>
                </a:pPr>
                <a:endParaRPr kumimoji="0" lang="en-US" sz="2200" b="0" i="0" u="none" strike="noStrike" kern="1200" cap="none" spc="0" normalizeH="0" baseline="0" noProof="0" dirty="0">
                  <a:ln>
                    <a:noFill/>
                  </a:ln>
                  <a:solidFill>
                    <a:srgbClr val="FFFFFF"/>
                  </a:solidFill>
                  <a:effectLst/>
                  <a:uLnTx/>
                  <a:uFillTx/>
                  <a:latin typeface="PTCRaleway" panose="020B0503030101060003" pitchFamily="34" charset="0"/>
                  <a:ea typeface="+mn-ea"/>
                  <a:cs typeface="+mn-cs"/>
                </a:endParaRPr>
              </a:p>
            </p:txBody>
          </p:sp>
          <p:sp>
            <p:nvSpPr>
              <p:cNvPr id="655" name="Oval 654">
                <a:extLst>
                  <a:ext uri="{FF2B5EF4-FFF2-40B4-BE49-F238E27FC236}">
                    <a16:creationId xmlns:a16="http://schemas.microsoft.com/office/drawing/2014/main" id="{8F4FD96A-0D2D-41B1-AD3D-9601AAA9B30D}"/>
                  </a:ext>
                </a:extLst>
              </p:cNvPr>
              <p:cNvSpPr/>
              <p:nvPr/>
            </p:nvSpPr>
            <p:spPr>
              <a:xfrm>
                <a:off x="5894431" y="1695399"/>
                <a:ext cx="118872" cy="118872"/>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6775" rtl="0" eaLnBrk="1" fontAlgn="auto" latinLnBrk="0" hangingPunct="1">
                  <a:lnSpc>
                    <a:spcPct val="90000"/>
                  </a:lnSpc>
                  <a:spcBef>
                    <a:spcPts val="800"/>
                  </a:spcBef>
                  <a:spcAft>
                    <a:spcPts val="0"/>
                  </a:spcAft>
                  <a:buClrTx/>
                  <a:buSzTx/>
                  <a:buFontTx/>
                  <a:buNone/>
                  <a:tabLst/>
                  <a:defRPr/>
                </a:pPr>
                <a:endParaRPr kumimoji="0" lang="en-US" sz="2200" b="0" i="0" u="none" strike="noStrike" kern="1200" cap="none" spc="0" normalizeH="0" baseline="0" noProof="0" dirty="0">
                  <a:ln>
                    <a:noFill/>
                  </a:ln>
                  <a:solidFill>
                    <a:srgbClr val="FFFFFF"/>
                  </a:solidFill>
                  <a:effectLst/>
                  <a:uLnTx/>
                  <a:uFillTx/>
                  <a:latin typeface="PTCRaleway" panose="020B0503030101060003" pitchFamily="34" charset="0"/>
                  <a:ea typeface="+mn-ea"/>
                  <a:cs typeface="+mn-cs"/>
                </a:endParaRPr>
              </a:p>
            </p:txBody>
          </p:sp>
          <p:sp>
            <p:nvSpPr>
              <p:cNvPr id="656" name="Oval 655">
                <a:extLst>
                  <a:ext uri="{FF2B5EF4-FFF2-40B4-BE49-F238E27FC236}">
                    <a16:creationId xmlns:a16="http://schemas.microsoft.com/office/drawing/2014/main" id="{5C8028FB-8FFF-4276-A52C-BBBFCD0A7556}"/>
                  </a:ext>
                </a:extLst>
              </p:cNvPr>
              <p:cNvSpPr/>
              <p:nvPr/>
            </p:nvSpPr>
            <p:spPr>
              <a:xfrm>
                <a:off x="5894431" y="1845309"/>
                <a:ext cx="118872" cy="118872"/>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6775" rtl="0" eaLnBrk="1" fontAlgn="auto" latinLnBrk="0" hangingPunct="1">
                  <a:lnSpc>
                    <a:spcPct val="90000"/>
                  </a:lnSpc>
                  <a:spcBef>
                    <a:spcPts val="800"/>
                  </a:spcBef>
                  <a:spcAft>
                    <a:spcPts val="0"/>
                  </a:spcAft>
                  <a:buClrTx/>
                  <a:buSzTx/>
                  <a:buFontTx/>
                  <a:buNone/>
                  <a:tabLst/>
                  <a:defRPr/>
                </a:pPr>
                <a:endParaRPr kumimoji="0" lang="en-US" sz="2200" b="0" i="0" u="none" strike="noStrike" kern="1200" cap="none" spc="0" normalizeH="0" baseline="0" noProof="0" dirty="0">
                  <a:ln>
                    <a:noFill/>
                  </a:ln>
                  <a:solidFill>
                    <a:srgbClr val="FFFFFF"/>
                  </a:solidFill>
                  <a:effectLst/>
                  <a:uLnTx/>
                  <a:uFillTx/>
                  <a:latin typeface="PTCRaleway" panose="020B0503030101060003" pitchFamily="34" charset="0"/>
                  <a:ea typeface="+mn-ea"/>
                  <a:cs typeface="+mn-cs"/>
                </a:endParaRPr>
              </a:p>
            </p:txBody>
          </p:sp>
          <p:sp>
            <p:nvSpPr>
              <p:cNvPr id="657" name="Oval 656">
                <a:extLst>
                  <a:ext uri="{FF2B5EF4-FFF2-40B4-BE49-F238E27FC236}">
                    <a16:creationId xmlns:a16="http://schemas.microsoft.com/office/drawing/2014/main" id="{83ADD1F0-010F-45BF-A62E-FC759C9BEDB2}"/>
                  </a:ext>
                </a:extLst>
              </p:cNvPr>
              <p:cNvSpPr/>
              <p:nvPr/>
            </p:nvSpPr>
            <p:spPr>
              <a:xfrm>
                <a:off x="5894437" y="1996644"/>
                <a:ext cx="118872" cy="118872"/>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6775" rtl="0" eaLnBrk="1" fontAlgn="auto" latinLnBrk="0" hangingPunct="1">
                  <a:lnSpc>
                    <a:spcPct val="90000"/>
                  </a:lnSpc>
                  <a:spcBef>
                    <a:spcPts val="800"/>
                  </a:spcBef>
                  <a:spcAft>
                    <a:spcPts val="0"/>
                  </a:spcAft>
                  <a:buClrTx/>
                  <a:buSzTx/>
                  <a:buFontTx/>
                  <a:buNone/>
                  <a:tabLst/>
                  <a:defRPr/>
                </a:pPr>
                <a:endParaRPr kumimoji="0" lang="en-US" sz="2200" b="0" i="0" u="none" strike="noStrike" kern="1200" cap="none" spc="0" normalizeH="0" baseline="0" noProof="0" dirty="0">
                  <a:ln>
                    <a:noFill/>
                  </a:ln>
                  <a:solidFill>
                    <a:srgbClr val="FFFFFF"/>
                  </a:solidFill>
                  <a:effectLst/>
                  <a:uLnTx/>
                  <a:uFillTx/>
                  <a:latin typeface="PTCRaleway" panose="020B0503030101060003" pitchFamily="34" charset="0"/>
                  <a:ea typeface="+mn-ea"/>
                  <a:cs typeface="+mn-cs"/>
                </a:endParaRPr>
              </a:p>
            </p:txBody>
          </p:sp>
          <p:sp>
            <p:nvSpPr>
              <p:cNvPr id="658" name="Oval 657">
                <a:extLst>
                  <a:ext uri="{FF2B5EF4-FFF2-40B4-BE49-F238E27FC236}">
                    <a16:creationId xmlns:a16="http://schemas.microsoft.com/office/drawing/2014/main" id="{EC838E61-E0ED-477B-AC5B-6D3A92D56244}"/>
                  </a:ext>
                </a:extLst>
              </p:cNvPr>
              <p:cNvSpPr/>
              <p:nvPr/>
            </p:nvSpPr>
            <p:spPr>
              <a:xfrm>
                <a:off x="5894437" y="2136250"/>
                <a:ext cx="118872" cy="118872"/>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6775" rtl="0" eaLnBrk="1" fontAlgn="auto" latinLnBrk="0" hangingPunct="1">
                  <a:lnSpc>
                    <a:spcPct val="90000"/>
                  </a:lnSpc>
                  <a:spcBef>
                    <a:spcPts val="800"/>
                  </a:spcBef>
                  <a:spcAft>
                    <a:spcPts val="0"/>
                  </a:spcAft>
                  <a:buClrTx/>
                  <a:buSzTx/>
                  <a:buFontTx/>
                  <a:buNone/>
                  <a:tabLst/>
                  <a:defRPr/>
                </a:pPr>
                <a:endParaRPr kumimoji="0" lang="en-US" sz="2200" b="0" i="0" u="none" strike="noStrike" kern="1200" cap="none" spc="0" normalizeH="0" baseline="0" noProof="0" dirty="0">
                  <a:ln>
                    <a:noFill/>
                  </a:ln>
                  <a:solidFill>
                    <a:srgbClr val="FFFFFF"/>
                  </a:solidFill>
                  <a:effectLst/>
                  <a:uLnTx/>
                  <a:uFillTx/>
                  <a:latin typeface="PTCRaleway" panose="020B0503030101060003" pitchFamily="34" charset="0"/>
                  <a:ea typeface="+mn-ea"/>
                  <a:cs typeface="+mn-cs"/>
                </a:endParaRPr>
              </a:p>
            </p:txBody>
          </p:sp>
          <p:sp>
            <p:nvSpPr>
              <p:cNvPr id="659" name="Oval 658">
                <a:extLst>
                  <a:ext uri="{FF2B5EF4-FFF2-40B4-BE49-F238E27FC236}">
                    <a16:creationId xmlns:a16="http://schemas.microsoft.com/office/drawing/2014/main" id="{F6B948A9-BA9D-4831-B6A3-BE4EB1E79684}"/>
                  </a:ext>
                </a:extLst>
              </p:cNvPr>
              <p:cNvSpPr/>
              <p:nvPr/>
            </p:nvSpPr>
            <p:spPr>
              <a:xfrm>
                <a:off x="5894431" y="2288650"/>
                <a:ext cx="118872" cy="118872"/>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6775" rtl="0" eaLnBrk="1" fontAlgn="auto" latinLnBrk="0" hangingPunct="1">
                  <a:lnSpc>
                    <a:spcPct val="90000"/>
                  </a:lnSpc>
                  <a:spcBef>
                    <a:spcPts val="800"/>
                  </a:spcBef>
                  <a:spcAft>
                    <a:spcPts val="0"/>
                  </a:spcAft>
                  <a:buClrTx/>
                  <a:buSzTx/>
                  <a:buFontTx/>
                  <a:buNone/>
                  <a:tabLst/>
                  <a:defRPr/>
                </a:pPr>
                <a:endParaRPr kumimoji="0" lang="en-US" sz="2200" b="0" i="0" u="none" strike="noStrike" kern="1200" cap="none" spc="0" normalizeH="0" baseline="0" noProof="0" dirty="0">
                  <a:ln>
                    <a:noFill/>
                  </a:ln>
                  <a:solidFill>
                    <a:srgbClr val="FFFFFF"/>
                  </a:solidFill>
                  <a:effectLst/>
                  <a:uLnTx/>
                  <a:uFillTx/>
                  <a:latin typeface="PTCRaleway" panose="020B0503030101060003" pitchFamily="34" charset="0"/>
                  <a:ea typeface="+mn-ea"/>
                  <a:cs typeface="+mn-cs"/>
                </a:endParaRPr>
              </a:p>
            </p:txBody>
          </p:sp>
          <p:sp>
            <p:nvSpPr>
              <p:cNvPr id="660" name="Oval 659">
                <a:extLst>
                  <a:ext uri="{FF2B5EF4-FFF2-40B4-BE49-F238E27FC236}">
                    <a16:creationId xmlns:a16="http://schemas.microsoft.com/office/drawing/2014/main" id="{C5D2CC78-617D-400D-A1F8-A873FDC21646}"/>
                  </a:ext>
                </a:extLst>
              </p:cNvPr>
              <p:cNvSpPr/>
              <p:nvPr/>
            </p:nvSpPr>
            <p:spPr>
              <a:xfrm>
                <a:off x="5893161" y="2448559"/>
                <a:ext cx="118872" cy="118872"/>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6775" rtl="0" eaLnBrk="1" fontAlgn="auto" latinLnBrk="0" hangingPunct="1">
                  <a:lnSpc>
                    <a:spcPct val="90000"/>
                  </a:lnSpc>
                  <a:spcBef>
                    <a:spcPts val="800"/>
                  </a:spcBef>
                  <a:spcAft>
                    <a:spcPts val="0"/>
                  </a:spcAft>
                  <a:buClrTx/>
                  <a:buSzTx/>
                  <a:buFontTx/>
                  <a:buNone/>
                  <a:tabLst/>
                  <a:defRPr/>
                </a:pPr>
                <a:endParaRPr kumimoji="0" lang="en-US" sz="2200" b="0" i="0" u="none" strike="noStrike" kern="1200" cap="none" spc="0" normalizeH="0" baseline="0" noProof="0" dirty="0">
                  <a:ln>
                    <a:noFill/>
                  </a:ln>
                  <a:solidFill>
                    <a:srgbClr val="FFFFFF"/>
                  </a:solidFill>
                  <a:effectLst/>
                  <a:uLnTx/>
                  <a:uFillTx/>
                  <a:latin typeface="PTCRaleway" panose="020B0503030101060003" pitchFamily="34" charset="0"/>
                  <a:ea typeface="+mn-ea"/>
                  <a:cs typeface="+mn-cs"/>
                </a:endParaRPr>
              </a:p>
            </p:txBody>
          </p:sp>
          <p:sp>
            <p:nvSpPr>
              <p:cNvPr id="661" name="Oval 660">
                <a:extLst>
                  <a:ext uri="{FF2B5EF4-FFF2-40B4-BE49-F238E27FC236}">
                    <a16:creationId xmlns:a16="http://schemas.microsoft.com/office/drawing/2014/main" id="{F507E646-9641-4D30-A3DB-C963F0520657}"/>
                  </a:ext>
                </a:extLst>
              </p:cNvPr>
              <p:cNvSpPr/>
              <p:nvPr/>
            </p:nvSpPr>
            <p:spPr>
              <a:xfrm>
                <a:off x="5894437" y="2599894"/>
                <a:ext cx="118872" cy="118872"/>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6775" rtl="0" eaLnBrk="1" fontAlgn="auto" latinLnBrk="0" hangingPunct="1">
                  <a:lnSpc>
                    <a:spcPct val="90000"/>
                  </a:lnSpc>
                  <a:spcBef>
                    <a:spcPts val="800"/>
                  </a:spcBef>
                  <a:spcAft>
                    <a:spcPts val="0"/>
                  </a:spcAft>
                  <a:buClrTx/>
                  <a:buSzTx/>
                  <a:buFontTx/>
                  <a:buNone/>
                  <a:tabLst/>
                  <a:defRPr/>
                </a:pPr>
                <a:endParaRPr kumimoji="0" lang="en-US" sz="2200" b="0" i="0" u="none" strike="noStrike" kern="1200" cap="none" spc="0" normalizeH="0" baseline="0" noProof="0" dirty="0">
                  <a:ln>
                    <a:noFill/>
                  </a:ln>
                  <a:solidFill>
                    <a:srgbClr val="FFFFFF"/>
                  </a:solidFill>
                  <a:effectLst/>
                  <a:uLnTx/>
                  <a:uFillTx/>
                  <a:latin typeface="PTCRaleway" panose="020B0503030101060003" pitchFamily="34" charset="0"/>
                  <a:ea typeface="+mn-ea"/>
                  <a:cs typeface="+mn-cs"/>
                </a:endParaRPr>
              </a:p>
            </p:txBody>
          </p:sp>
          <p:sp>
            <p:nvSpPr>
              <p:cNvPr id="662" name="Oval 661">
                <a:extLst>
                  <a:ext uri="{FF2B5EF4-FFF2-40B4-BE49-F238E27FC236}">
                    <a16:creationId xmlns:a16="http://schemas.microsoft.com/office/drawing/2014/main" id="{4599A4CF-6CDD-47F6-B1A5-7BADEECAD480}"/>
                  </a:ext>
                </a:extLst>
              </p:cNvPr>
              <p:cNvSpPr/>
              <p:nvPr/>
            </p:nvSpPr>
            <p:spPr>
              <a:xfrm>
                <a:off x="5894437" y="2739500"/>
                <a:ext cx="118872" cy="118872"/>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6775" rtl="0" eaLnBrk="1" fontAlgn="auto" latinLnBrk="0" hangingPunct="1">
                  <a:lnSpc>
                    <a:spcPct val="90000"/>
                  </a:lnSpc>
                  <a:spcBef>
                    <a:spcPts val="800"/>
                  </a:spcBef>
                  <a:spcAft>
                    <a:spcPts val="0"/>
                  </a:spcAft>
                  <a:buClrTx/>
                  <a:buSzTx/>
                  <a:buFontTx/>
                  <a:buNone/>
                  <a:tabLst/>
                  <a:defRPr/>
                </a:pPr>
                <a:endParaRPr kumimoji="0" lang="en-US" sz="2200" b="0" i="0" u="none" strike="noStrike" kern="1200" cap="none" spc="0" normalizeH="0" baseline="0" noProof="0" dirty="0">
                  <a:ln>
                    <a:noFill/>
                  </a:ln>
                  <a:solidFill>
                    <a:srgbClr val="FFFFFF"/>
                  </a:solidFill>
                  <a:effectLst/>
                  <a:uLnTx/>
                  <a:uFillTx/>
                  <a:latin typeface="PTCRaleway" panose="020B0503030101060003" pitchFamily="34" charset="0"/>
                  <a:ea typeface="+mn-ea"/>
                  <a:cs typeface="+mn-cs"/>
                </a:endParaRPr>
              </a:p>
            </p:txBody>
          </p:sp>
          <p:sp>
            <p:nvSpPr>
              <p:cNvPr id="663" name="Oval 662">
                <a:extLst>
                  <a:ext uri="{FF2B5EF4-FFF2-40B4-BE49-F238E27FC236}">
                    <a16:creationId xmlns:a16="http://schemas.microsoft.com/office/drawing/2014/main" id="{DCA91986-4FC8-4BFA-A61A-875F96FDF6EC}"/>
                  </a:ext>
                </a:extLst>
              </p:cNvPr>
              <p:cNvSpPr/>
              <p:nvPr/>
            </p:nvSpPr>
            <p:spPr>
              <a:xfrm>
                <a:off x="5894431" y="2880309"/>
                <a:ext cx="118872" cy="118872"/>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6775" rtl="0" eaLnBrk="1" fontAlgn="auto" latinLnBrk="0" hangingPunct="1">
                  <a:lnSpc>
                    <a:spcPct val="90000"/>
                  </a:lnSpc>
                  <a:spcBef>
                    <a:spcPts val="800"/>
                  </a:spcBef>
                  <a:spcAft>
                    <a:spcPts val="0"/>
                  </a:spcAft>
                  <a:buClrTx/>
                  <a:buSzTx/>
                  <a:buFontTx/>
                  <a:buNone/>
                  <a:tabLst/>
                  <a:defRPr/>
                </a:pPr>
                <a:endParaRPr kumimoji="0" lang="en-US" sz="2200" b="0" i="0" u="none" strike="noStrike" kern="1200" cap="none" spc="0" normalizeH="0" baseline="0" noProof="0" dirty="0">
                  <a:ln>
                    <a:noFill/>
                  </a:ln>
                  <a:solidFill>
                    <a:srgbClr val="FFFFFF"/>
                  </a:solidFill>
                  <a:effectLst/>
                  <a:uLnTx/>
                  <a:uFillTx/>
                  <a:latin typeface="PTCRaleway" panose="020B0503030101060003" pitchFamily="34" charset="0"/>
                  <a:ea typeface="+mn-ea"/>
                  <a:cs typeface="+mn-cs"/>
                </a:endParaRPr>
              </a:p>
            </p:txBody>
          </p:sp>
          <p:sp>
            <p:nvSpPr>
              <p:cNvPr id="664" name="Oval 663">
                <a:extLst>
                  <a:ext uri="{FF2B5EF4-FFF2-40B4-BE49-F238E27FC236}">
                    <a16:creationId xmlns:a16="http://schemas.microsoft.com/office/drawing/2014/main" id="{F1107E3C-30D5-4FE1-B215-40FEB5D8D99F}"/>
                  </a:ext>
                </a:extLst>
              </p:cNvPr>
              <p:cNvSpPr/>
              <p:nvPr/>
            </p:nvSpPr>
            <p:spPr>
              <a:xfrm>
                <a:off x="5894431" y="3037839"/>
                <a:ext cx="118872" cy="118872"/>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6775" rtl="0" eaLnBrk="1" fontAlgn="auto" latinLnBrk="0" hangingPunct="1">
                  <a:lnSpc>
                    <a:spcPct val="90000"/>
                  </a:lnSpc>
                  <a:spcBef>
                    <a:spcPts val="800"/>
                  </a:spcBef>
                  <a:spcAft>
                    <a:spcPts val="0"/>
                  </a:spcAft>
                  <a:buClrTx/>
                  <a:buSzTx/>
                  <a:buFontTx/>
                  <a:buNone/>
                  <a:tabLst/>
                  <a:defRPr/>
                </a:pPr>
                <a:endParaRPr kumimoji="0" lang="en-US" sz="2200" b="0" i="0" u="none" strike="noStrike" kern="1200" cap="none" spc="0" normalizeH="0" baseline="0" noProof="0" dirty="0">
                  <a:ln>
                    <a:noFill/>
                  </a:ln>
                  <a:solidFill>
                    <a:srgbClr val="FFFFFF"/>
                  </a:solidFill>
                  <a:effectLst/>
                  <a:uLnTx/>
                  <a:uFillTx/>
                  <a:latin typeface="PTCRaleway" panose="020B0503030101060003" pitchFamily="34" charset="0"/>
                  <a:ea typeface="+mn-ea"/>
                  <a:cs typeface="+mn-cs"/>
                </a:endParaRPr>
              </a:p>
            </p:txBody>
          </p:sp>
          <p:sp>
            <p:nvSpPr>
              <p:cNvPr id="665" name="Oval 664">
                <a:extLst>
                  <a:ext uri="{FF2B5EF4-FFF2-40B4-BE49-F238E27FC236}">
                    <a16:creationId xmlns:a16="http://schemas.microsoft.com/office/drawing/2014/main" id="{2BD9D392-B596-4F03-9B43-5DF7319E638A}"/>
                  </a:ext>
                </a:extLst>
              </p:cNvPr>
              <p:cNvSpPr/>
              <p:nvPr/>
            </p:nvSpPr>
            <p:spPr>
              <a:xfrm>
                <a:off x="5894437" y="3189174"/>
                <a:ext cx="118872" cy="118872"/>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6775" rtl="0" eaLnBrk="1" fontAlgn="auto" latinLnBrk="0" hangingPunct="1">
                  <a:lnSpc>
                    <a:spcPct val="90000"/>
                  </a:lnSpc>
                  <a:spcBef>
                    <a:spcPts val="800"/>
                  </a:spcBef>
                  <a:spcAft>
                    <a:spcPts val="0"/>
                  </a:spcAft>
                  <a:buClrTx/>
                  <a:buSzTx/>
                  <a:buFontTx/>
                  <a:buNone/>
                  <a:tabLst/>
                  <a:defRPr/>
                </a:pPr>
                <a:endParaRPr kumimoji="0" lang="en-US" sz="2200" b="0" i="0" u="none" strike="noStrike" kern="1200" cap="none" spc="0" normalizeH="0" baseline="0" noProof="0" dirty="0">
                  <a:ln>
                    <a:noFill/>
                  </a:ln>
                  <a:solidFill>
                    <a:srgbClr val="FFFFFF"/>
                  </a:solidFill>
                  <a:effectLst/>
                  <a:uLnTx/>
                  <a:uFillTx/>
                  <a:latin typeface="PTCRaleway" panose="020B0503030101060003" pitchFamily="34" charset="0"/>
                  <a:ea typeface="+mn-ea"/>
                  <a:cs typeface="+mn-cs"/>
                </a:endParaRPr>
              </a:p>
            </p:txBody>
          </p:sp>
          <p:sp>
            <p:nvSpPr>
              <p:cNvPr id="666" name="Oval 665">
                <a:extLst>
                  <a:ext uri="{FF2B5EF4-FFF2-40B4-BE49-F238E27FC236}">
                    <a16:creationId xmlns:a16="http://schemas.microsoft.com/office/drawing/2014/main" id="{4A2E5C11-9675-4FD0-A019-8D504A5A459A}"/>
                  </a:ext>
                </a:extLst>
              </p:cNvPr>
              <p:cNvSpPr/>
              <p:nvPr/>
            </p:nvSpPr>
            <p:spPr>
              <a:xfrm>
                <a:off x="5894437" y="3328780"/>
                <a:ext cx="118872" cy="118872"/>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6775" rtl="0" eaLnBrk="1" fontAlgn="auto" latinLnBrk="0" hangingPunct="1">
                  <a:lnSpc>
                    <a:spcPct val="90000"/>
                  </a:lnSpc>
                  <a:spcBef>
                    <a:spcPts val="800"/>
                  </a:spcBef>
                  <a:spcAft>
                    <a:spcPts val="0"/>
                  </a:spcAft>
                  <a:buClrTx/>
                  <a:buSzTx/>
                  <a:buFontTx/>
                  <a:buNone/>
                  <a:tabLst/>
                  <a:defRPr/>
                </a:pPr>
                <a:endParaRPr kumimoji="0" lang="en-US" sz="2200" b="0" i="0" u="none" strike="noStrike" kern="1200" cap="none" spc="0" normalizeH="0" baseline="0" noProof="0" dirty="0">
                  <a:ln>
                    <a:noFill/>
                  </a:ln>
                  <a:solidFill>
                    <a:srgbClr val="FFFFFF"/>
                  </a:solidFill>
                  <a:effectLst/>
                  <a:uLnTx/>
                  <a:uFillTx/>
                  <a:latin typeface="PTCRaleway" panose="020B0503030101060003" pitchFamily="34" charset="0"/>
                  <a:ea typeface="+mn-ea"/>
                  <a:cs typeface="+mn-cs"/>
                </a:endParaRPr>
              </a:p>
            </p:txBody>
          </p:sp>
          <p:sp>
            <p:nvSpPr>
              <p:cNvPr id="667" name="Oval 666">
                <a:extLst>
                  <a:ext uri="{FF2B5EF4-FFF2-40B4-BE49-F238E27FC236}">
                    <a16:creationId xmlns:a16="http://schemas.microsoft.com/office/drawing/2014/main" id="{1DA311A2-0CEB-44D6-B514-5970AF1C57A2}"/>
                  </a:ext>
                </a:extLst>
              </p:cNvPr>
              <p:cNvSpPr/>
              <p:nvPr/>
            </p:nvSpPr>
            <p:spPr>
              <a:xfrm>
                <a:off x="5894431" y="3481180"/>
                <a:ext cx="118872" cy="118872"/>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6775" rtl="0" eaLnBrk="1" fontAlgn="auto" latinLnBrk="0" hangingPunct="1">
                  <a:lnSpc>
                    <a:spcPct val="90000"/>
                  </a:lnSpc>
                  <a:spcBef>
                    <a:spcPts val="800"/>
                  </a:spcBef>
                  <a:spcAft>
                    <a:spcPts val="0"/>
                  </a:spcAft>
                  <a:buClrTx/>
                  <a:buSzTx/>
                  <a:buFontTx/>
                  <a:buNone/>
                  <a:tabLst/>
                  <a:defRPr/>
                </a:pPr>
                <a:endParaRPr kumimoji="0" lang="en-US" sz="2200" b="0" i="0" u="none" strike="noStrike" kern="1200" cap="none" spc="0" normalizeH="0" baseline="0" noProof="0" dirty="0">
                  <a:ln>
                    <a:noFill/>
                  </a:ln>
                  <a:solidFill>
                    <a:srgbClr val="FFFFFF"/>
                  </a:solidFill>
                  <a:effectLst/>
                  <a:uLnTx/>
                  <a:uFillTx/>
                  <a:latin typeface="PTCRaleway" panose="020B0503030101060003" pitchFamily="34" charset="0"/>
                  <a:ea typeface="+mn-ea"/>
                  <a:cs typeface="+mn-cs"/>
                </a:endParaRPr>
              </a:p>
            </p:txBody>
          </p:sp>
          <p:sp>
            <p:nvSpPr>
              <p:cNvPr id="668" name="Oval 667">
                <a:extLst>
                  <a:ext uri="{FF2B5EF4-FFF2-40B4-BE49-F238E27FC236}">
                    <a16:creationId xmlns:a16="http://schemas.microsoft.com/office/drawing/2014/main" id="{BB6E9265-BBA8-4A72-A128-EC3DA301B0D8}"/>
                  </a:ext>
                </a:extLst>
              </p:cNvPr>
              <p:cNvSpPr/>
              <p:nvPr/>
            </p:nvSpPr>
            <p:spPr>
              <a:xfrm>
                <a:off x="5893161" y="3641089"/>
                <a:ext cx="118872" cy="118872"/>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6775" rtl="0" eaLnBrk="1" fontAlgn="auto" latinLnBrk="0" hangingPunct="1">
                  <a:lnSpc>
                    <a:spcPct val="90000"/>
                  </a:lnSpc>
                  <a:spcBef>
                    <a:spcPts val="800"/>
                  </a:spcBef>
                  <a:spcAft>
                    <a:spcPts val="0"/>
                  </a:spcAft>
                  <a:buClrTx/>
                  <a:buSzTx/>
                  <a:buFontTx/>
                  <a:buNone/>
                  <a:tabLst/>
                  <a:defRPr/>
                </a:pPr>
                <a:endParaRPr kumimoji="0" lang="en-US" sz="2200" b="0" i="0" u="none" strike="noStrike" kern="1200" cap="none" spc="0" normalizeH="0" baseline="0" noProof="0" dirty="0">
                  <a:ln>
                    <a:noFill/>
                  </a:ln>
                  <a:solidFill>
                    <a:srgbClr val="FFFFFF"/>
                  </a:solidFill>
                  <a:effectLst/>
                  <a:uLnTx/>
                  <a:uFillTx/>
                  <a:latin typeface="PTCRaleway" panose="020B0503030101060003" pitchFamily="34" charset="0"/>
                  <a:ea typeface="+mn-ea"/>
                  <a:cs typeface="+mn-cs"/>
                </a:endParaRPr>
              </a:p>
            </p:txBody>
          </p:sp>
          <p:sp>
            <p:nvSpPr>
              <p:cNvPr id="669" name="Oval 668">
                <a:extLst>
                  <a:ext uri="{FF2B5EF4-FFF2-40B4-BE49-F238E27FC236}">
                    <a16:creationId xmlns:a16="http://schemas.microsoft.com/office/drawing/2014/main" id="{92C712C1-FB6F-4656-9914-E901968F972E}"/>
                  </a:ext>
                </a:extLst>
              </p:cNvPr>
              <p:cNvSpPr/>
              <p:nvPr/>
            </p:nvSpPr>
            <p:spPr>
              <a:xfrm>
                <a:off x="5894437" y="3792424"/>
                <a:ext cx="118872" cy="118872"/>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6775" rtl="0" eaLnBrk="1" fontAlgn="auto" latinLnBrk="0" hangingPunct="1">
                  <a:lnSpc>
                    <a:spcPct val="90000"/>
                  </a:lnSpc>
                  <a:spcBef>
                    <a:spcPts val="800"/>
                  </a:spcBef>
                  <a:spcAft>
                    <a:spcPts val="0"/>
                  </a:spcAft>
                  <a:buClrTx/>
                  <a:buSzTx/>
                  <a:buFontTx/>
                  <a:buNone/>
                  <a:tabLst/>
                  <a:defRPr/>
                </a:pPr>
                <a:endParaRPr kumimoji="0" lang="en-US" sz="2200" b="0" i="0" u="none" strike="noStrike" kern="1200" cap="none" spc="0" normalizeH="0" baseline="0" noProof="0" dirty="0">
                  <a:ln>
                    <a:noFill/>
                  </a:ln>
                  <a:solidFill>
                    <a:srgbClr val="FFFFFF"/>
                  </a:solidFill>
                  <a:effectLst/>
                  <a:uLnTx/>
                  <a:uFillTx/>
                  <a:latin typeface="PTCRaleway" panose="020B0503030101060003" pitchFamily="34" charset="0"/>
                  <a:ea typeface="+mn-ea"/>
                  <a:cs typeface="+mn-cs"/>
                </a:endParaRPr>
              </a:p>
            </p:txBody>
          </p:sp>
          <p:sp>
            <p:nvSpPr>
              <p:cNvPr id="670" name="Oval 669">
                <a:extLst>
                  <a:ext uri="{FF2B5EF4-FFF2-40B4-BE49-F238E27FC236}">
                    <a16:creationId xmlns:a16="http://schemas.microsoft.com/office/drawing/2014/main" id="{082EADFC-AAA6-4F26-9286-FC36CCF69DC9}"/>
                  </a:ext>
                </a:extLst>
              </p:cNvPr>
              <p:cNvSpPr/>
              <p:nvPr/>
            </p:nvSpPr>
            <p:spPr>
              <a:xfrm>
                <a:off x="5894437" y="3932030"/>
                <a:ext cx="118872" cy="118872"/>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6775" rtl="0" eaLnBrk="1" fontAlgn="auto" latinLnBrk="0" hangingPunct="1">
                  <a:lnSpc>
                    <a:spcPct val="90000"/>
                  </a:lnSpc>
                  <a:spcBef>
                    <a:spcPts val="800"/>
                  </a:spcBef>
                  <a:spcAft>
                    <a:spcPts val="0"/>
                  </a:spcAft>
                  <a:buClrTx/>
                  <a:buSzTx/>
                  <a:buFontTx/>
                  <a:buNone/>
                  <a:tabLst/>
                  <a:defRPr/>
                </a:pPr>
                <a:endParaRPr kumimoji="0" lang="en-US" sz="2200" b="0" i="0" u="none" strike="noStrike" kern="1200" cap="none" spc="0" normalizeH="0" baseline="0" noProof="0" dirty="0">
                  <a:ln>
                    <a:noFill/>
                  </a:ln>
                  <a:solidFill>
                    <a:srgbClr val="FFFFFF"/>
                  </a:solidFill>
                  <a:effectLst/>
                  <a:uLnTx/>
                  <a:uFillTx/>
                  <a:latin typeface="PTCRaleway" panose="020B0503030101060003" pitchFamily="34" charset="0"/>
                  <a:ea typeface="+mn-ea"/>
                  <a:cs typeface="+mn-cs"/>
                </a:endParaRPr>
              </a:p>
            </p:txBody>
          </p:sp>
          <p:sp>
            <p:nvSpPr>
              <p:cNvPr id="671" name="Oval 670">
                <a:extLst>
                  <a:ext uri="{FF2B5EF4-FFF2-40B4-BE49-F238E27FC236}">
                    <a16:creationId xmlns:a16="http://schemas.microsoft.com/office/drawing/2014/main" id="{AFCCF370-F671-405D-960C-1362172E9969}"/>
                  </a:ext>
                </a:extLst>
              </p:cNvPr>
              <p:cNvSpPr/>
              <p:nvPr/>
            </p:nvSpPr>
            <p:spPr>
              <a:xfrm>
                <a:off x="5894431" y="4072839"/>
                <a:ext cx="118872" cy="118872"/>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6775" rtl="0" eaLnBrk="1" fontAlgn="auto" latinLnBrk="0" hangingPunct="1">
                  <a:lnSpc>
                    <a:spcPct val="90000"/>
                  </a:lnSpc>
                  <a:spcBef>
                    <a:spcPts val="800"/>
                  </a:spcBef>
                  <a:spcAft>
                    <a:spcPts val="0"/>
                  </a:spcAft>
                  <a:buClrTx/>
                  <a:buSzTx/>
                  <a:buFontTx/>
                  <a:buNone/>
                  <a:tabLst/>
                  <a:defRPr/>
                </a:pPr>
                <a:endParaRPr kumimoji="0" lang="en-US" sz="2200" b="0" i="0" u="none" strike="noStrike" kern="1200" cap="none" spc="0" normalizeH="0" baseline="0" noProof="0" dirty="0">
                  <a:ln>
                    <a:noFill/>
                  </a:ln>
                  <a:solidFill>
                    <a:srgbClr val="FFFFFF"/>
                  </a:solidFill>
                  <a:effectLst/>
                  <a:uLnTx/>
                  <a:uFillTx/>
                  <a:latin typeface="PTCRaleway" panose="020B0503030101060003" pitchFamily="34" charset="0"/>
                  <a:ea typeface="+mn-ea"/>
                  <a:cs typeface="+mn-cs"/>
                </a:endParaRPr>
              </a:p>
            </p:txBody>
          </p:sp>
          <p:sp>
            <p:nvSpPr>
              <p:cNvPr id="672" name="Oval 671">
                <a:extLst>
                  <a:ext uri="{FF2B5EF4-FFF2-40B4-BE49-F238E27FC236}">
                    <a16:creationId xmlns:a16="http://schemas.microsoft.com/office/drawing/2014/main" id="{2F57490A-AF28-4035-B406-9520D29792D0}"/>
                  </a:ext>
                </a:extLst>
              </p:cNvPr>
              <p:cNvSpPr/>
              <p:nvPr/>
            </p:nvSpPr>
            <p:spPr>
              <a:xfrm>
                <a:off x="5894431" y="4222749"/>
                <a:ext cx="118872" cy="118872"/>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6775" rtl="0" eaLnBrk="1" fontAlgn="auto" latinLnBrk="0" hangingPunct="1">
                  <a:lnSpc>
                    <a:spcPct val="90000"/>
                  </a:lnSpc>
                  <a:spcBef>
                    <a:spcPts val="800"/>
                  </a:spcBef>
                  <a:spcAft>
                    <a:spcPts val="0"/>
                  </a:spcAft>
                  <a:buClrTx/>
                  <a:buSzTx/>
                  <a:buFontTx/>
                  <a:buNone/>
                  <a:tabLst/>
                  <a:defRPr/>
                </a:pPr>
                <a:endParaRPr kumimoji="0" lang="en-US" sz="2200" b="0" i="0" u="none" strike="noStrike" kern="1200" cap="none" spc="0" normalizeH="0" baseline="0" noProof="0" dirty="0">
                  <a:ln>
                    <a:noFill/>
                  </a:ln>
                  <a:solidFill>
                    <a:srgbClr val="FFFFFF"/>
                  </a:solidFill>
                  <a:effectLst/>
                  <a:uLnTx/>
                  <a:uFillTx/>
                  <a:latin typeface="PTCRaleway" panose="020B0503030101060003" pitchFamily="34" charset="0"/>
                  <a:ea typeface="+mn-ea"/>
                  <a:cs typeface="+mn-cs"/>
                </a:endParaRPr>
              </a:p>
            </p:txBody>
          </p:sp>
          <p:sp>
            <p:nvSpPr>
              <p:cNvPr id="673" name="Oval 672">
                <a:extLst>
                  <a:ext uri="{FF2B5EF4-FFF2-40B4-BE49-F238E27FC236}">
                    <a16:creationId xmlns:a16="http://schemas.microsoft.com/office/drawing/2014/main" id="{AF00FB54-F41C-4373-825F-D159EC1BDDD1}"/>
                  </a:ext>
                </a:extLst>
              </p:cNvPr>
              <p:cNvSpPr/>
              <p:nvPr/>
            </p:nvSpPr>
            <p:spPr>
              <a:xfrm>
                <a:off x="5894437" y="4374084"/>
                <a:ext cx="118872" cy="118872"/>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6775" rtl="0" eaLnBrk="1" fontAlgn="auto" latinLnBrk="0" hangingPunct="1">
                  <a:lnSpc>
                    <a:spcPct val="90000"/>
                  </a:lnSpc>
                  <a:spcBef>
                    <a:spcPts val="800"/>
                  </a:spcBef>
                  <a:spcAft>
                    <a:spcPts val="0"/>
                  </a:spcAft>
                  <a:buClrTx/>
                  <a:buSzTx/>
                  <a:buFontTx/>
                  <a:buNone/>
                  <a:tabLst/>
                  <a:defRPr/>
                </a:pPr>
                <a:endParaRPr kumimoji="0" lang="en-US" sz="2200" b="0" i="0" u="none" strike="noStrike" kern="1200" cap="none" spc="0" normalizeH="0" baseline="0" noProof="0" dirty="0">
                  <a:ln>
                    <a:noFill/>
                  </a:ln>
                  <a:solidFill>
                    <a:srgbClr val="FFFFFF"/>
                  </a:solidFill>
                  <a:effectLst/>
                  <a:uLnTx/>
                  <a:uFillTx/>
                  <a:latin typeface="PTCRaleway" panose="020B0503030101060003" pitchFamily="34" charset="0"/>
                  <a:ea typeface="+mn-ea"/>
                  <a:cs typeface="+mn-cs"/>
                </a:endParaRPr>
              </a:p>
            </p:txBody>
          </p:sp>
          <p:sp>
            <p:nvSpPr>
              <p:cNvPr id="674" name="Oval 673">
                <a:extLst>
                  <a:ext uri="{FF2B5EF4-FFF2-40B4-BE49-F238E27FC236}">
                    <a16:creationId xmlns:a16="http://schemas.microsoft.com/office/drawing/2014/main" id="{83A7B31A-94D5-46E0-9A97-87BC261FB79F}"/>
                  </a:ext>
                </a:extLst>
              </p:cNvPr>
              <p:cNvSpPr/>
              <p:nvPr/>
            </p:nvSpPr>
            <p:spPr>
              <a:xfrm>
                <a:off x="5894437" y="4513690"/>
                <a:ext cx="118872" cy="118872"/>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6775" rtl="0" eaLnBrk="1" fontAlgn="auto" latinLnBrk="0" hangingPunct="1">
                  <a:lnSpc>
                    <a:spcPct val="90000"/>
                  </a:lnSpc>
                  <a:spcBef>
                    <a:spcPts val="800"/>
                  </a:spcBef>
                  <a:spcAft>
                    <a:spcPts val="0"/>
                  </a:spcAft>
                  <a:buClrTx/>
                  <a:buSzTx/>
                  <a:buFontTx/>
                  <a:buNone/>
                  <a:tabLst/>
                  <a:defRPr/>
                </a:pPr>
                <a:endParaRPr kumimoji="0" lang="en-US" sz="2200" b="0" i="0" u="none" strike="noStrike" kern="1200" cap="none" spc="0" normalizeH="0" baseline="0" noProof="0" dirty="0">
                  <a:ln>
                    <a:noFill/>
                  </a:ln>
                  <a:solidFill>
                    <a:srgbClr val="FFFFFF"/>
                  </a:solidFill>
                  <a:effectLst/>
                  <a:uLnTx/>
                  <a:uFillTx/>
                  <a:latin typeface="PTCRaleway" panose="020B0503030101060003" pitchFamily="34" charset="0"/>
                  <a:ea typeface="+mn-ea"/>
                  <a:cs typeface="+mn-cs"/>
                </a:endParaRPr>
              </a:p>
            </p:txBody>
          </p:sp>
          <p:sp>
            <p:nvSpPr>
              <p:cNvPr id="675" name="Oval 674">
                <a:extLst>
                  <a:ext uri="{FF2B5EF4-FFF2-40B4-BE49-F238E27FC236}">
                    <a16:creationId xmlns:a16="http://schemas.microsoft.com/office/drawing/2014/main" id="{59B96DDB-9869-450D-90B4-93130AE4E5C6}"/>
                  </a:ext>
                </a:extLst>
              </p:cNvPr>
              <p:cNvSpPr/>
              <p:nvPr/>
            </p:nvSpPr>
            <p:spPr>
              <a:xfrm>
                <a:off x="5894431" y="4666090"/>
                <a:ext cx="118872" cy="118872"/>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6775" rtl="0" eaLnBrk="1" fontAlgn="auto" latinLnBrk="0" hangingPunct="1">
                  <a:lnSpc>
                    <a:spcPct val="90000"/>
                  </a:lnSpc>
                  <a:spcBef>
                    <a:spcPts val="800"/>
                  </a:spcBef>
                  <a:spcAft>
                    <a:spcPts val="0"/>
                  </a:spcAft>
                  <a:buClrTx/>
                  <a:buSzTx/>
                  <a:buFontTx/>
                  <a:buNone/>
                  <a:tabLst/>
                  <a:defRPr/>
                </a:pPr>
                <a:endParaRPr kumimoji="0" lang="en-US" sz="2200" b="0" i="0" u="none" strike="noStrike" kern="1200" cap="none" spc="0" normalizeH="0" baseline="0" noProof="0" dirty="0">
                  <a:ln>
                    <a:noFill/>
                  </a:ln>
                  <a:solidFill>
                    <a:srgbClr val="FFFFFF"/>
                  </a:solidFill>
                  <a:effectLst/>
                  <a:uLnTx/>
                  <a:uFillTx/>
                  <a:latin typeface="PTCRaleway" panose="020B0503030101060003" pitchFamily="34" charset="0"/>
                  <a:ea typeface="+mn-ea"/>
                  <a:cs typeface="+mn-cs"/>
                </a:endParaRPr>
              </a:p>
            </p:txBody>
          </p:sp>
          <p:sp>
            <p:nvSpPr>
              <p:cNvPr id="676" name="Oval 675">
                <a:extLst>
                  <a:ext uri="{FF2B5EF4-FFF2-40B4-BE49-F238E27FC236}">
                    <a16:creationId xmlns:a16="http://schemas.microsoft.com/office/drawing/2014/main" id="{4D031336-43CC-4384-BA99-D9986FAF0038}"/>
                  </a:ext>
                </a:extLst>
              </p:cNvPr>
              <p:cNvSpPr/>
              <p:nvPr/>
            </p:nvSpPr>
            <p:spPr>
              <a:xfrm>
                <a:off x="5893161" y="4825999"/>
                <a:ext cx="118872" cy="118872"/>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6775" rtl="0" eaLnBrk="1" fontAlgn="auto" latinLnBrk="0" hangingPunct="1">
                  <a:lnSpc>
                    <a:spcPct val="90000"/>
                  </a:lnSpc>
                  <a:spcBef>
                    <a:spcPts val="800"/>
                  </a:spcBef>
                  <a:spcAft>
                    <a:spcPts val="0"/>
                  </a:spcAft>
                  <a:buClrTx/>
                  <a:buSzTx/>
                  <a:buFontTx/>
                  <a:buNone/>
                  <a:tabLst/>
                  <a:defRPr/>
                </a:pPr>
                <a:endParaRPr kumimoji="0" lang="en-US" sz="2200" b="0" i="0" u="none" strike="noStrike" kern="1200" cap="none" spc="0" normalizeH="0" baseline="0" noProof="0" dirty="0">
                  <a:ln>
                    <a:noFill/>
                  </a:ln>
                  <a:solidFill>
                    <a:srgbClr val="FFFFFF"/>
                  </a:solidFill>
                  <a:effectLst/>
                  <a:uLnTx/>
                  <a:uFillTx/>
                  <a:latin typeface="PTCRaleway" panose="020B0503030101060003" pitchFamily="34" charset="0"/>
                  <a:ea typeface="+mn-ea"/>
                  <a:cs typeface="+mn-cs"/>
                </a:endParaRPr>
              </a:p>
            </p:txBody>
          </p:sp>
          <p:sp>
            <p:nvSpPr>
              <p:cNvPr id="677" name="Oval 676">
                <a:extLst>
                  <a:ext uri="{FF2B5EF4-FFF2-40B4-BE49-F238E27FC236}">
                    <a16:creationId xmlns:a16="http://schemas.microsoft.com/office/drawing/2014/main" id="{366E1EAC-51FA-4086-B55E-7240ADA0CD4F}"/>
                  </a:ext>
                </a:extLst>
              </p:cNvPr>
              <p:cNvSpPr/>
              <p:nvPr/>
            </p:nvSpPr>
            <p:spPr>
              <a:xfrm>
                <a:off x="5894437" y="4977334"/>
                <a:ext cx="118872" cy="118872"/>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6775" rtl="0" eaLnBrk="1" fontAlgn="auto" latinLnBrk="0" hangingPunct="1">
                  <a:lnSpc>
                    <a:spcPct val="90000"/>
                  </a:lnSpc>
                  <a:spcBef>
                    <a:spcPts val="800"/>
                  </a:spcBef>
                  <a:spcAft>
                    <a:spcPts val="0"/>
                  </a:spcAft>
                  <a:buClrTx/>
                  <a:buSzTx/>
                  <a:buFontTx/>
                  <a:buNone/>
                  <a:tabLst/>
                  <a:defRPr/>
                </a:pPr>
                <a:endParaRPr kumimoji="0" lang="en-US" sz="2200" b="0" i="0" u="none" strike="noStrike" kern="1200" cap="none" spc="0" normalizeH="0" baseline="0" noProof="0" dirty="0">
                  <a:ln>
                    <a:noFill/>
                  </a:ln>
                  <a:solidFill>
                    <a:srgbClr val="FFFFFF"/>
                  </a:solidFill>
                  <a:effectLst/>
                  <a:uLnTx/>
                  <a:uFillTx/>
                  <a:latin typeface="PTCRaleway" panose="020B0503030101060003" pitchFamily="34" charset="0"/>
                  <a:ea typeface="+mn-ea"/>
                  <a:cs typeface="+mn-cs"/>
                </a:endParaRPr>
              </a:p>
            </p:txBody>
          </p:sp>
          <p:sp>
            <p:nvSpPr>
              <p:cNvPr id="678" name="Oval 677">
                <a:extLst>
                  <a:ext uri="{FF2B5EF4-FFF2-40B4-BE49-F238E27FC236}">
                    <a16:creationId xmlns:a16="http://schemas.microsoft.com/office/drawing/2014/main" id="{E3745380-FFB8-442F-B57B-53AF8E373B04}"/>
                  </a:ext>
                </a:extLst>
              </p:cNvPr>
              <p:cNvSpPr/>
              <p:nvPr/>
            </p:nvSpPr>
            <p:spPr>
              <a:xfrm>
                <a:off x="5894437" y="5116940"/>
                <a:ext cx="118872" cy="118872"/>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6775" rtl="0" eaLnBrk="1" fontAlgn="auto" latinLnBrk="0" hangingPunct="1">
                  <a:lnSpc>
                    <a:spcPct val="90000"/>
                  </a:lnSpc>
                  <a:spcBef>
                    <a:spcPts val="800"/>
                  </a:spcBef>
                  <a:spcAft>
                    <a:spcPts val="0"/>
                  </a:spcAft>
                  <a:buClrTx/>
                  <a:buSzTx/>
                  <a:buFontTx/>
                  <a:buNone/>
                  <a:tabLst/>
                  <a:defRPr/>
                </a:pPr>
                <a:endParaRPr kumimoji="0" lang="en-US" sz="2200" b="0" i="0" u="none" strike="noStrike" kern="1200" cap="none" spc="0" normalizeH="0" baseline="0" noProof="0" dirty="0">
                  <a:ln>
                    <a:noFill/>
                  </a:ln>
                  <a:solidFill>
                    <a:srgbClr val="FFFFFF"/>
                  </a:solidFill>
                  <a:effectLst/>
                  <a:uLnTx/>
                  <a:uFillTx/>
                  <a:latin typeface="PTCRaleway" panose="020B0503030101060003" pitchFamily="34" charset="0"/>
                  <a:ea typeface="+mn-ea"/>
                  <a:cs typeface="+mn-cs"/>
                </a:endParaRPr>
              </a:p>
            </p:txBody>
          </p:sp>
          <p:sp>
            <p:nvSpPr>
              <p:cNvPr id="679" name="Oval 678">
                <a:extLst>
                  <a:ext uri="{FF2B5EF4-FFF2-40B4-BE49-F238E27FC236}">
                    <a16:creationId xmlns:a16="http://schemas.microsoft.com/office/drawing/2014/main" id="{70F33378-35A9-4750-B6B0-3BC14B50D143}"/>
                  </a:ext>
                </a:extLst>
              </p:cNvPr>
              <p:cNvSpPr/>
              <p:nvPr/>
            </p:nvSpPr>
            <p:spPr>
              <a:xfrm>
                <a:off x="5894431" y="5257749"/>
                <a:ext cx="118872" cy="118872"/>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6775" rtl="0" eaLnBrk="1" fontAlgn="auto" latinLnBrk="0" hangingPunct="1">
                  <a:lnSpc>
                    <a:spcPct val="90000"/>
                  </a:lnSpc>
                  <a:spcBef>
                    <a:spcPts val="800"/>
                  </a:spcBef>
                  <a:spcAft>
                    <a:spcPts val="0"/>
                  </a:spcAft>
                  <a:buClrTx/>
                  <a:buSzTx/>
                  <a:buFontTx/>
                  <a:buNone/>
                  <a:tabLst/>
                  <a:defRPr/>
                </a:pPr>
                <a:endParaRPr kumimoji="0" lang="en-US" sz="2200" b="0" i="0" u="none" strike="noStrike" kern="1200" cap="none" spc="0" normalizeH="0" baseline="0" noProof="0" dirty="0">
                  <a:ln>
                    <a:noFill/>
                  </a:ln>
                  <a:solidFill>
                    <a:srgbClr val="FFFFFF"/>
                  </a:solidFill>
                  <a:effectLst/>
                  <a:uLnTx/>
                  <a:uFillTx/>
                  <a:latin typeface="PTCRaleway" panose="020B0503030101060003" pitchFamily="34" charset="0"/>
                  <a:ea typeface="+mn-ea"/>
                  <a:cs typeface="+mn-cs"/>
                </a:endParaRPr>
              </a:p>
            </p:txBody>
          </p:sp>
          <p:sp>
            <p:nvSpPr>
              <p:cNvPr id="680" name="Oval 679">
                <a:extLst>
                  <a:ext uri="{FF2B5EF4-FFF2-40B4-BE49-F238E27FC236}">
                    <a16:creationId xmlns:a16="http://schemas.microsoft.com/office/drawing/2014/main" id="{17A40EEE-81B7-41F5-A657-1D19758DDB37}"/>
                  </a:ext>
                </a:extLst>
              </p:cNvPr>
              <p:cNvSpPr/>
              <p:nvPr/>
            </p:nvSpPr>
            <p:spPr>
              <a:xfrm>
                <a:off x="5894431" y="5411469"/>
                <a:ext cx="118872" cy="118872"/>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6775" rtl="0" eaLnBrk="1" fontAlgn="auto" latinLnBrk="0" hangingPunct="1">
                  <a:lnSpc>
                    <a:spcPct val="90000"/>
                  </a:lnSpc>
                  <a:spcBef>
                    <a:spcPts val="800"/>
                  </a:spcBef>
                  <a:spcAft>
                    <a:spcPts val="0"/>
                  </a:spcAft>
                  <a:buClrTx/>
                  <a:buSzTx/>
                  <a:buFontTx/>
                  <a:buNone/>
                  <a:tabLst/>
                  <a:defRPr/>
                </a:pPr>
                <a:endParaRPr kumimoji="0" lang="en-US" sz="2200" b="0" i="0" u="none" strike="noStrike" kern="1200" cap="none" spc="0" normalizeH="0" baseline="0" noProof="0" dirty="0">
                  <a:ln>
                    <a:noFill/>
                  </a:ln>
                  <a:solidFill>
                    <a:srgbClr val="FFFFFF"/>
                  </a:solidFill>
                  <a:effectLst/>
                  <a:uLnTx/>
                  <a:uFillTx/>
                  <a:latin typeface="PTCRaleway" panose="020B0503030101060003" pitchFamily="34" charset="0"/>
                  <a:ea typeface="+mn-ea"/>
                  <a:cs typeface="+mn-cs"/>
                </a:endParaRPr>
              </a:p>
            </p:txBody>
          </p:sp>
          <p:sp>
            <p:nvSpPr>
              <p:cNvPr id="681" name="Oval 680">
                <a:extLst>
                  <a:ext uri="{FF2B5EF4-FFF2-40B4-BE49-F238E27FC236}">
                    <a16:creationId xmlns:a16="http://schemas.microsoft.com/office/drawing/2014/main" id="{AE7CCC55-88B3-4269-8F8A-D6194BB5D35C}"/>
                  </a:ext>
                </a:extLst>
              </p:cNvPr>
              <p:cNvSpPr/>
              <p:nvPr/>
            </p:nvSpPr>
            <p:spPr>
              <a:xfrm>
                <a:off x="5894437" y="5562804"/>
                <a:ext cx="118872" cy="118872"/>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6775" rtl="0" eaLnBrk="1" fontAlgn="auto" latinLnBrk="0" hangingPunct="1">
                  <a:lnSpc>
                    <a:spcPct val="90000"/>
                  </a:lnSpc>
                  <a:spcBef>
                    <a:spcPts val="800"/>
                  </a:spcBef>
                  <a:spcAft>
                    <a:spcPts val="0"/>
                  </a:spcAft>
                  <a:buClrTx/>
                  <a:buSzTx/>
                  <a:buFontTx/>
                  <a:buNone/>
                  <a:tabLst/>
                  <a:defRPr/>
                </a:pPr>
                <a:endParaRPr kumimoji="0" lang="en-US" sz="2200" b="0" i="0" u="none" strike="noStrike" kern="1200" cap="none" spc="0" normalizeH="0" baseline="0" noProof="0" dirty="0">
                  <a:ln>
                    <a:noFill/>
                  </a:ln>
                  <a:solidFill>
                    <a:srgbClr val="FFFFFF"/>
                  </a:solidFill>
                  <a:effectLst/>
                  <a:uLnTx/>
                  <a:uFillTx/>
                  <a:latin typeface="PTCRaleway" panose="020B0503030101060003" pitchFamily="34" charset="0"/>
                  <a:ea typeface="+mn-ea"/>
                  <a:cs typeface="+mn-cs"/>
                </a:endParaRPr>
              </a:p>
            </p:txBody>
          </p:sp>
          <p:sp>
            <p:nvSpPr>
              <p:cNvPr id="682" name="Oval 681">
                <a:extLst>
                  <a:ext uri="{FF2B5EF4-FFF2-40B4-BE49-F238E27FC236}">
                    <a16:creationId xmlns:a16="http://schemas.microsoft.com/office/drawing/2014/main" id="{F48A4200-0ADC-4F77-BE12-6059C8884D97}"/>
                  </a:ext>
                </a:extLst>
              </p:cNvPr>
              <p:cNvSpPr/>
              <p:nvPr/>
            </p:nvSpPr>
            <p:spPr>
              <a:xfrm>
                <a:off x="5894437" y="5702410"/>
                <a:ext cx="118872" cy="118872"/>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6775" rtl="0" eaLnBrk="1" fontAlgn="auto" latinLnBrk="0" hangingPunct="1">
                  <a:lnSpc>
                    <a:spcPct val="90000"/>
                  </a:lnSpc>
                  <a:spcBef>
                    <a:spcPts val="800"/>
                  </a:spcBef>
                  <a:spcAft>
                    <a:spcPts val="0"/>
                  </a:spcAft>
                  <a:buClrTx/>
                  <a:buSzTx/>
                  <a:buFontTx/>
                  <a:buNone/>
                  <a:tabLst/>
                  <a:defRPr/>
                </a:pPr>
                <a:endParaRPr kumimoji="0" lang="en-US" sz="2200" b="0" i="0" u="none" strike="noStrike" kern="1200" cap="none" spc="0" normalizeH="0" baseline="0" noProof="0" dirty="0">
                  <a:ln>
                    <a:noFill/>
                  </a:ln>
                  <a:solidFill>
                    <a:srgbClr val="FFFFFF"/>
                  </a:solidFill>
                  <a:effectLst/>
                  <a:uLnTx/>
                  <a:uFillTx/>
                  <a:latin typeface="PTCRaleway" panose="020B0503030101060003" pitchFamily="34" charset="0"/>
                  <a:ea typeface="+mn-ea"/>
                  <a:cs typeface="+mn-cs"/>
                </a:endParaRPr>
              </a:p>
            </p:txBody>
          </p:sp>
          <p:sp>
            <p:nvSpPr>
              <p:cNvPr id="683" name="Oval 682">
                <a:extLst>
                  <a:ext uri="{FF2B5EF4-FFF2-40B4-BE49-F238E27FC236}">
                    <a16:creationId xmlns:a16="http://schemas.microsoft.com/office/drawing/2014/main" id="{7CE41B1A-DCE5-4A24-B71E-256188376DA2}"/>
                  </a:ext>
                </a:extLst>
              </p:cNvPr>
              <p:cNvSpPr/>
              <p:nvPr/>
            </p:nvSpPr>
            <p:spPr>
              <a:xfrm>
                <a:off x="5894431" y="5854810"/>
                <a:ext cx="118872" cy="118872"/>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6775" rtl="0" eaLnBrk="1" fontAlgn="auto" latinLnBrk="0" hangingPunct="1">
                  <a:lnSpc>
                    <a:spcPct val="90000"/>
                  </a:lnSpc>
                  <a:spcBef>
                    <a:spcPts val="800"/>
                  </a:spcBef>
                  <a:spcAft>
                    <a:spcPts val="0"/>
                  </a:spcAft>
                  <a:buClrTx/>
                  <a:buSzTx/>
                  <a:buFontTx/>
                  <a:buNone/>
                  <a:tabLst/>
                  <a:defRPr/>
                </a:pPr>
                <a:endParaRPr kumimoji="0" lang="en-US" sz="2200" b="0" i="0" u="none" strike="noStrike" kern="1200" cap="none" spc="0" normalizeH="0" baseline="0" noProof="0" dirty="0">
                  <a:ln>
                    <a:noFill/>
                  </a:ln>
                  <a:solidFill>
                    <a:srgbClr val="FFFFFF"/>
                  </a:solidFill>
                  <a:effectLst/>
                  <a:uLnTx/>
                  <a:uFillTx/>
                  <a:latin typeface="PTCRaleway" panose="020B0503030101060003" pitchFamily="34" charset="0"/>
                  <a:ea typeface="+mn-ea"/>
                  <a:cs typeface="+mn-cs"/>
                </a:endParaRPr>
              </a:p>
            </p:txBody>
          </p:sp>
          <p:sp>
            <p:nvSpPr>
              <p:cNvPr id="684" name="Oval 683">
                <a:extLst>
                  <a:ext uri="{FF2B5EF4-FFF2-40B4-BE49-F238E27FC236}">
                    <a16:creationId xmlns:a16="http://schemas.microsoft.com/office/drawing/2014/main" id="{82422027-0EF5-4800-93B3-7AA4B7042E76}"/>
                  </a:ext>
                </a:extLst>
              </p:cNvPr>
              <p:cNvSpPr/>
              <p:nvPr/>
            </p:nvSpPr>
            <p:spPr>
              <a:xfrm>
                <a:off x="5893161" y="6014719"/>
                <a:ext cx="118872" cy="118872"/>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6775" rtl="0" eaLnBrk="1" fontAlgn="auto" latinLnBrk="0" hangingPunct="1">
                  <a:lnSpc>
                    <a:spcPct val="90000"/>
                  </a:lnSpc>
                  <a:spcBef>
                    <a:spcPts val="800"/>
                  </a:spcBef>
                  <a:spcAft>
                    <a:spcPts val="0"/>
                  </a:spcAft>
                  <a:buClrTx/>
                  <a:buSzTx/>
                  <a:buFontTx/>
                  <a:buNone/>
                  <a:tabLst/>
                  <a:defRPr/>
                </a:pPr>
                <a:endParaRPr kumimoji="0" lang="en-US" sz="2200" b="0" i="0" u="none" strike="noStrike" kern="1200" cap="none" spc="0" normalizeH="0" baseline="0" noProof="0" dirty="0">
                  <a:ln>
                    <a:noFill/>
                  </a:ln>
                  <a:solidFill>
                    <a:srgbClr val="FFFFFF"/>
                  </a:solidFill>
                  <a:effectLst/>
                  <a:uLnTx/>
                  <a:uFillTx/>
                  <a:latin typeface="PTCRaleway" panose="020B0503030101060003" pitchFamily="34" charset="0"/>
                  <a:ea typeface="+mn-ea"/>
                  <a:cs typeface="+mn-cs"/>
                </a:endParaRPr>
              </a:p>
            </p:txBody>
          </p:sp>
          <p:sp>
            <p:nvSpPr>
              <p:cNvPr id="685" name="Oval 684">
                <a:extLst>
                  <a:ext uri="{FF2B5EF4-FFF2-40B4-BE49-F238E27FC236}">
                    <a16:creationId xmlns:a16="http://schemas.microsoft.com/office/drawing/2014/main" id="{367AE2BA-B42F-405C-A711-A31C27CBF8B5}"/>
                  </a:ext>
                </a:extLst>
              </p:cNvPr>
              <p:cNvSpPr/>
              <p:nvPr/>
            </p:nvSpPr>
            <p:spPr>
              <a:xfrm>
                <a:off x="5894437" y="6166054"/>
                <a:ext cx="118872" cy="118872"/>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6775" rtl="0" eaLnBrk="1" fontAlgn="auto" latinLnBrk="0" hangingPunct="1">
                  <a:lnSpc>
                    <a:spcPct val="90000"/>
                  </a:lnSpc>
                  <a:spcBef>
                    <a:spcPts val="800"/>
                  </a:spcBef>
                  <a:spcAft>
                    <a:spcPts val="0"/>
                  </a:spcAft>
                  <a:buClrTx/>
                  <a:buSzTx/>
                  <a:buFontTx/>
                  <a:buNone/>
                  <a:tabLst/>
                  <a:defRPr/>
                </a:pPr>
                <a:endParaRPr kumimoji="0" lang="en-US" sz="2200" b="0" i="0" u="none" strike="noStrike" kern="1200" cap="none" spc="0" normalizeH="0" baseline="0" noProof="0" dirty="0">
                  <a:ln>
                    <a:noFill/>
                  </a:ln>
                  <a:solidFill>
                    <a:srgbClr val="FFFFFF"/>
                  </a:solidFill>
                  <a:effectLst/>
                  <a:uLnTx/>
                  <a:uFillTx/>
                  <a:latin typeface="PTCRaleway" panose="020B0503030101060003" pitchFamily="34" charset="0"/>
                  <a:ea typeface="+mn-ea"/>
                  <a:cs typeface="+mn-cs"/>
                </a:endParaRPr>
              </a:p>
            </p:txBody>
          </p:sp>
          <p:sp>
            <p:nvSpPr>
              <p:cNvPr id="686" name="Oval 685">
                <a:extLst>
                  <a:ext uri="{FF2B5EF4-FFF2-40B4-BE49-F238E27FC236}">
                    <a16:creationId xmlns:a16="http://schemas.microsoft.com/office/drawing/2014/main" id="{F0766972-BEB0-493E-B646-CFAC5F510E02}"/>
                  </a:ext>
                </a:extLst>
              </p:cNvPr>
              <p:cNvSpPr/>
              <p:nvPr/>
            </p:nvSpPr>
            <p:spPr>
              <a:xfrm>
                <a:off x="5894437" y="6305660"/>
                <a:ext cx="118872" cy="118872"/>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6775" rtl="0" eaLnBrk="1" fontAlgn="auto" latinLnBrk="0" hangingPunct="1">
                  <a:lnSpc>
                    <a:spcPct val="90000"/>
                  </a:lnSpc>
                  <a:spcBef>
                    <a:spcPts val="800"/>
                  </a:spcBef>
                  <a:spcAft>
                    <a:spcPts val="0"/>
                  </a:spcAft>
                  <a:buClrTx/>
                  <a:buSzTx/>
                  <a:buFontTx/>
                  <a:buNone/>
                  <a:tabLst/>
                  <a:defRPr/>
                </a:pPr>
                <a:endParaRPr kumimoji="0" lang="en-US" sz="2200" b="0" i="0" u="none" strike="noStrike" kern="1200" cap="none" spc="0" normalizeH="0" baseline="0" noProof="0" dirty="0">
                  <a:ln>
                    <a:noFill/>
                  </a:ln>
                  <a:solidFill>
                    <a:srgbClr val="FFFFFF"/>
                  </a:solidFill>
                  <a:effectLst/>
                  <a:uLnTx/>
                  <a:uFillTx/>
                  <a:latin typeface="PTCRaleway" panose="020B0503030101060003" pitchFamily="34" charset="0"/>
                  <a:ea typeface="+mn-ea"/>
                  <a:cs typeface="+mn-cs"/>
                </a:endParaRPr>
              </a:p>
            </p:txBody>
          </p:sp>
          <p:sp>
            <p:nvSpPr>
              <p:cNvPr id="687" name="Oval 686">
                <a:extLst>
                  <a:ext uri="{FF2B5EF4-FFF2-40B4-BE49-F238E27FC236}">
                    <a16:creationId xmlns:a16="http://schemas.microsoft.com/office/drawing/2014/main" id="{C0221EF1-A6AD-4E93-99F4-EA2F183FCF9F}"/>
                  </a:ext>
                </a:extLst>
              </p:cNvPr>
              <p:cNvSpPr/>
              <p:nvPr/>
            </p:nvSpPr>
            <p:spPr>
              <a:xfrm>
                <a:off x="5894431" y="6446469"/>
                <a:ext cx="118872" cy="118872"/>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6775" rtl="0" eaLnBrk="1" fontAlgn="auto" latinLnBrk="0" hangingPunct="1">
                  <a:lnSpc>
                    <a:spcPct val="90000"/>
                  </a:lnSpc>
                  <a:spcBef>
                    <a:spcPts val="800"/>
                  </a:spcBef>
                  <a:spcAft>
                    <a:spcPts val="0"/>
                  </a:spcAft>
                  <a:buClrTx/>
                  <a:buSzTx/>
                  <a:buFontTx/>
                  <a:buNone/>
                  <a:tabLst/>
                  <a:defRPr/>
                </a:pPr>
                <a:endParaRPr kumimoji="0" lang="en-US" sz="2200" b="0" i="0" u="none" strike="noStrike" kern="1200" cap="none" spc="0" normalizeH="0" baseline="0" noProof="0" dirty="0">
                  <a:ln>
                    <a:noFill/>
                  </a:ln>
                  <a:solidFill>
                    <a:srgbClr val="FFFFFF"/>
                  </a:solidFill>
                  <a:effectLst/>
                  <a:uLnTx/>
                  <a:uFillTx/>
                  <a:latin typeface="PTCRaleway" panose="020B0503030101060003" pitchFamily="34" charset="0"/>
                  <a:ea typeface="+mn-ea"/>
                  <a:cs typeface="+mn-cs"/>
                </a:endParaRPr>
              </a:p>
            </p:txBody>
          </p:sp>
          <p:cxnSp>
            <p:nvCxnSpPr>
              <p:cNvPr id="688" name="Straight Connector 687">
                <a:extLst>
                  <a:ext uri="{FF2B5EF4-FFF2-40B4-BE49-F238E27FC236}">
                    <a16:creationId xmlns:a16="http://schemas.microsoft.com/office/drawing/2014/main" id="{759E1743-BD46-4516-8376-05F63790CCE5}"/>
                  </a:ext>
                </a:extLst>
              </p:cNvPr>
              <p:cNvCxnSpPr>
                <a:cxnSpLocks/>
                <a:endCxn id="687" idx="0"/>
              </p:cNvCxnSpPr>
              <p:nvPr/>
            </p:nvCxnSpPr>
            <p:spPr>
              <a:xfrm>
                <a:off x="5951040" y="732238"/>
                <a:ext cx="2827" cy="5714231"/>
              </a:xfrm>
              <a:prstGeom prst="line">
                <a:avLst/>
              </a:prstGeom>
              <a:ln w="25400">
                <a:solidFill>
                  <a:schemeClr val="bg2"/>
                </a:solidFill>
              </a:ln>
            </p:spPr>
            <p:style>
              <a:lnRef idx="1">
                <a:schemeClr val="accent1"/>
              </a:lnRef>
              <a:fillRef idx="0">
                <a:schemeClr val="accent1"/>
              </a:fillRef>
              <a:effectRef idx="0">
                <a:schemeClr val="accent1"/>
              </a:effectRef>
              <a:fontRef idx="minor">
                <a:schemeClr val="tx1"/>
              </a:fontRef>
            </p:style>
          </p:cxnSp>
          <p:sp>
            <p:nvSpPr>
              <p:cNvPr id="689" name="TextBox 688">
                <a:extLst>
                  <a:ext uri="{FF2B5EF4-FFF2-40B4-BE49-F238E27FC236}">
                    <a16:creationId xmlns:a16="http://schemas.microsoft.com/office/drawing/2014/main" id="{B90A6062-FAA9-49EF-9C93-8B1B38D0F4D6}"/>
                  </a:ext>
                </a:extLst>
              </p:cNvPr>
              <p:cNvSpPr txBox="1"/>
              <p:nvPr/>
            </p:nvSpPr>
            <p:spPr>
              <a:xfrm>
                <a:off x="5676900" y="328764"/>
                <a:ext cx="504825" cy="190500"/>
              </a:xfrm>
              <a:prstGeom prst="rect">
                <a:avLst/>
              </a:prstGeom>
            </p:spPr>
            <p:txBody>
              <a:bodyPr vert="horz" wrap="square" lIns="91440" tIns="45720" rIns="91440" bIns="45720" rtlCol="0">
                <a:noAutofit/>
              </a:bodyPr>
              <a:lstStyle/>
              <a:p>
                <a:pPr marL="0" marR="0" lvl="0" indent="0" algn="ctr" defTabSz="1086775" rtl="0" eaLnBrk="1" fontAlgn="auto" latinLnBrk="0" hangingPunct="1">
                  <a:lnSpc>
                    <a:spcPct val="90000"/>
                  </a:lnSpc>
                  <a:spcBef>
                    <a:spcPts val="800"/>
                  </a:spcBef>
                  <a:spcAft>
                    <a:spcPts val="0"/>
                  </a:spcAft>
                  <a:buClrTx/>
                  <a:buSzTx/>
                  <a:buFontTx/>
                  <a:buNone/>
                  <a:tabLst/>
                  <a:defRPr/>
                </a:pPr>
                <a:r>
                  <a:rPr kumimoji="0" lang="en-US" sz="2000" b="1"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rPr>
                  <a:t>T5</a:t>
                </a:r>
              </a:p>
            </p:txBody>
          </p:sp>
        </p:grpSp>
        <p:grpSp>
          <p:nvGrpSpPr>
            <p:cNvPr id="690" name="Group 689">
              <a:extLst>
                <a:ext uri="{FF2B5EF4-FFF2-40B4-BE49-F238E27FC236}">
                  <a16:creationId xmlns:a16="http://schemas.microsoft.com/office/drawing/2014/main" id="{AE255F41-704D-4BB0-8C71-349AC654B24F}"/>
                </a:ext>
              </a:extLst>
            </p:cNvPr>
            <p:cNvGrpSpPr/>
            <p:nvPr/>
          </p:nvGrpSpPr>
          <p:grpSpPr>
            <a:xfrm>
              <a:off x="4375150" y="328764"/>
              <a:ext cx="504825" cy="2694302"/>
              <a:chOff x="4324350" y="328764"/>
              <a:chExt cx="504825" cy="2694302"/>
            </a:xfrm>
          </p:grpSpPr>
          <p:sp>
            <p:nvSpPr>
              <p:cNvPr id="691" name="Oval 690">
                <a:extLst>
                  <a:ext uri="{FF2B5EF4-FFF2-40B4-BE49-F238E27FC236}">
                    <a16:creationId xmlns:a16="http://schemas.microsoft.com/office/drawing/2014/main" id="{F0088C83-3250-4620-9F1D-E3E26A1CD72A}"/>
                  </a:ext>
                </a:extLst>
              </p:cNvPr>
              <p:cNvSpPr/>
              <p:nvPr/>
            </p:nvSpPr>
            <p:spPr>
              <a:xfrm>
                <a:off x="4519146" y="664895"/>
                <a:ext cx="118872" cy="118872"/>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6775" rtl="0" eaLnBrk="1" fontAlgn="auto" latinLnBrk="0" hangingPunct="1">
                  <a:lnSpc>
                    <a:spcPct val="90000"/>
                  </a:lnSpc>
                  <a:spcBef>
                    <a:spcPts val="800"/>
                  </a:spcBef>
                  <a:spcAft>
                    <a:spcPts val="0"/>
                  </a:spcAft>
                  <a:buClrTx/>
                  <a:buSzTx/>
                  <a:buFontTx/>
                  <a:buNone/>
                  <a:tabLst/>
                  <a:defRPr/>
                </a:pPr>
                <a:endParaRPr kumimoji="0" lang="en-US" sz="2200" b="0" i="0" u="none" strike="noStrike" kern="1200" cap="none" spc="0" normalizeH="0" baseline="0" noProof="0" dirty="0">
                  <a:ln>
                    <a:noFill/>
                  </a:ln>
                  <a:solidFill>
                    <a:srgbClr val="FFFFFF"/>
                  </a:solidFill>
                  <a:effectLst/>
                  <a:uLnTx/>
                  <a:uFillTx/>
                  <a:latin typeface="PTCRaleway" panose="020B0503030101060003" pitchFamily="34" charset="0"/>
                  <a:ea typeface="+mn-ea"/>
                  <a:cs typeface="+mn-cs"/>
                </a:endParaRPr>
              </a:p>
            </p:txBody>
          </p:sp>
          <p:sp>
            <p:nvSpPr>
              <p:cNvPr id="692" name="Oval 691">
                <a:extLst>
                  <a:ext uri="{FF2B5EF4-FFF2-40B4-BE49-F238E27FC236}">
                    <a16:creationId xmlns:a16="http://schemas.microsoft.com/office/drawing/2014/main" id="{2144294D-6218-48EC-AFB4-35B872728631}"/>
                  </a:ext>
                </a:extLst>
              </p:cNvPr>
              <p:cNvSpPr/>
              <p:nvPr/>
            </p:nvSpPr>
            <p:spPr>
              <a:xfrm>
                <a:off x="4519152" y="816230"/>
                <a:ext cx="118872" cy="118872"/>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6775" rtl="0" eaLnBrk="1" fontAlgn="auto" latinLnBrk="0" hangingPunct="1">
                  <a:lnSpc>
                    <a:spcPct val="90000"/>
                  </a:lnSpc>
                  <a:spcBef>
                    <a:spcPts val="800"/>
                  </a:spcBef>
                  <a:spcAft>
                    <a:spcPts val="0"/>
                  </a:spcAft>
                  <a:buClrTx/>
                  <a:buSzTx/>
                  <a:buFontTx/>
                  <a:buNone/>
                  <a:tabLst/>
                  <a:defRPr/>
                </a:pPr>
                <a:endParaRPr kumimoji="0" lang="en-US" sz="2200" b="0" i="0" u="none" strike="noStrike" kern="1200" cap="none" spc="0" normalizeH="0" baseline="0" noProof="0" dirty="0">
                  <a:ln>
                    <a:noFill/>
                  </a:ln>
                  <a:solidFill>
                    <a:srgbClr val="FFFFFF"/>
                  </a:solidFill>
                  <a:effectLst/>
                  <a:uLnTx/>
                  <a:uFillTx/>
                  <a:latin typeface="PTCRaleway" panose="020B0503030101060003" pitchFamily="34" charset="0"/>
                  <a:ea typeface="+mn-ea"/>
                  <a:cs typeface="+mn-cs"/>
                </a:endParaRPr>
              </a:p>
            </p:txBody>
          </p:sp>
          <p:sp>
            <p:nvSpPr>
              <p:cNvPr id="693" name="Oval 692">
                <a:extLst>
                  <a:ext uri="{FF2B5EF4-FFF2-40B4-BE49-F238E27FC236}">
                    <a16:creationId xmlns:a16="http://schemas.microsoft.com/office/drawing/2014/main" id="{5344206C-EFB9-4546-A350-386492764C34}"/>
                  </a:ext>
                </a:extLst>
              </p:cNvPr>
              <p:cNvSpPr/>
              <p:nvPr/>
            </p:nvSpPr>
            <p:spPr>
              <a:xfrm>
                <a:off x="4519152" y="955836"/>
                <a:ext cx="118872" cy="118872"/>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6775" rtl="0" eaLnBrk="1" fontAlgn="auto" latinLnBrk="0" hangingPunct="1">
                  <a:lnSpc>
                    <a:spcPct val="90000"/>
                  </a:lnSpc>
                  <a:spcBef>
                    <a:spcPts val="800"/>
                  </a:spcBef>
                  <a:spcAft>
                    <a:spcPts val="0"/>
                  </a:spcAft>
                  <a:buClrTx/>
                  <a:buSzTx/>
                  <a:buFontTx/>
                  <a:buNone/>
                  <a:tabLst/>
                  <a:defRPr/>
                </a:pPr>
                <a:endParaRPr kumimoji="0" lang="en-US" sz="2200" b="0" i="0" u="none" strike="noStrike" kern="1200" cap="none" spc="0" normalizeH="0" baseline="0" noProof="0" dirty="0">
                  <a:ln>
                    <a:noFill/>
                  </a:ln>
                  <a:solidFill>
                    <a:srgbClr val="FFFFFF"/>
                  </a:solidFill>
                  <a:effectLst/>
                  <a:uLnTx/>
                  <a:uFillTx/>
                  <a:latin typeface="PTCRaleway" panose="020B0503030101060003" pitchFamily="34" charset="0"/>
                  <a:ea typeface="+mn-ea"/>
                  <a:cs typeface="+mn-cs"/>
                </a:endParaRPr>
              </a:p>
            </p:txBody>
          </p:sp>
          <p:sp>
            <p:nvSpPr>
              <p:cNvPr id="694" name="Oval 693">
                <a:extLst>
                  <a:ext uri="{FF2B5EF4-FFF2-40B4-BE49-F238E27FC236}">
                    <a16:creationId xmlns:a16="http://schemas.microsoft.com/office/drawing/2014/main" id="{B17CCA1C-C337-4F27-977A-1BD4D2B1E673}"/>
                  </a:ext>
                </a:extLst>
              </p:cNvPr>
              <p:cNvSpPr/>
              <p:nvPr/>
            </p:nvSpPr>
            <p:spPr>
              <a:xfrm>
                <a:off x="4519146" y="1108236"/>
                <a:ext cx="118872" cy="118872"/>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6775" rtl="0" eaLnBrk="1" fontAlgn="auto" latinLnBrk="0" hangingPunct="1">
                  <a:lnSpc>
                    <a:spcPct val="90000"/>
                  </a:lnSpc>
                  <a:spcBef>
                    <a:spcPts val="800"/>
                  </a:spcBef>
                  <a:spcAft>
                    <a:spcPts val="0"/>
                  </a:spcAft>
                  <a:buClrTx/>
                  <a:buSzTx/>
                  <a:buFontTx/>
                  <a:buNone/>
                  <a:tabLst/>
                  <a:defRPr/>
                </a:pPr>
                <a:endParaRPr kumimoji="0" lang="en-US" sz="2200" b="0" i="0" u="none" strike="noStrike" kern="1200" cap="none" spc="0" normalizeH="0" baseline="0" noProof="0" dirty="0">
                  <a:ln>
                    <a:noFill/>
                  </a:ln>
                  <a:solidFill>
                    <a:srgbClr val="FFFFFF"/>
                  </a:solidFill>
                  <a:effectLst/>
                  <a:uLnTx/>
                  <a:uFillTx/>
                  <a:latin typeface="PTCRaleway" panose="020B0503030101060003" pitchFamily="34" charset="0"/>
                  <a:ea typeface="+mn-ea"/>
                  <a:cs typeface="+mn-cs"/>
                </a:endParaRPr>
              </a:p>
            </p:txBody>
          </p:sp>
          <p:sp>
            <p:nvSpPr>
              <p:cNvPr id="695" name="Oval 694">
                <a:extLst>
                  <a:ext uri="{FF2B5EF4-FFF2-40B4-BE49-F238E27FC236}">
                    <a16:creationId xmlns:a16="http://schemas.microsoft.com/office/drawing/2014/main" id="{2A88BA92-F2E3-43A2-A48F-1A20C661BBCA}"/>
                  </a:ext>
                </a:extLst>
              </p:cNvPr>
              <p:cNvSpPr/>
              <p:nvPr/>
            </p:nvSpPr>
            <p:spPr>
              <a:xfrm>
                <a:off x="4517876" y="1268145"/>
                <a:ext cx="118872" cy="118872"/>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6775" rtl="0" eaLnBrk="1" fontAlgn="auto" latinLnBrk="0" hangingPunct="1">
                  <a:lnSpc>
                    <a:spcPct val="90000"/>
                  </a:lnSpc>
                  <a:spcBef>
                    <a:spcPts val="800"/>
                  </a:spcBef>
                  <a:spcAft>
                    <a:spcPts val="0"/>
                  </a:spcAft>
                  <a:buClrTx/>
                  <a:buSzTx/>
                  <a:buFontTx/>
                  <a:buNone/>
                  <a:tabLst/>
                  <a:defRPr/>
                </a:pPr>
                <a:endParaRPr kumimoji="0" lang="en-US" sz="2200" b="0" i="0" u="none" strike="noStrike" kern="1200" cap="none" spc="0" normalizeH="0" baseline="0" noProof="0" dirty="0">
                  <a:ln>
                    <a:noFill/>
                  </a:ln>
                  <a:solidFill>
                    <a:srgbClr val="FFFFFF"/>
                  </a:solidFill>
                  <a:effectLst/>
                  <a:uLnTx/>
                  <a:uFillTx/>
                  <a:latin typeface="PTCRaleway" panose="020B0503030101060003" pitchFamily="34" charset="0"/>
                  <a:ea typeface="+mn-ea"/>
                  <a:cs typeface="+mn-cs"/>
                </a:endParaRPr>
              </a:p>
            </p:txBody>
          </p:sp>
          <p:sp>
            <p:nvSpPr>
              <p:cNvPr id="696" name="Oval 695">
                <a:extLst>
                  <a:ext uri="{FF2B5EF4-FFF2-40B4-BE49-F238E27FC236}">
                    <a16:creationId xmlns:a16="http://schemas.microsoft.com/office/drawing/2014/main" id="{DAC525A9-D9B1-4751-9222-FED51B820947}"/>
                  </a:ext>
                </a:extLst>
              </p:cNvPr>
              <p:cNvSpPr/>
              <p:nvPr/>
            </p:nvSpPr>
            <p:spPr>
              <a:xfrm>
                <a:off x="4519152" y="1419480"/>
                <a:ext cx="118872" cy="118872"/>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6775" rtl="0" eaLnBrk="1" fontAlgn="auto" latinLnBrk="0" hangingPunct="1">
                  <a:lnSpc>
                    <a:spcPct val="90000"/>
                  </a:lnSpc>
                  <a:spcBef>
                    <a:spcPts val="800"/>
                  </a:spcBef>
                  <a:spcAft>
                    <a:spcPts val="0"/>
                  </a:spcAft>
                  <a:buClrTx/>
                  <a:buSzTx/>
                  <a:buFontTx/>
                  <a:buNone/>
                  <a:tabLst/>
                  <a:defRPr/>
                </a:pPr>
                <a:endParaRPr kumimoji="0" lang="en-US" sz="2200" b="0" i="0" u="none" strike="noStrike" kern="1200" cap="none" spc="0" normalizeH="0" baseline="0" noProof="0" dirty="0">
                  <a:ln>
                    <a:noFill/>
                  </a:ln>
                  <a:solidFill>
                    <a:srgbClr val="FFFFFF"/>
                  </a:solidFill>
                  <a:effectLst/>
                  <a:uLnTx/>
                  <a:uFillTx/>
                  <a:latin typeface="PTCRaleway" panose="020B0503030101060003" pitchFamily="34" charset="0"/>
                  <a:ea typeface="+mn-ea"/>
                  <a:cs typeface="+mn-cs"/>
                </a:endParaRPr>
              </a:p>
            </p:txBody>
          </p:sp>
          <p:sp>
            <p:nvSpPr>
              <p:cNvPr id="697" name="Oval 696">
                <a:extLst>
                  <a:ext uri="{FF2B5EF4-FFF2-40B4-BE49-F238E27FC236}">
                    <a16:creationId xmlns:a16="http://schemas.microsoft.com/office/drawing/2014/main" id="{52098CB2-2527-4416-BB60-A3ED3FD41439}"/>
                  </a:ext>
                </a:extLst>
              </p:cNvPr>
              <p:cNvSpPr/>
              <p:nvPr/>
            </p:nvSpPr>
            <p:spPr>
              <a:xfrm>
                <a:off x="4519152" y="1559086"/>
                <a:ext cx="118872" cy="118872"/>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6775" rtl="0" eaLnBrk="1" fontAlgn="auto" latinLnBrk="0" hangingPunct="1">
                  <a:lnSpc>
                    <a:spcPct val="90000"/>
                  </a:lnSpc>
                  <a:spcBef>
                    <a:spcPts val="800"/>
                  </a:spcBef>
                  <a:spcAft>
                    <a:spcPts val="0"/>
                  </a:spcAft>
                  <a:buClrTx/>
                  <a:buSzTx/>
                  <a:buFontTx/>
                  <a:buNone/>
                  <a:tabLst/>
                  <a:defRPr/>
                </a:pPr>
                <a:endParaRPr kumimoji="0" lang="en-US" sz="2200" b="0" i="0" u="none" strike="noStrike" kern="1200" cap="none" spc="0" normalizeH="0" baseline="0" noProof="0" dirty="0">
                  <a:ln>
                    <a:noFill/>
                  </a:ln>
                  <a:solidFill>
                    <a:srgbClr val="FFFFFF"/>
                  </a:solidFill>
                  <a:effectLst/>
                  <a:uLnTx/>
                  <a:uFillTx/>
                  <a:latin typeface="PTCRaleway" panose="020B0503030101060003" pitchFamily="34" charset="0"/>
                  <a:ea typeface="+mn-ea"/>
                  <a:cs typeface="+mn-cs"/>
                </a:endParaRPr>
              </a:p>
            </p:txBody>
          </p:sp>
          <p:sp>
            <p:nvSpPr>
              <p:cNvPr id="698" name="Oval 697">
                <a:extLst>
                  <a:ext uri="{FF2B5EF4-FFF2-40B4-BE49-F238E27FC236}">
                    <a16:creationId xmlns:a16="http://schemas.microsoft.com/office/drawing/2014/main" id="{81ECB6D4-BA54-4D03-9016-40A9965DF9D7}"/>
                  </a:ext>
                </a:extLst>
              </p:cNvPr>
              <p:cNvSpPr/>
              <p:nvPr/>
            </p:nvSpPr>
            <p:spPr>
              <a:xfrm>
                <a:off x="4519146" y="1699895"/>
                <a:ext cx="118872" cy="118872"/>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6775" rtl="0" eaLnBrk="1" fontAlgn="auto" latinLnBrk="0" hangingPunct="1">
                  <a:lnSpc>
                    <a:spcPct val="90000"/>
                  </a:lnSpc>
                  <a:spcBef>
                    <a:spcPts val="800"/>
                  </a:spcBef>
                  <a:spcAft>
                    <a:spcPts val="0"/>
                  </a:spcAft>
                  <a:buClrTx/>
                  <a:buSzTx/>
                  <a:buFontTx/>
                  <a:buNone/>
                  <a:tabLst/>
                  <a:defRPr/>
                </a:pPr>
                <a:endParaRPr kumimoji="0" lang="en-US" sz="2200" b="0" i="0" u="none" strike="noStrike" kern="1200" cap="none" spc="0" normalizeH="0" baseline="0" noProof="0" dirty="0">
                  <a:ln>
                    <a:noFill/>
                  </a:ln>
                  <a:solidFill>
                    <a:srgbClr val="FFFFFF"/>
                  </a:solidFill>
                  <a:effectLst/>
                  <a:uLnTx/>
                  <a:uFillTx/>
                  <a:latin typeface="PTCRaleway" panose="020B0503030101060003" pitchFamily="34" charset="0"/>
                  <a:ea typeface="+mn-ea"/>
                  <a:cs typeface="+mn-cs"/>
                </a:endParaRPr>
              </a:p>
            </p:txBody>
          </p:sp>
          <p:sp>
            <p:nvSpPr>
              <p:cNvPr id="699" name="Oval 698">
                <a:extLst>
                  <a:ext uri="{FF2B5EF4-FFF2-40B4-BE49-F238E27FC236}">
                    <a16:creationId xmlns:a16="http://schemas.microsoft.com/office/drawing/2014/main" id="{B9FD1AB6-34FE-4857-9302-E06D88D12861}"/>
                  </a:ext>
                </a:extLst>
              </p:cNvPr>
              <p:cNvSpPr/>
              <p:nvPr/>
            </p:nvSpPr>
            <p:spPr>
              <a:xfrm>
                <a:off x="4519146" y="1849805"/>
                <a:ext cx="118872" cy="118872"/>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6775" rtl="0" eaLnBrk="1" fontAlgn="auto" latinLnBrk="0" hangingPunct="1">
                  <a:lnSpc>
                    <a:spcPct val="90000"/>
                  </a:lnSpc>
                  <a:spcBef>
                    <a:spcPts val="800"/>
                  </a:spcBef>
                  <a:spcAft>
                    <a:spcPts val="0"/>
                  </a:spcAft>
                  <a:buClrTx/>
                  <a:buSzTx/>
                  <a:buFontTx/>
                  <a:buNone/>
                  <a:tabLst/>
                  <a:defRPr/>
                </a:pPr>
                <a:endParaRPr kumimoji="0" lang="en-US" sz="2200" b="0" i="0" u="none" strike="noStrike" kern="1200" cap="none" spc="0" normalizeH="0" baseline="0" noProof="0" dirty="0">
                  <a:ln>
                    <a:noFill/>
                  </a:ln>
                  <a:solidFill>
                    <a:srgbClr val="FFFFFF"/>
                  </a:solidFill>
                  <a:effectLst/>
                  <a:uLnTx/>
                  <a:uFillTx/>
                  <a:latin typeface="PTCRaleway" panose="020B0503030101060003" pitchFamily="34" charset="0"/>
                  <a:ea typeface="+mn-ea"/>
                  <a:cs typeface="+mn-cs"/>
                </a:endParaRPr>
              </a:p>
            </p:txBody>
          </p:sp>
          <p:sp>
            <p:nvSpPr>
              <p:cNvPr id="700" name="Oval 699">
                <a:extLst>
                  <a:ext uri="{FF2B5EF4-FFF2-40B4-BE49-F238E27FC236}">
                    <a16:creationId xmlns:a16="http://schemas.microsoft.com/office/drawing/2014/main" id="{EAAD3FB7-8C1A-403D-83E3-53341A479F32}"/>
                  </a:ext>
                </a:extLst>
              </p:cNvPr>
              <p:cNvSpPr/>
              <p:nvPr/>
            </p:nvSpPr>
            <p:spPr>
              <a:xfrm>
                <a:off x="4519152" y="2001140"/>
                <a:ext cx="118872" cy="118872"/>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6775" rtl="0" eaLnBrk="1" fontAlgn="auto" latinLnBrk="0" hangingPunct="1">
                  <a:lnSpc>
                    <a:spcPct val="90000"/>
                  </a:lnSpc>
                  <a:spcBef>
                    <a:spcPts val="800"/>
                  </a:spcBef>
                  <a:spcAft>
                    <a:spcPts val="0"/>
                  </a:spcAft>
                  <a:buClrTx/>
                  <a:buSzTx/>
                  <a:buFontTx/>
                  <a:buNone/>
                  <a:tabLst/>
                  <a:defRPr/>
                </a:pPr>
                <a:endParaRPr kumimoji="0" lang="en-US" sz="2200" b="0" i="0" u="none" strike="noStrike" kern="1200" cap="none" spc="0" normalizeH="0" baseline="0" noProof="0" dirty="0">
                  <a:ln>
                    <a:noFill/>
                  </a:ln>
                  <a:solidFill>
                    <a:srgbClr val="FFFFFF"/>
                  </a:solidFill>
                  <a:effectLst/>
                  <a:uLnTx/>
                  <a:uFillTx/>
                  <a:latin typeface="PTCRaleway" panose="020B0503030101060003" pitchFamily="34" charset="0"/>
                  <a:ea typeface="+mn-ea"/>
                  <a:cs typeface="+mn-cs"/>
                </a:endParaRPr>
              </a:p>
            </p:txBody>
          </p:sp>
          <p:sp>
            <p:nvSpPr>
              <p:cNvPr id="701" name="Oval 700">
                <a:extLst>
                  <a:ext uri="{FF2B5EF4-FFF2-40B4-BE49-F238E27FC236}">
                    <a16:creationId xmlns:a16="http://schemas.microsoft.com/office/drawing/2014/main" id="{CAF39FAB-80ED-432A-B335-26356938B718}"/>
                  </a:ext>
                </a:extLst>
              </p:cNvPr>
              <p:cNvSpPr/>
              <p:nvPr/>
            </p:nvSpPr>
            <p:spPr>
              <a:xfrm>
                <a:off x="4519152" y="2140746"/>
                <a:ext cx="118872" cy="118872"/>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6775" rtl="0" eaLnBrk="1" fontAlgn="auto" latinLnBrk="0" hangingPunct="1">
                  <a:lnSpc>
                    <a:spcPct val="90000"/>
                  </a:lnSpc>
                  <a:spcBef>
                    <a:spcPts val="800"/>
                  </a:spcBef>
                  <a:spcAft>
                    <a:spcPts val="0"/>
                  </a:spcAft>
                  <a:buClrTx/>
                  <a:buSzTx/>
                  <a:buFontTx/>
                  <a:buNone/>
                  <a:tabLst/>
                  <a:defRPr/>
                </a:pPr>
                <a:endParaRPr kumimoji="0" lang="en-US" sz="2200" b="0" i="0" u="none" strike="noStrike" kern="1200" cap="none" spc="0" normalizeH="0" baseline="0" noProof="0" dirty="0">
                  <a:ln>
                    <a:noFill/>
                  </a:ln>
                  <a:solidFill>
                    <a:srgbClr val="FFFFFF"/>
                  </a:solidFill>
                  <a:effectLst/>
                  <a:uLnTx/>
                  <a:uFillTx/>
                  <a:latin typeface="PTCRaleway" panose="020B0503030101060003" pitchFamily="34" charset="0"/>
                  <a:ea typeface="+mn-ea"/>
                  <a:cs typeface="+mn-cs"/>
                </a:endParaRPr>
              </a:p>
            </p:txBody>
          </p:sp>
          <p:sp>
            <p:nvSpPr>
              <p:cNvPr id="702" name="Oval 701">
                <a:extLst>
                  <a:ext uri="{FF2B5EF4-FFF2-40B4-BE49-F238E27FC236}">
                    <a16:creationId xmlns:a16="http://schemas.microsoft.com/office/drawing/2014/main" id="{84E59BC4-00D9-497E-8F60-BAC5143A4744}"/>
                  </a:ext>
                </a:extLst>
              </p:cNvPr>
              <p:cNvSpPr/>
              <p:nvPr/>
            </p:nvSpPr>
            <p:spPr>
              <a:xfrm>
                <a:off x="4519146" y="2293146"/>
                <a:ext cx="118872" cy="118872"/>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6775" rtl="0" eaLnBrk="1" fontAlgn="auto" latinLnBrk="0" hangingPunct="1">
                  <a:lnSpc>
                    <a:spcPct val="90000"/>
                  </a:lnSpc>
                  <a:spcBef>
                    <a:spcPts val="800"/>
                  </a:spcBef>
                  <a:spcAft>
                    <a:spcPts val="0"/>
                  </a:spcAft>
                  <a:buClrTx/>
                  <a:buSzTx/>
                  <a:buFontTx/>
                  <a:buNone/>
                  <a:tabLst/>
                  <a:defRPr/>
                </a:pPr>
                <a:endParaRPr kumimoji="0" lang="en-US" sz="2200" b="0" i="0" u="none" strike="noStrike" kern="1200" cap="none" spc="0" normalizeH="0" baseline="0" noProof="0" dirty="0">
                  <a:ln>
                    <a:noFill/>
                  </a:ln>
                  <a:solidFill>
                    <a:srgbClr val="FFFFFF"/>
                  </a:solidFill>
                  <a:effectLst/>
                  <a:uLnTx/>
                  <a:uFillTx/>
                  <a:latin typeface="PTCRaleway" panose="020B0503030101060003" pitchFamily="34" charset="0"/>
                  <a:ea typeface="+mn-ea"/>
                  <a:cs typeface="+mn-cs"/>
                </a:endParaRPr>
              </a:p>
            </p:txBody>
          </p:sp>
          <p:sp>
            <p:nvSpPr>
              <p:cNvPr id="703" name="Oval 702">
                <a:extLst>
                  <a:ext uri="{FF2B5EF4-FFF2-40B4-BE49-F238E27FC236}">
                    <a16:creationId xmlns:a16="http://schemas.microsoft.com/office/drawing/2014/main" id="{7A0EE5F7-B37D-4D61-A0E1-414E52132276}"/>
                  </a:ext>
                </a:extLst>
              </p:cNvPr>
              <p:cNvSpPr/>
              <p:nvPr/>
            </p:nvSpPr>
            <p:spPr>
              <a:xfrm>
                <a:off x="4517876" y="2453055"/>
                <a:ext cx="118872" cy="118872"/>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6775" rtl="0" eaLnBrk="1" fontAlgn="auto" latinLnBrk="0" hangingPunct="1">
                  <a:lnSpc>
                    <a:spcPct val="90000"/>
                  </a:lnSpc>
                  <a:spcBef>
                    <a:spcPts val="800"/>
                  </a:spcBef>
                  <a:spcAft>
                    <a:spcPts val="0"/>
                  </a:spcAft>
                  <a:buClrTx/>
                  <a:buSzTx/>
                  <a:buFontTx/>
                  <a:buNone/>
                  <a:tabLst/>
                  <a:defRPr/>
                </a:pPr>
                <a:endParaRPr kumimoji="0" lang="en-US" sz="2200" b="0" i="0" u="none" strike="noStrike" kern="1200" cap="none" spc="0" normalizeH="0" baseline="0" noProof="0" dirty="0">
                  <a:ln>
                    <a:noFill/>
                  </a:ln>
                  <a:solidFill>
                    <a:srgbClr val="FFFFFF"/>
                  </a:solidFill>
                  <a:effectLst/>
                  <a:uLnTx/>
                  <a:uFillTx/>
                  <a:latin typeface="PTCRaleway" panose="020B0503030101060003" pitchFamily="34" charset="0"/>
                  <a:ea typeface="+mn-ea"/>
                  <a:cs typeface="+mn-cs"/>
                </a:endParaRPr>
              </a:p>
            </p:txBody>
          </p:sp>
          <p:sp>
            <p:nvSpPr>
              <p:cNvPr id="704" name="Oval 703">
                <a:extLst>
                  <a:ext uri="{FF2B5EF4-FFF2-40B4-BE49-F238E27FC236}">
                    <a16:creationId xmlns:a16="http://schemas.microsoft.com/office/drawing/2014/main" id="{43E3E3CE-ADF0-42CD-80CF-E34568ACBC78}"/>
                  </a:ext>
                </a:extLst>
              </p:cNvPr>
              <p:cNvSpPr/>
              <p:nvPr/>
            </p:nvSpPr>
            <p:spPr>
              <a:xfrm>
                <a:off x="4515176" y="2596438"/>
                <a:ext cx="118872" cy="118872"/>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6775" rtl="0" eaLnBrk="1" fontAlgn="auto" latinLnBrk="0" hangingPunct="1">
                  <a:lnSpc>
                    <a:spcPct val="90000"/>
                  </a:lnSpc>
                  <a:spcBef>
                    <a:spcPts val="800"/>
                  </a:spcBef>
                  <a:spcAft>
                    <a:spcPts val="0"/>
                  </a:spcAft>
                  <a:buClrTx/>
                  <a:buSzTx/>
                  <a:buFontTx/>
                  <a:buNone/>
                  <a:tabLst/>
                  <a:defRPr/>
                </a:pPr>
                <a:endParaRPr kumimoji="0" lang="en-US" sz="2200" b="0" i="0" u="none" strike="noStrike" kern="1200" cap="none" spc="0" normalizeH="0" baseline="0" noProof="0" dirty="0">
                  <a:ln>
                    <a:noFill/>
                  </a:ln>
                  <a:solidFill>
                    <a:srgbClr val="FFFFFF"/>
                  </a:solidFill>
                  <a:effectLst/>
                  <a:uLnTx/>
                  <a:uFillTx/>
                  <a:latin typeface="PTCRaleway" panose="020B0503030101060003" pitchFamily="34" charset="0"/>
                  <a:ea typeface="+mn-ea"/>
                  <a:cs typeface="+mn-cs"/>
                </a:endParaRPr>
              </a:p>
            </p:txBody>
          </p:sp>
          <p:cxnSp>
            <p:nvCxnSpPr>
              <p:cNvPr id="705" name="Straight Connector 704">
                <a:extLst>
                  <a:ext uri="{FF2B5EF4-FFF2-40B4-BE49-F238E27FC236}">
                    <a16:creationId xmlns:a16="http://schemas.microsoft.com/office/drawing/2014/main" id="{14187FB8-BC70-4DBA-B7B6-699B4B8FDF57}"/>
                  </a:ext>
                </a:extLst>
              </p:cNvPr>
              <p:cNvCxnSpPr>
                <a:cxnSpLocks/>
                <a:stCxn id="691" idx="0"/>
                <a:endCxn id="708" idx="4"/>
              </p:cNvCxnSpPr>
              <p:nvPr/>
            </p:nvCxnSpPr>
            <p:spPr>
              <a:xfrm flipH="1">
                <a:off x="4575186" y="664895"/>
                <a:ext cx="3396" cy="2286000"/>
              </a:xfrm>
              <a:prstGeom prst="line">
                <a:avLst/>
              </a:prstGeom>
              <a:ln w="25400">
                <a:solidFill>
                  <a:schemeClr val="bg2"/>
                </a:solidFill>
              </a:ln>
            </p:spPr>
            <p:style>
              <a:lnRef idx="1">
                <a:schemeClr val="accent1"/>
              </a:lnRef>
              <a:fillRef idx="0">
                <a:schemeClr val="accent1"/>
              </a:fillRef>
              <a:effectRef idx="0">
                <a:schemeClr val="accent1"/>
              </a:effectRef>
              <a:fontRef idx="minor">
                <a:schemeClr val="tx1"/>
              </a:fontRef>
            </p:style>
          </p:cxnSp>
          <p:sp>
            <p:nvSpPr>
              <p:cNvPr id="706" name="TextBox 705">
                <a:extLst>
                  <a:ext uri="{FF2B5EF4-FFF2-40B4-BE49-F238E27FC236}">
                    <a16:creationId xmlns:a16="http://schemas.microsoft.com/office/drawing/2014/main" id="{85C33CF8-2625-4CFE-B7FD-62C5534B045E}"/>
                  </a:ext>
                </a:extLst>
              </p:cNvPr>
              <p:cNvSpPr txBox="1"/>
              <p:nvPr/>
            </p:nvSpPr>
            <p:spPr>
              <a:xfrm>
                <a:off x="4324350" y="328764"/>
                <a:ext cx="504825" cy="190500"/>
              </a:xfrm>
              <a:prstGeom prst="rect">
                <a:avLst/>
              </a:prstGeom>
            </p:spPr>
            <p:txBody>
              <a:bodyPr vert="horz" wrap="square" lIns="91440" tIns="45720" rIns="91440" bIns="45720" rtlCol="0">
                <a:noAutofit/>
              </a:bodyPr>
              <a:lstStyle/>
              <a:p>
                <a:pPr marL="0" marR="0" lvl="0" indent="0" algn="ctr" defTabSz="1086775" rtl="0" eaLnBrk="1" fontAlgn="auto" latinLnBrk="0" hangingPunct="1">
                  <a:lnSpc>
                    <a:spcPct val="90000"/>
                  </a:lnSpc>
                  <a:spcBef>
                    <a:spcPts val="800"/>
                  </a:spcBef>
                  <a:spcAft>
                    <a:spcPts val="0"/>
                  </a:spcAft>
                  <a:buClrTx/>
                  <a:buSzTx/>
                  <a:buFontTx/>
                  <a:buNone/>
                  <a:tabLst/>
                  <a:defRPr/>
                </a:pPr>
                <a:r>
                  <a:rPr kumimoji="0" lang="en-US" sz="2000" b="1"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rPr>
                  <a:t>T2</a:t>
                </a:r>
              </a:p>
            </p:txBody>
          </p:sp>
          <p:sp>
            <p:nvSpPr>
              <p:cNvPr id="707" name="Oval 706">
                <a:extLst>
                  <a:ext uri="{FF2B5EF4-FFF2-40B4-BE49-F238E27FC236}">
                    <a16:creationId xmlns:a16="http://schemas.microsoft.com/office/drawing/2014/main" id="{F3DAAA33-E1EC-4CAA-AC09-EA6BA5D27345}"/>
                  </a:ext>
                </a:extLst>
              </p:cNvPr>
              <p:cNvSpPr/>
              <p:nvPr/>
            </p:nvSpPr>
            <p:spPr>
              <a:xfrm>
                <a:off x="4517177" y="2746478"/>
                <a:ext cx="118872" cy="118872"/>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6775" rtl="0" eaLnBrk="1" fontAlgn="auto" latinLnBrk="0" hangingPunct="1">
                  <a:lnSpc>
                    <a:spcPct val="90000"/>
                  </a:lnSpc>
                  <a:spcBef>
                    <a:spcPts val="800"/>
                  </a:spcBef>
                  <a:spcAft>
                    <a:spcPts val="0"/>
                  </a:spcAft>
                  <a:buClrTx/>
                  <a:buSzTx/>
                  <a:buFontTx/>
                  <a:buNone/>
                  <a:tabLst/>
                  <a:defRPr/>
                </a:pPr>
                <a:endParaRPr kumimoji="0" lang="en-US" sz="2200" b="0" i="0" u="none" strike="noStrike" kern="1200" cap="none" spc="0" normalizeH="0" baseline="0" noProof="0" dirty="0">
                  <a:ln>
                    <a:noFill/>
                  </a:ln>
                  <a:solidFill>
                    <a:srgbClr val="FFFFFF"/>
                  </a:solidFill>
                  <a:effectLst/>
                  <a:uLnTx/>
                  <a:uFillTx/>
                  <a:latin typeface="PTCRaleway" panose="020B0503030101060003" pitchFamily="34" charset="0"/>
                  <a:ea typeface="+mn-ea"/>
                  <a:cs typeface="+mn-cs"/>
                </a:endParaRPr>
              </a:p>
            </p:txBody>
          </p:sp>
          <p:sp>
            <p:nvSpPr>
              <p:cNvPr id="708" name="Oval 707">
                <a:extLst>
                  <a:ext uri="{FF2B5EF4-FFF2-40B4-BE49-F238E27FC236}">
                    <a16:creationId xmlns:a16="http://schemas.microsoft.com/office/drawing/2014/main" id="{B0E00F03-B690-4AF0-927B-78868CFB4029}"/>
                  </a:ext>
                </a:extLst>
              </p:cNvPr>
              <p:cNvSpPr/>
              <p:nvPr/>
            </p:nvSpPr>
            <p:spPr>
              <a:xfrm>
                <a:off x="4515750" y="2904194"/>
                <a:ext cx="118872" cy="118872"/>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6775" rtl="0" eaLnBrk="1" fontAlgn="auto" latinLnBrk="0" hangingPunct="1">
                  <a:lnSpc>
                    <a:spcPct val="90000"/>
                  </a:lnSpc>
                  <a:spcBef>
                    <a:spcPts val="800"/>
                  </a:spcBef>
                  <a:spcAft>
                    <a:spcPts val="0"/>
                  </a:spcAft>
                  <a:buClrTx/>
                  <a:buSzTx/>
                  <a:buFontTx/>
                  <a:buNone/>
                  <a:tabLst/>
                  <a:defRPr/>
                </a:pPr>
                <a:endParaRPr kumimoji="0" lang="en-US" sz="2200" b="0" i="0" u="none" strike="noStrike" kern="1200" cap="none" spc="0" normalizeH="0" baseline="0" noProof="0" dirty="0">
                  <a:ln>
                    <a:noFill/>
                  </a:ln>
                  <a:solidFill>
                    <a:srgbClr val="FFFFFF"/>
                  </a:solidFill>
                  <a:effectLst/>
                  <a:uLnTx/>
                  <a:uFillTx/>
                  <a:latin typeface="PTCRaleway" panose="020B0503030101060003" pitchFamily="34" charset="0"/>
                  <a:ea typeface="+mn-ea"/>
                  <a:cs typeface="+mn-cs"/>
                </a:endParaRPr>
              </a:p>
            </p:txBody>
          </p:sp>
        </p:grpSp>
        <p:grpSp>
          <p:nvGrpSpPr>
            <p:cNvPr id="709" name="Group 708">
              <a:extLst>
                <a:ext uri="{FF2B5EF4-FFF2-40B4-BE49-F238E27FC236}">
                  <a16:creationId xmlns:a16="http://schemas.microsoft.com/office/drawing/2014/main" id="{9B58ACE7-6AA6-4D32-A6A6-D6FB8632BC36}"/>
                </a:ext>
              </a:extLst>
            </p:cNvPr>
            <p:cNvGrpSpPr/>
            <p:nvPr/>
          </p:nvGrpSpPr>
          <p:grpSpPr>
            <a:xfrm>
              <a:off x="4822825" y="328764"/>
              <a:ext cx="504825" cy="4150029"/>
              <a:chOff x="4772025" y="328764"/>
              <a:chExt cx="504825" cy="4150029"/>
            </a:xfrm>
          </p:grpSpPr>
          <p:sp>
            <p:nvSpPr>
              <p:cNvPr id="710" name="Oval 709">
                <a:extLst>
                  <a:ext uri="{FF2B5EF4-FFF2-40B4-BE49-F238E27FC236}">
                    <a16:creationId xmlns:a16="http://schemas.microsoft.com/office/drawing/2014/main" id="{B56B7E85-9FA6-4D1C-925F-B642DB9BF06B}"/>
                  </a:ext>
                </a:extLst>
              </p:cNvPr>
              <p:cNvSpPr/>
              <p:nvPr/>
            </p:nvSpPr>
            <p:spPr>
              <a:xfrm>
                <a:off x="4974848" y="660414"/>
                <a:ext cx="118872" cy="118872"/>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6775" rtl="0" eaLnBrk="1" fontAlgn="auto" latinLnBrk="0" hangingPunct="1">
                  <a:lnSpc>
                    <a:spcPct val="90000"/>
                  </a:lnSpc>
                  <a:spcBef>
                    <a:spcPts val="800"/>
                  </a:spcBef>
                  <a:spcAft>
                    <a:spcPts val="0"/>
                  </a:spcAft>
                  <a:buClrTx/>
                  <a:buSzTx/>
                  <a:buFontTx/>
                  <a:buNone/>
                  <a:tabLst/>
                  <a:defRPr/>
                </a:pPr>
                <a:endParaRPr kumimoji="0" lang="en-US" sz="2200" b="0" i="0" u="none" strike="noStrike" kern="1200" cap="none" spc="0" normalizeH="0" baseline="0" noProof="0" dirty="0">
                  <a:ln>
                    <a:noFill/>
                  </a:ln>
                  <a:solidFill>
                    <a:srgbClr val="FFFFFF"/>
                  </a:solidFill>
                  <a:effectLst/>
                  <a:uLnTx/>
                  <a:uFillTx/>
                  <a:latin typeface="PTCRaleway" panose="020B0503030101060003" pitchFamily="34" charset="0"/>
                  <a:ea typeface="+mn-ea"/>
                  <a:cs typeface="+mn-cs"/>
                </a:endParaRPr>
              </a:p>
            </p:txBody>
          </p:sp>
          <p:sp>
            <p:nvSpPr>
              <p:cNvPr id="711" name="Oval 710">
                <a:extLst>
                  <a:ext uri="{FF2B5EF4-FFF2-40B4-BE49-F238E27FC236}">
                    <a16:creationId xmlns:a16="http://schemas.microsoft.com/office/drawing/2014/main" id="{E3A0DF0E-C498-4AB2-80D7-2CEF8AFE6796}"/>
                  </a:ext>
                </a:extLst>
              </p:cNvPr>
              <p:cNvSpPr/>
              <p:nvPr/>
            </p:nvSpPr>
            <p:spPr>
              <a:xfrm>
                <a:off x="4974854" y="811749"/>
                <a:ext cx="118872" cy="118872"/>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6775" rtl="0" eaLnBrk="1" fontAlgn="auto" latinLnBrk="0" hangingPunct="1">
                  <a:lnSpc>
                    <a:spcPct val="90000"/>
                  </a:lnSpc>
                  <a:spcBef>
                    <a:spcPts val="800"/>
                  </a:spcBef>
                  <a:spcAft>
                    <a:spcPts val="0"/>
                  </a:spcAft>
                  <a:buClrTx/>
                  <a:buSzTx/>
                  <a:buFontTx/>
                  <a:buNone/>
                  <a:tabLst/>
                  <a:defRPr/>
                </a:pPr>
                <a:endParaRPr kumimoji="0" lang="en-US" sz="2200" b="0" i="0" u="none" strike="noStrike" kern="1200" cap="none" spc="0" normalizeH="0" baseline="0" noProof="0" dirty="0">
                  <a:ln>
                    <a:noFill/>
                  </a:ln>
                  <a:solidFill>
                    <a:srgbClr val="FFFFFF"/>
                  </a:solidFill>
                  <a:effectLst/>
                  <a:uLnTx/>
                  <a:uFillTx/>
                  <a:latin typeface="PTCRaleway" panose="020B0503030101060003" pitchFamily="34" charset="0"/>
                  <a:ea typeface="+mn-ea"/>
                  <a:cs typeface="+mn-cs"/>
                </a:endParaRPr>
              </a:p>
            </p:txBody>
          </p:sp>
          <p:sp>
            <p:nvSpPr>
              <p:cNvPr id="712" name="Oval 711">
                <a:extLst>
                  <a:ext uri="{FF2B5EF4-FFF2-40B4-BE49-F238E27FC236}">
                    <a16:creationId xmlns:a16="http://schemas.microsoft.com/office/drawing/2014/main" id="{19B6A8CE-2E80-4407-871B-8891CC4FFB30}"/>
                  </a:ext>
                </a:extLst>
              </p:cNvPr>
              <p:cNvSpPr/>
              <p:nvPr/>
            </p:nvSpPr>
            <p:spPr>
              <a:xfrm>
                <a:off x="4974854" y="951355"/>
                <a:ext cx="118872" cy="118872"/>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6775" rtl="0" eaLnBrk="1" fontAlgn="auto" latinLnBrk="0" hangingPunct="1">
                  <a:lnSpc>
                    <a:spcPct val="90000"/>
                  </a:lnSpc>
                  <a:spcBef>
                    <a:spcPts val="800"/>
                  </a:spcBef>
                  <a:spcAft>
                    <a:spcPts val="0"/>
                  </a:spcAft>
                  <a:buClrTx/>
                  <a:buSzTx/>
                  <a:buFontTx/>
                  <a:buNone/>
                  <a:tabLst/>
                  <a:defRPr/>
                </a:pPr>
                <a:endParaRPr kumimoji="0" lang="en-US" sz="2200" b="0" i="0" u="none" strike="noStrike" kern="1200" cap="none" spc="0" normalizeH="0" baseline="0" noProof="0" dirty="0">
                  <a:ln>
                    <a:noFill/>
                  </a:ln>
                  <a:solidFill>
                    <a:srgbClr val="FFFFFF"/>
                  </a:solidFill>
                  <a:effectLst/>
                  <a:uLnTx/>
                  <a:uFillTx/>
                  <a:latin typeface="PTCRaleway" panose="020B0503030101060003" pitchFamily="34" charset="0"/>
                  <a:ea typeface="+mn-ea"/>
                  <a:cs typeface="+mn-cs"/>
                </a:endParaRPr>
              </a:p>
            </p:txBody>
          </p:sp>
          <p:sp>
            <p:nvSpPr>
              <p:cNvPr id="713" name="Oval 712">
                <a:extLst>
                  <a:ext uri="{FF2B5EF4-FFF2-40B4-BE49-F238E27FC236}">
                    <a16:creationId xmlns:a16="http://schemas.microsoft.com/office/drawing/2014/main" id="{BFD4697B-299D-4C98-82E3-C384D4106D6A}"/>
                  </a:ext>
                </a:extLst>
              </p:cNvPr>
              <p:cNvSpPr/>
              <p:nvPr/>
            </p:nvSpPr>
            <p:spPr>
              <a:xfrm>
                <a:off x="4974848" y="1103755"/>
                <a:ext cx="118872" cy="118872"/>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6775" rtl="0" eaLnBrk="1" fontAlgn="auto" latinLnBrk="0" hangingPunct="1">
                  <a:lnSpc>
                    <a:spcPct val="90000"/>
                  </a:lnSpc>
                  <a:spcBef>
                    <a:spcPts val="800"/>
                  </a:spcBef>
                  <a:spcAft>
                    <a:spcPts val="0"/>
                  </a:spcAft>
                  <a:buClrTx/>
                  <a:buSzTx/>
                  <a:buFontTx/>
                  <a:buNone/>
                  <a:tabLst/>
                  <a:defRPr/>
                </a:pPr>
                <a:endParaRPr kumimoji="0" lang="en-US" sz="2200" b="0" i="0" u="none" strike="noStrike" kern="1200" cap="none" spc="0" normalizeH="0" baseline="0" noProof="0" dirty="0">
                  <a:ln>
                    <a:noFill/>
                  </a:ln>
                  <a:solidFill>
                    <a:srgbClr val="FFFFFF"/>
                  </a:solidFill>
                  <a:effectLst/>
                  <a:uLnTx/>
                  <a:uFillTx/>
                  <a:latin typeface="PTCRaleway" panose="020B0503030101060003" pitchFamily="34" charset="0"/>
                  <a:ea typeface="+mn-ea"/>
                  <a:cs typeface="+mn-cs"/>
                </a:endParaRPr>
              </a:p>
            </p:txBody>
          </p:sp>
          <p:sp>
            <p:nvSpPr>
              <p:cNvPr id="714" name="Oval 713">
                <a:extLst>
                  <a:ext uri="{FF2B5EF4-FFF2-40B4-BE49-F238E27FC236}">
                    <a16:creationId xmlns:a16="http://schemas.microsoft.com/office/drawing/2014/main" id="{3246E660-AF4D-477A-AA64-7621205AB076}"/>
                  </a:ext>
                </a:extLst>
              </p:cNvPr>
              <p:cNvSpPr/>
              <p:nvPr/>
            </p:nvSpPr>
            <p:spPr>
              <a:xfrm>
                <a:off x="4973578" y="1263664"/>
                <a:ext cx="118872" cy="118872"/>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6775" rtl="0" eaLnBrk="1" fontAlgn="auto" latinLnBrk="0" hangingPunct="1">
                  <a:lnSpc>
                    <a:spcPct val="90000"/>
                  </a:lnSpc>
                  <a:spcBef>
                    <a:spcPts val="800"/>
                  </a:spcBef>
                  <a:spcAft>
                    <a:spcPts val="0"/>
                  </a:spcAft>
                  <a:buClrTx/>
                  <a:buSzTx/>
                  <a:buFontTx/>
                  <a:buNone/>
                  <a:tabLst/>
                  <a:defRPr/>
                </a:pPr>
                <a:endParaRPr kumimoji="0" lang="en-US" sz="2200" b="0" i="0" u="none" strike="noStrike" kern="1200" cap="none" spc="0" normalizeH="0" baseline="0" noProof="0" dirty="0">
                  <a:ln>
                    <a:noFill/>
                  </a:ln>
                  <a:solidFill>
                    <a:srgbClr val="FFFFFF"/>
                  </a:solidFill>
                  <a:effectLst/>
                  <a:uLnTx/>
                  <a:uFillTx/>
                  <a:latin typeface="PTCRaleway" panose="020B0503030101060003" pitchFamily="34" charset="0"/>
                  <a:ea typeface="+mn-ea"/>
                  <a:cs typeface="+mn-cs"/>
                </a:endParaRPr>
              </a:p>
            </p:txBody>
          </p:sp>
          <p:sp>
            <p:nvSpPr>
              <p:cNvPr id="715" name="Oval 714">
                <a:extLst>
                  <a:ext uri="{FF2B5EF4-FFF2-40B4-BE49-F238E27FC236}">
                    <a16:creationId xmlns:a16="http://schemas.microsoft.com/office/drawing/2014/main" id="{0231D2AC-F3E9-4493-8641-6A27946679D8}"/>
                  </a:ext>
                </a:extLst>
              </p:cNvPr>
              <p:cNvSpPr/>
              <p:nvPr/>
            </p:nvSpPr>
            <p:spPr>
              <a:xfrm>
                <a:off x="4974854" y="1414999"/>
                <a:ext cx="118872" cy="118872"/>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6775" rtl="0" eaLnBrk="1" fontAlgn="auto" latinLnBrk="0" hangingPunct="1">
                  <a:lnSpc>
                    <a:spcPct val="90000"/>
                  </a:lnSpc>
                  <a:spcBef>
                    <a:spcPts val="800"/>
                  </a:spcBef>
                  <a:spcAft>
                    <a:spcPts val="0"/>
                  </a:spcAft>
                  <a:buClrTx/>
                  <a:buSzTx/>
                  <a:buFontTx/>
                  <a:buNone/>
                  <a:tabLst/>
                  <a:defRPr/>
                </a:pPr>
                <a:endParaRPr kumimoji="0" lang="en-US" sz="2200" b="0" i="0" u="none" strike="noStrike" kern="1200" cap="none" spc="0" normalizeH="0" baseline="0" noProof="0" dirty="0">
                  <a:ln>
                    <a:noFill/>
                  </a:ln>
                  <a:solidFill>
                    <a:srgbClr val="FFFFFF"/>
                  </a:solidFill>
                  <a:effectLst/>
                  <a:uLnTx/>
                  <a:uFillTx/>
                  <a:latin typeface="PTCRaleway" panose="020B0503030101060003" pitchFamily="34" charset="0"/>
                  <a:ea typeface="+mn-ea"/>
                  <a:cs typeface="+mn-cs"/>
                </a:endParaRPr>
              </a:p>
            </p:txBody>
          </p:sp>
          <p:sp>
            <p:nvSpPr>
              <p:cNvPr id="716" name="Oval 715">
                <a:extLst>
                  <a:ext uri="{FF2B5EF4-FFF2-40B4-BE49-F238E27FC236}">
                    <a16:creationId xmlns:a16="http://schemas.microsoft.com/office/drawing/2014/main" id="{7EF67CF9-64E1-46D2-BF96-007BB164B880}"/>
                  </a:ext>
                </a:extLst>
              </p:cNvPr>
              <p:cNvSpPr/>
              <p:nvPr/>
            </p:nvSpPr>
            <p:spPr>
              <a:xfrm>
                <a:off x="4974854" y="1554605"/>
                <a:ext cx="118872" cy="118872"/>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6775" rtl="0" eaLnBrk="1" fontAlgn="auto" latinLnBrk="0" hangingPunct="1">
                  <a:lnSpc>
                    <a:spcPct val="90000"/>
                  </a:lnSpc>
                  <a:spcBef>
                    <a:spcPts val="800"/>
                  </a:spcBef>
                  <a:spcAft>
                    <a:spcPts val="0"/>
                  </a:spcAft>
                  <a:buClrTx/>
                  <a:buSzTx/>
                  <a:buFontTx/>
                  <a:buNone/>
                  <a:tabLst/>
                  <a:defRPr/>
                </a:pPr>
                <a:endParaRPr kumimoji="0" lang="en-US" sz="2200" b="0" i="0" u="none" strike="noStrike" kern="1200" cap="none" spc="0" normalizeH="0" baseline="0" noProof="0" dirty="0">
                  <a:ln>
                    <a:noFill/>
                  </a:ln>
                  <a:solidFill>
                    <a:srgbClr val="FFFFFF"/>
                  </a:solidFill>
                  <a:effectLst/>
                  <a:uLnTx/>
                  <a:uFillTx/>
                  <a:latin typeface="PTCRaleway" panose="020B0503030101060003" pitchFamily="34" charset="0"/>
                  <a:ea typeface="+mn-ea"/>
                  <a:cs typeface="+mn-cs"/>
                </a:endParaRPr>
              </a:p>
            </p:txBody>
          </p:sp>
          <p:sp>
            <p:nvSpPr>
              <p:cNvPr id="717" name="Oval 716">
                <a:extLst>
                  <a:ext uri="{FF2B5EF4-FFF2-40B4-BE49-F238E27FC236}">
                    <a16:creationId xmlns:a16="http://schemas.microsoft.com/office/drawing/2014/main" id="{B19E392F-489D-4A64-8CA7-2DC91FA545C3}"/>
                  </a:ext>
                </a:extLst>
              </p:cNvPr>
              <p:cNvSpPr/>
              <p:nvPr/>
            </p:nvSpPr>
            <p:spPr>
              <a:xfrm>
                <a:off x="4974848" y="1695414"/>
                <a:ext cx="118872" cy="118872"/>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6775" rtl="0" eaLnBrk="1" fontAlgn="auto" latinLnBrk="0" hangingPunct="1">
                  <a:lnSpc>
                    <a:spcPct val="90000"/>
                  </a:lnSpc>
                  <a:spcBef>
                    <a:spcPts val="800"/>
                  </a:spcBef>
                  <a:spcAft>
                    <a:spcPts val="0"/>
                  </a:spcAft>
                  <a:buClrTx/>
                  <a:buSzTx/>
                  <a:buFontTx/>
                  <a:buNone/>
                  <a:tabLst/>
                  <a:defRPr/>
                </a:pPr>
                <a:endParaRPr kumimoji="0" lang="en-US" sz="2200" b="0" i="0" u="none" strike="noStrike" kern="1200" cap="none" spc="0" normalizeH="0" baseline="0" noProof="0" dirty="0">
                  <a:ln>
                    <a:noFill/>
                  </a:ln>
                  <a:solidFill>
                    <a:srgbClr val="FFFFFF"/>
                  </a:solidFill>
                  <a:effectLst/>
                  <a:uLnTx/>
                  <a:uFillTx/>
                  <a:latin typeface="PTCRaleway" panose="020B0503030101060003" pitchFamily="34" charset="0"/>
                  <a:ea typeface="+mn-ea"/>
                  <a:cs typeface="+mn-cs"/>
                </a:endParaRPr>
              </a:p>
            </p:txBody>
          </p:sp>
          <p:sp>
            <p:nvSpPr>
              <p:cNvPr id="718" name="Oval 717">
                <a:extLst>
                  <a:ext uri="{FF2B5EF4-FFF2-40B4-BE49-F238E27FC236}">
                    <a16:creationId xmlns:a16="http://schemas.microsoft.com/office/drawing/2014/main" id="{32291DE4-5722-41DC-9F1E-84BB97F01D7F}"/>
                  </a:ext>
                </a:extLst>
              </p:cNvPr>
              <p:cNvSpPr/>
              <p:nvPr/>
            </p:nvSpPr>
            <p:spPr>
              <a:xfrm>
                <a:off x="4974848" y="1845324"/>
                <a:ext cx="118872" cy="118872"/>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6775" rtl="0" eaLnBrk="1" fontAlgn="auto" latinLnBrk="0" hangingPunct="1">
                  <a:lnSpc>
                    <a:spcPct val="90000"/>
                  </a:lnSpc>
                  <a:spcBef>
                    <a:spcPts val="800"/>
                  </a:spcBef>
                  <a:spcAft>
                    <a:spcPts val="0"/>
                  </a:spcAft>
                  <a:buClrTx/>
                  <a:buSzTx/>
                  <a:buFontTx/>
                  <a:buNone/>
                  <a:tabLst/>
                  <a:defRPr/>
                </a:pPr>
                <a:endParaRPr kumimoji="0" lang="en-US" sz="2200" b="0" i="0" u="none" strike="noStrike" kern="1200" cap="none" spc="0" normalizeH="0" baseline="0" noProof="0" dirty="0">
                  <a:ln>
                    <a:noFill/>
                  </a:ln>
                  <a:solidFill>
                    <a:srgbClr val="FFFFFF"/>
                  </a:solidFill>
                  <a:effectLst/>
                  <a:uLnTx/>
                  <a:uFillTx/>
                  <a:latin typeface="PTCRaleway" panose="020B0503030101060003" pitchFamily="34" charset="0"/>
                  <a:ea typeface="+mn-ea"/>
                  <a:cs typeface="+mn-cs"/>
                </a:endParaRPr>
              </a:p>
            </p:txBody>
          </p:sp>
          <p:sp>
            <p:nvSpPr>
              <p:cNvPr id="719" name="Oval 718">
                <a:extLst>
                  <a:ext uri="{FF2B5EF4-FFF2-40B4-BE49-F238E27FC236}">
                    <a16:creationId xmlns:a16="http://schemas.microsoft.com/office/drawing/2014/main" id="{A4DD2D00-CC03-4FA3-AA74-C4D09166A541}"/>
                  </a:ext>
                </a:extLst>
              </p:cNvPr>
              <p:cNvSpPr/>
              <p:nvPr/>
            </p:nvSpPr>
            <p:spPr>
              <a:xfrm>
                <a:off x="4974854" y="1996659"/>
                <a:ext cx="118872" cy="118872"/>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6775" rtl="0" eaLnBrk="1" fontAlgn="auto" latinLnBrk="0" hangingPunct="1">
                  <a:lnSpc>
                    <a:spcPct val="90000"/>
                  </a:lnSpc>
                  <a:spcBef>
                    <a:spcPts val="800"/>
                  </a:spcBef>
                  <a:spcAft>
                    <a:spcPts val="0"/>
                  </a:spcAft>
                  <a:buClrTx/>
                  <a:buSzTx/>
                  <a:buFontTx/>
                  <a:buNone/>
                  <a:tabLst/>
                  <a:defRPr/>
                </a:pPr>
                <a:endParaRPr kumimoji="0" lang="en-US" sz="2200" b="0" i="0" u="none" strike="noStrike" kern="1200" cap="none" spc="0" normalizeH="0" baseline="0" noProof="0" dirty="0">
                  <a:ln>
                    <a:noFill/>
                  </a:ln>
                  <a:solidFill>
                    <a:srgbClr val="FFFFFF"/>
                  </a:solidFill>
                  <a:effectLst/>
                  <a:uLnTx/>
                  <a:uFillTx/>
                  <a:latin typeface="PTCRaleway" panose="020B0503030101060003" pitchFamily="34" charset="0"/>
                  <a:ea typeface="+mn-ea"/>
                  <a:cs typeface="+mn-cs"/>
                </a:endParaRPr>
              </a:p>
            </p:txBody>
          </p:sp>
          <p:sp>
            <p:nvSpPr>
              <p:cNvPr id="720" name="Oval 719">
                <a:extLst>
                  <a:ext uri="{FF2B5EF4-FFF2-40B4-BE49-F238E27FC236}">
                    <a16:creationId xmlns:a16="http://schemas.microsoft.com/office/drawing/2014/main" id="{9A0A6CAF-BA37-4947-9415-6EE0CEEEAC0A}"/>
                  </a:ext>
                </a:extLst>
              </p:cNvPr>
              <p:cNvSpPr/>
              <p:nvPr/>
            </p:nvSpPr>
            <p:spPr>
              <a:xfrm>
                <a:off x="4974854" y="2136265"/>
                <a:ext cx="118872" cy="118872"/>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6775" rtl="0" eaLnBrk="1" fontAlgn="auto" latinLnBrk="0" hangingPunct="1">
                  <a:lnSpc>
                    <a:spcPct val="90000"/>
                  </a:lnSpc>
                  <a:spcBef>
                    <a:spcPts val="800"/>
                  </a:spcBef>
                  <a:spcAft>
                    <a:spcPts val="0"/>
                  </a:spcAft>
                  <a:buClrTx/>
                  <a:buSzTx/>
                  <a:buFontTx/>
                  <a:buNone/>
                  <a:tabLst/>
                  <a:defRPr/>
                </a:pPr>
                <a:endParaRPr kumimoji="0" lang="en-US" sz="2200" b="0" i="0" u="none" strike="noStrike" kern="1200" cap="none" spc="0" normalizeH="0" baseline="0" noProof="0" dirty="0">
                  <a:ln>
                    <a:noFill/>
                  </a:ln>
                  <a:solidFill>
                    <a:srgbClr val="FFFFFF"/>
                  </a:solidFill>
                  <a:effectLst/>
                  <a:uLnTx/>
                  <a:uFillTx/>
                  <a:latin typeface="PTCRaleway" panose="020B0503030101060003" pitchFamily="34" charset="0"/>
                  <a:ea typeface="+mn-ea"/>
                  <a:cs typeface="+mn-cs"/>
                </a:endParaRPr>
              </a:p>
            </p:txBody>
          </p:sp>
          <p:sp>
            <p:nvSpPr>
              <p:cNvPr id="721" name="Oval 720">
                <a:extLst>
                  <a:ext uri="{FF2B5EF4-FFF2-40B4-BE49-F238E27FC236}">
                    <a16:creationId xmlns:a16="http://schemas.microsoft.com/office/drawing/2014/main" id="{3D9D8CD8-DC0F-4942-92E1-2FC2F60E579D}"/>
                  </a:ext>
                </a:extLst>
              </p:cNvPr>
              <p:cNvSpPr/>
              <p:nvPr/>
            </p:nvSpPr>
            <p:spPr>
              <a:xfrm>
                <a:off x="4974848" y="2288665"/>
                <a:ext cx="118872" cy="118872"/>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6775" rtl="0" eaLnBrk="1" fontAlgn="auto" latinLnBrk="0" hangingPunct="1">
                  <a:lnSpc>
                    <a:spcPct val="90000"/>
                  </a:lnSpc>
                  <a:spcBef>
                    <a:spcPts val="800"/>
                  </a:spcBef>
                  <a:spcAft>
                    <a:spcPts val="0"/>
                  </a:spcAft>
                  <a:buClrTx/>
                  <a:buSzTx/>
                  <a:buFontTx/>
                  <a:buNone/>
                  <a:tabLst/>
                  <a:defRPr/>
                </a:pPr>
                <a:endParaRPr kumimoji="0" lang="en-US" sz="2200" b="0" i="0" u="none" strike="noStrike" kern="1200" cap="none" spc="0" normalizeH="0" baseline="0" noProof="0" dirty="0">
                  <a:ln>
                    <a:noFill/>
                  </a:ln>
                  <a:solidFill>
                    <a:srgbClr val="FFFFFF"/>
                  </a:solidFill>
                  <a:effectLst/>
                  <a:uLnTx/>
                  <a:uFillTx/>
                  <a:latin typeface="PTCRaleway" panose="020B0503030101060003" pitchFamily="34" charset="0"/>
                  <a:ea typeface="+mn-ea"/>
                  <a:cs typeface="+mn-cs"/>
                </a:endParaRPr>
              </a:p>
            </p:txBody>
          </p:sp>
          <p:sp>
            <p:nvSpPr>
              <p:cNvPr id="722" name="Oval 721">
                <a:extLst>
                  <a:ext uri="{FF2B5EF4-FFF2-40B4-BE49-F238E27FC236}">
                    <a16:creationId xmlns:a16="http://schemas.microsoft.com/office/drawing/2014/main" id="{8186FDC6-894B-486D-A7C2-9F71E2BD7C17}"/>
                  </a:ext>
                </a:extLst>
              </p:cNvPr>
              <p:cNvSpPr/>
              <p:nvPr/>
            </p:nvSpPr>
            <p:spPr>
              <a:xfrm>
                <a:off x="4973578" y="2448574"/>
                <a:ext cx="118872" cy="118872"/>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6775" rtl="0" eaLnBrk="1" fontAlgn="auto" latinLnBrk="0" hangingPunct="1">
                  <a:lnSpc>
                    <a:spcPct val="90000"/>
                  </a:lnSpc>
                  <a:spcBef>
                    <a:spcPts val="800"/>
                  </a:spcBef>
                  <a:spcAft>
                    <a:spcPts val="0"/>
                  </a:spcAft>
                  <a:buClrTx/>
                  <a:buSzTx/>
                  <a:buFontTx/>
                  <a:buNone/>
                  <a:tabLst/>
                  <a:defRPr/>
                </a:pPr>
                <a:endParaRPr kumimoji="0" lang="en-US" sz="2200" b="0" i="0" u="none" strike="noStrike" kern="1200" cap="none" spc="0" normalizeH="0" baseline="0" noProof="0" dirty="0">
                  <a:ln>
                    <a:noFill/>
                  </a:ln>
                  <a:solidFill>
                    <a:srgbClr val="FFFFFF"/>
                  </a:solidFill>
                  <a:effectLst/>
                  <a:uLnTx/>
                  <a:uFillTx/>
                  <a:latin typeface="PTCRaleway" panose="020B0503030101060003" pitchFamily="34" charset="0"/>
                  <a:ea typeface="+mn-ea"/>
                  <a:cs typeface="+mn-cs"/>
                </a:endParaRPr>
              </a:p>
            </p:txBody>
          </p:sp>
          <p:sp>
            <p:nvSpPr>
              <p:cNvPr id="723" name="Oval 722">
                <a:extLst>
                  <a:ext uri="{FF2B5EF4-FFF2-40B4-BE49-F238E27FC236}">
                    <a16:creationId xmlns:a16="http://schemas.microsoft.com/office/drawing/2014/main" id="{1CD32146-2262-4822-BF31-93CF1A1C7031}"/>
                  </a:ext>
                </a:extLst>
              </p:cNvPr>
              <p:cNvSpPr/>
              <p:nvPr/>
            </p:nvSpPr>
            <p:spPr>
              <a:xfrm>
                <a:off x="4974854" y="2599909"/>
                <a:ext cx="118872" cy="118872"/>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6775" rtl="0" eaLnBrk="1" fontAlgn="auto" latinLnBrk="0" hangingPunct="1">
                  <a:lnSpc>
                    <a:spcPct val="90000"/>
                  </a:lnSpc>
                  <a:spcBef>
                    <a:spcPts val="800"/>
                  </a:spcBef>
                  <a:spcAft>
                    <a:spcPts val="0"/>
                  </a:spcAft>
                  <a:buClrTx/>
                  <a:buSzTx/>
                  <a:buFontTx/>
                  <a:buNone/>
                  <a:tabLst/>
                  <a:defRPr/>
                </a:pPr>
                <a:endParaRPr kumimoji="0" lang="en-US" sz="2200" b="0" i="0" u="none" strike="noStrike" kern="1200" cap="none" spc="0" normalizeH="0" baseline="0" noProof="0" dirty="0">
                  <a:ln>
                    <a:noFill/>
                  </a:ln>
                  <a:solidFill>
                    <a:srgbClr val="FFFFFF"/>
                  </a:solidFill>
                  <a:effectLst/>
                  <a:uLnTx/>
                  <a:uFillTx/>
                  <a:latin typeface="PTCRaleway" panose="020B0503030101060003" pitchFamily="34" charset="0"/>
                  <a:ea typeface="+mn-ea"/>
                  <a:cs typeface="+mn-cs"/>
                </a:endParaRPr>
              </a:p>
            </p:txBody>
          </p:sp>
          <p:sp>
            <p:nvSpPr>
              <p:cNvPr id="724" name="Oval 723">
                <a:extLst>
                  <a:ext uri="{FF2B5EF4-FFF2-40B4-BE49-F238E27FC236}">
                    <a16:creationId xmlns:a16="http://schemas.microsoft.com/office/drawing/2014/main" id="{DC77DF1B-8AA7-4D90-A3F4-62C86EBD5460}"/>
                  </a:ext>
                </a:extLst>
              </p:cNvPr>
              <p:cNvSpPr/>
              <p:nvPr/>
            </p:nvSpPr>
            <p:spPr>
              <a:xfrm>
                <a:off x="4974854" y="2739515"/>
                <a:ext cx="118872" cy="118872"/>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6775" rtl="0" eaLnBrk="1" fontAlgn="auto" latinLnBrk="0" hangingPunct="1">
                  <a:lnSpc>
                    <a:spcPct val="90000"/>
                  </a:lnSpc>
                  <a:spcBef>
                    <a:spcPts val="800"/>
                  </a:spcBef>
                  <a:spcAft>
                    <a:spcPts val="0"/>
                  </a:spcAft>
                  <a:buClrTx/>
                  <a:buSzTx/>
                  <a:buFontTx/>
                  <a:buNone/>
                  <a:tabLst/>
                  <a:defRPr/>
                </a:pPr>
                <a:endParaRPr kumimoji="0" lang="en-US" sz="2200" b="0" i="0" u="none" strike="noStrike" kern="1200" cap="none" spc="0" normalizeH="0" baseline="0" noProof="0" dirty="0">
                  <a:ln>
                    <a:noFill/>
                  </a:ln>
                  <a:solidFill>
                    <a:srgbClr val="FFFFFF"/>
                  </a:solidFill>
                  <a:effectLst/>
                  <a:uLnTx/>
                  <a:uFillTx/>
                  <a:latin typeface="PTCRaleway" panose="020B0503030101060003" pitchFamily="34" charset="0"/>
                  <a:ea typeface="+mn-ea"/>
                  <a:cs typeface="+mn-cs"/>
                </a:endParaRPr>
              </a:p>
            </p:txBody>
          </p:sp>
          <p:sp>
            <p:nvSpPr>
              <p:cNvPr id="725" name="Oval 724">
                <a:extLst>
                  <a:ext uri="{FF2B5EF4-FFF2-40B4-BE49-F238E27FC236}">
                    <a16:creationId xmlns:a16="http://schemas.microsoft.com/office/drawing/2014/main" id="{709DF1A5-7C71-4394-A096-709E294EB352}"/>
                  </a:ext>
                </a:extLst>
              </p:cNvPr>
              <p:cNvSpPr/>
              <p:nvPr/>
            </p:nvSpPr>
            <p:spPr>
              <a:xfrm>
                <a:off x="4974848" y="2880324"/>
                <a:ext cx="118872" cy="118872"/>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6775" rtl="0" eaLnBrk="1" fontAlgn="auto" latinLnBrk="0" hangingPunct="1">
                  <a:lnSpc>
                    <a:spcPct val="90000"/>
                  </a:lnSpc>
                  <a:spcBef>
                    <a:spcPts val="800"/>
                  </a:spcBef>
                  <a:spcAft>
                    <a:spcPts val="0"/>
                  </a:spcAft>
                  <a:buClrTx/>
                  <a:buSzTx/>
                  <a:buFontTx/>
                  <a:buNone/>
                  <a:tabLst/>
                  <a:defRPr/>
                </a:pPr>
                <a:endParaRPr kumimoji="0" lang="en-US" sz="2200" b="0" i="0" u="none" strike="noStrike" kern="1200" cap="none" spc="0" normalizeH="0" baseline="0" noProof="0" dirty="0">
                  <a:ln>
                    <a:noFill/>
                  </a:ln>
                  <a:solidFill>
                    <a:srgbClr val="FFFFFF"/>
                  </a:solidFill>
                  <a:effectLst/>
                  <a:uLnTx/>
                  <a:uFillTx/>
                  <a:latin typeface="PTCRaleway" panose="020B0503030101060003" pitchFamily="34" charset="0"/>
                  <a:ea typeface="+mn-ea"/>
                  <a:cs typeface="+mn-cs"/>
                </a:endParaRPr>
              </a:p>
            </p:txBody>
          </p:sp>
          <p:sp>
            <p:nvSpPr>
              <p:cNvPr id="726" name="Oval 725">
                <a:extLst>
                  <a:ext uri="{FF2B5EF4-FFF2-40B4-BE49-F238E27FC236}">
                    <a16:creationId xmlns:a16="http://schemas.microsoft.com/office/drawing/2014/main" id="{1A65C5A5-0125-46DD-B5D0-011262A002F2}"/>
                  </a:ext>
                </a:extLst>
              </p:cNvPr>
              <p:cNvSpPr/>
              <p:nvPr/>
            </p:nvSpPr>
            <p:spPr>
              <a:xfrm>
                <a:off x="4974848" y="3037854"/>
                <a:ext cx="118872" cy="118872"/>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6775" rtl="0" eaLnBrk="1" fontAlgn="auto" latinLnBrk="0" hangingPunct="1">
                  <a:lnSpc>
                    <a:spcPct val="90000"/>
                  </a:lnSpc>
                  <a:spcBef>
                    <a:spcPts val="800"/>
                  </a:spcBef>
                  <a:spcAft>
                    <a:spcPts val="0"/>
                  </a:spcAft>
                  <a:buClrTx/>
                  <a:buSzTx/>
                  <a:buFontTx/>
                  <a:buNone/>
                  <a:tabLst/>
                  <a:defRPr/>
                </a:pPr>
                <a:endParaRPr kumimoji="0" lang="en-US" sz="2200" b="0" i="0" u="none" strike="noStrike" kern="1200" cap="none" spc="0" normalizeH="0" baseline="0" noProof="0" dirty="0">
                  <a:ln>
                    <a:noFill/>
                  </a:ln>
                  <a:solidFill>
                    <a:srgbClr val="FFFFFF"/>
                  </a:solidFill>
                  <a:effectLst/>
                  <a:uLnTx/>
                  <a:uFillTx/>
                  <a:latin typeface="PTCRaleway" panose="020B0503030101060003" pitchFamily="34" charset="0"/>
                  <a:ea typeface="+mn-ea"/>
                  <a:cs typeface="+mn-cs"/>
                </a:endParaRPr>
              </a:p>
            </p:txBody>
          </p:sp>
          <p:sp>
            <p:nvSpPr>
              <p:cNvPr id="727" name="Oval 726">
                <a:extLst>
                  <a:ext uri="{FF2B5EF4-FFF2-40B4-BE49-F238E27FC236}">
                    <a16:creationId xmlns:a16="http://schemas.microsoft.com/office/drawing/2014/main" id="{E15963A6-323E-45D8-A626-F546317C8536}"/>
                  </a:ext>
                </a:extLst>
              </p:cNvPr>
              <p:cNvSpPr/>
              <p:nvPr/>
            </p:nvSpPr>
            <p:spPr>
              <a:xfrm>
                <a:off x="4974854" y="3189189"/>
                <a:ext cx="118872" cy="118872"/>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6775" rtl="0" eaLnBrk="1" fontAlgn="auto" latinLnBrk="0" hangingPunct="1">
                  <a:lnSpc>
                    <a:spcPct val="90000"/>
                  </a:lnSpc>
                  <a:spcBef>
                    <a:spcPts val="800"/>
                  </a:spcBef>
                  <a:spcAft>
                    <a:spcPts val="0"/>
                  </a:spcAft>
                  <a:buClrTx/>
                  <a:buSzTx/>
                  <a:buFontTx/>
                  <a:buNone/>
                  <a:tabLst/>
                  <a:defRPr/>
                </a:pPr>
                <a:endParaRPr kumimoji="0" lang="en-US" sz="2200" b="0" i="0" u="none" strike="noStrike" kern="1200" cap="none" spc="0" normalizeH="0" baseline="0" noProof="0" dirty="0">
                  <a:ln>
                    <a:noFill/>
                  </a:ln>
                  <a:solidFill>
                    <a:srgbClr val="FFFFFF"/>
                  </a:solidFill>
                  <a:effectLst/>
                  <a:uLnTx/>
                  <a:uFillTx/>
                  <a:latin typeface="PTCRaleway" panose="020B0503030101060003" pitchFamily="34" charset="0"/>
                  <a:ea typeface="+mn-ea"/>
                  <a:cs typeface="+mn-cs"/>
                </a:endParaRPr>
              </a:p>
            </p:txBody>
          </p:sp>
          <p:sp>
            <p:nvSpPr>
              <p:cNvPr id="728" name="Oval 727">
                <a:extLst>
                  <a:ext uri="{FF2B5EF4-FFF2-40B4-BE49-F238E27FC236}">
                    <a16:creationId xmlns:a16="http://schemas.microsoft.com/office/drawing/2014/main" id="{59390D1B-20FF-4C00-8419-2E026CAA23CF}"/>
                  </a:ext>
                </a:extLst>
              </p:cNvPr>
              <p:cNvSpPr/>
              <p:nvPr/>
            </p:nvSpPr>
            <p:spPr>
              <a:xfrm>
                <a:off x="4974854" y="3328795"/>
                <a:ext cx="118872" cy="118872"/>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6775" rtl="0" eaLnBrk="1" fontAlgn="auto" latinLnBrk="0" hangingPunct="1">
                  <a:lnSpc>
                    <a:spcPct val="90000"/>
                  </a:lnSpc>
                  <a:spcBef>
                    <a:spcPts val="800"/>
                  </a:spcBef>
                  <a:spcAft>
                    <a:spcPts val="0"/>
                  </a:spcAft>
                  <a:buClrTx/>
                  <a:buSzTx/>
                  <a:buFontTx/>
                  <a:buNone/>
                  <a:tabLst/>
                  <a:defRPr/>
                </a:pPr>
                <a:endParaRPr kumimoji="0" lang="en-US" sz="2200" b="0" i="0" u="none" strike="noStrike" kern="1200" cap="none" spc="0" normalizeH="0" baseline="0" noProof="0" dirty="0">
                  <a:ln>
                    <a:noFill/>
                  </a:ln>
                  <a:solidFill>
                    <a:srgbClr val="FFFFFF"/>
                  </a:solidFill>
                  <a:effectLst/>
                  <a:uLnTx/>
                  <a:uFillTx/>
                  <a:latin typeface="PTCRaleway" panose="020B0503030101060003" pitchFamily="34" charset="0"/>
                  <a:ea typeface="+mn-ea"/>
                  <a:cs typeface="+mn-cs"/>
                </a:endParaRPr>
              </a:p>
            </p:txBody>
          </p:sp>
          <p:sp>
            <p:nvSpPr>
              <p:cNvPr id="729" name="Oval 728">
                <a:extLst>
                  <a:ext uri="{FF2B5EF4-FFF2-40B4-BE49-F238E27FC236}">
                    <a16:creationId xmlns:a16="http://schemas.microsoft.com/office/drawing/2014/main" id="{BBE4501D-DD6E-4A64-A6DB-3A5EF3B92956}"/>
                  </a:ext>
                </a:extLst>
              </p:cNvPr>
              <p:cNvSpPr/>
              <p:nvPr/>
            </p:nvSpPr>
            <p:spPr>
              <a:xfrm>
                <a:off x="4974848" y="3481195"/>
                <a:ext cx="118872" cy="118872"/>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6775" rtl="0" eaLnBrk="1" fontAlgn="auto" latinLnBrk="0" hangingPunct="1">
                  <a:lnSpc>
                    <a:spcPct val="90000"/>
                  </a:lnSpc>
                  <a:spcBef>
                    <a:spcPts val="800"/>
                  </a:spcBef>
                  <a:spcAft>
                    <a:spcPts val="0"/>
                  </a:spcAft>
                  <a:buClrTx/>
                  <a:buSzTx/>
                  <a:buFontTx/>
                  <a:buNone/>
                  <a:tabLst/>
                  <a:defRPr/>
                </a:pPr>
                <a:endParaRPr kumimoji="0" lang="en-US" sz="2200" b="0" i="0" u="none" strike="noStrike" kern="1200" cap="none" spc="0" normalizeH="0" baseline="0" noProof="0" dirty="0">
                  <a:ln>
                    <a:noFill/>
                  </a:ln>
                  <a:solidFill>
                    <a:srgbClr val="FFFFFF"/>
                  </a:solidFill>
                  <a:effectLst/>
                  <a:uLnTx/>
                  <a:uFillTx/>
                  <a:latin typeface="PTCRaleway" panose="020B0503030101060003" pitchFamily="34" charset="0"/>
                  <a:ea typeface="+mn-ea"/>
                  <a:cs typeface="+mn-cs"/>
                </a:endParaRPr>
              </a:p>
            </p:txBody>
          </p:sp>
          <p:sp>
            <p:nvSpPr>
              <p:cNvPr id="730" name="Oval 729">
                <a:extLst>
                  <a:ext uri="{FF2B5EF4-FFF2-40B4-BE49-F238E27FC236}">
                    <a16:creationId xmlns:a16="http://schemas.microsoft.com/office/drawing/2014/main" id="{EB84FC16-C55A-491A-A710-696494392654}"/>
                  </a:ext>
                </a:extLst>
              </p:cNvPr>
              <p:cNvSpPr/>
              <p:nvPr/>
            </p:nvSpPr>
            <p:spPr>
              <a:xfrm>
                <a:off x="4973578" y="3641104"/>
                <a:ext cx="118872" cy="118872"/>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6775" rtl="0" eaLnBrk="1" fontAlgn="auto" latinLnBrk="0" hangingPunct="1">
                  <a:lnSpc>
                    <a:spcPct val="90000"/>
                  </a:lnSpc>
                  <a:spcBef>
                    <a:spcPts val="800"/>
                  </a:spcBef>
                  <a:spcAft>
                    <a:spcPts val="0"/>
                  </a:spcAft>
                  <a:buClrTx/>
                  <a:buSzTx/>
                  <a:buFontTx/>
                  <a:buNone/>
                  <a:tabLst/>
                  <a:defRPr/>
                </a:pPr>
                <a:endParaRPr kumimoji="0" lang="en-US" sz="2200" b="0" i="0" u="none" strike="noStrike" kern="1200" cap="none" spc="0" normalizeH="0" baseline="0" noProof="0" dirty="0">
                  <a:ln>
                    <a:noFill/>
                  </a:ln>
                  <a:solidFill>
                    <a:srgbClr val="FFFFFF"/>
                  </a:solidFill>
                  <a:effectLst/>
                  <a:uLnTx/>
                  <a:uFillTx/>
                  <a:latin typeface="PTCRaleway" panose="020B0503030101060003" pitchFamily="34" charset="0"/>
                  <a:ea typeface="+mn-ea"/>
                  <a:cs typeface="+mn-cs"/>
                </a:endParaRPr>
              </a:p>
            </p:txBody>
          </p:sp>
          <p:sp>
            <p:nvSpPr>
              <p:cNvPr id="731" name="Oval 730">
                <a:extLst>
                  <a:ext uri="{FF2B5EF4-FFF2-40B4-BE49-F238E27FC236}">
                    <a16:creationId xmlns:a16="http://schemas.microsoft.com/office/drawing/2014/main" id="{38A2C2BF-FF67-48E1-9B4C-D945D82EAECB}"/>
                  </a:ext>
                </a:extLst>
              </p:cNvPr>
              <p:cNvSpPr/>
              <p:nvPr/>
            </p:nvSpPr>
            <p:spPr>
              <a:xfrm>
                <a:off x="4974854" y="3792439"/>
                <a:ext cx="118872" cy="118872"/>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6775" rtl="0" eaLnBrk="1" fontAlgn="auto" latinLnBrk="0" hangingPunct="1">
                  <a:lnSpc>
                    <a:spcPct val="90000"/>
                  </a:lnSpc>
                  <a:spcBef>
                    <a:spcPts val="800"/>
                  </a:spcBef>
                  <a:spcAft>
                    <a:spcPts val="0"/>
                  </a:spcAft>
                  <a:buClrTx/>
                  <a:buSzTx/>
                  <a:buFontTx/>
                  <a:buNone/>
                  <a:tabLst/>
                  <a:defRPr/>
                </a:pPr>
                <a:endParaRPr kumimoji="0" lang="en-US" sz="2200" b="0" i="0" u="none" strike="noStrike" kern="1200" cap="none" spc="0" normalizeH="0" baseline="0" noProof="0" dirty="0">
                  <a:ln>
                    <a:noFill/>
                  </a:ln>
                  <a:solidFill>
                    <a:srgbClr val="FFFFFF"/>
                  </a:solidFill>
                  <a:effectLst/>
                  <a:uLnTx/>
                  <a:uFillTx/>
                  <a:latin typeface="PTCRaleway" panose="020B0503030101060003" pitchFamily="34" charset="0"/>
                  <a:ea typeface="+mn-ea"/>
                  <a:cs typeface="+mn-cs"/>
                </a:endParaRPr>
              </a:p>
            </p:txBody>
          </p:sp>
          <p:sp>
            <p:nvSpPr>
              <p:cNvPr id="732" name="Oval 731">
                <a:extLst>
                  <a:ext uri="{FF2B5EF4-FFF2-40B4-BE49-F238E27FC236}">
                    <a16:creationId xmlns:a16="http://schemas.microsoft.com/office/drawing/2014/main" id="{ADAE0035-E39D-43C7-876A-DD1ABEDD640D}"/>
                  </a:ext>
                </a:extLst>
              </p:cNvPr>
              <p:cNvSpPr/>
              <p:nvPr/>
            </p:nvSpPr>
            <p:spPr>
              <a:xfrm>
                <a:off x="4974854" y="3932045"/>
                <a:ext cx="118872" cy="118872"/>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6775" rtl="0" eaLnBrk="1" fontAlgn="auto" latinLnBrk="0" hangingPunct="1">
                  <a:lnSpc>
                    <a:spcPct val="90000"/>
                  </a:lnSpc>
                  <a:spcBef>
                    <a:spcPts val="800"/>
                  </a:spcBef>
                  <a:spcAft>
                    <a:spcPts val="0"/>
                  </a:spcAft>
                  <a:buClrTx/>
                  <a:buSzTx/>
                  <a:buFontTx/>
                  <a:buNone/>
                  <a:tabLst/>
                  <a:defRPr/>
                </a:pPr>
                <a:endParaRPr kumimoji="0" lang="en-US" sz="2200" b="0" i="0" u="none" strike="noStrike" kern="1200" cap="none" spc="0" normalizeH="0" baseline="0" noProof="0" dirty="0">
                  <a:ln>
                    <a:noFill/>
                  </a:ln>
                  <a:solidFill>
                    <a:srgbClr val="FFFFFF"/>
                  </a:solidFill>
                  <a:effectLst/>
                  <a:uLnTx/>
                  <a:uFillTx/>
                  <a:latin typeface="PTCRaleway" panose="020B0503030101060003" pitchFamily="34" charset="0"/>
                  <a:ea typeface="+mn-ea"/>
                  <a:cs typeface="+mn-cs"/>
                </a:endParaRPr>
              </a:p>
            </p:txBody>
          </p:sp>
          <p:sp>
            <p:nvSpPr>
              <p:cNvPr id="733" name="Oval 732">
                <a:extLst>
                  <a:ext uri="{FF2B5EF4-FFF2-40B4-BE49-F238E27FC236}">
                    <a16:creationId xmlns:a16="http://schemas.microsoft.com/office/drawing/2014/main" id="{EF5B2209-3F1C-4D70-B859-ACE7EA2D864D}"/>
                  </a:ext>
                </a:extLst>
              </p:cNvPr>
              <p:cNvSpPr/>
              <p:nvPr/>
            </p:nvSpPr>
            <p:spPr>
              <a:xfrm>
                <a:off x="4974848" y="4072854"/>
                <a:ext cx="118872" cy="118872"/>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6775" rtl="0" eaLnBrk="1" fontAlgn="auto" latinLnBrk="0" hangingPunct="1">
                  <a:lnSpc>
                    <a:spcPct val="90000"/>
                  </a:lnSpc>
                  <a:spcBef>
                    <a:spcPts val="800"/>
                  </a:spcBef>
                  <a:spcAft>
                    <a:spcPts val="0"/>
                  </a:spcAft>
                  <a:buClrTx/>
                  <a:buSzTx/>
                  <a:buFontTx/>
                  <a:buNone/>
                  <a:tabLst/>
                  <a:defRPr/>
                </a:pPr>
                <a:endParaRPr kumimoji="0" lang="en-US" sz="2200" b="0" i="0" u="none" strike="noStrike" kern="1200" cap="none" spc="0" normalizeH="0" baseline="0" noProof="0" dirty="0">
                  <a:ln>
                    <a:noFill/>
                  </a:ln>
                  <a:solidFill>
                    <a:srgbClr val="FFFFFF"/>
                  </a:solidFill>
                  <a:effectLst/>
                  <a:uLnTx/>
                  <a:uFillTx/>
                  <a:latin typeface="PTCRaleway" panose="020B0503030101060003" pitchFamily="34" charset="0"/>
                  <a:ea typeface="+mn-ea"/>
                  <a:cs typeface="+mn-cs"/>
                </a:endParaRPr>
              </a:p>
            </p:txBody>
          </p:sp>
          <p:cxnSp>
            <p:nvCxnSpPr>
              <p:cNvPr id="734" name="Straight Connector 733">
                <a:extLst>
                  <a:ext uri="{FF2B5EF4-FFF2-40B4-BE49-F238E27FC236}">
                    <a16:creationId xmlns:a16="http://schemas.microsoft.com/office/drawing/2014/main" id="{63EE0AE3-97BD-4934-90AA-571DB99DF51D}"/>
                  </a:ext>
                </a:extLst>
              </p:cNvPr>
              <p:cNvCxnSpPr>
                <a:cxnSpLocks/>
              </p:cNvCxnSpPr>
              <p:nvPr/>
            </p:nvCxnSpPr>
            <p:spPr>
              <a:xfrm>
                <a:off x="5036781" y="724618"/>
                <a:ext cx="0" cy="3697206"/>
              </a:xfrm>
              <a:prstGeom prst="line">
                <a:avLst/>
              </a:prstGeom>
              <a:ln w="25400">
                <a:solidFill>
                  <a:schemeClr val="bg2"/>
                </a:solidFill>
              </a:ln>
            </p:spPr>
            <p:style>
              <a:lnRef idx="1">
                <a:schemeClr val="accent1"/>
              </a:lnRef>
              <a:fillRef idx="0">
                <a:schemeClr val="accent1"/>
              </a:fillRef>
              <a:effectRef idx="0">
                <a:schemeClr val="accent1"/>
              </a:effectRef>
              <a:fontRef idx="minor">
                <a:schemeClr val="tx1"/>
              </a:fontRef>
            </p:style>
          </p:cxnSp>
          <p:sp>
            <p:nvSpPr>
              <p:cNvPr id="735" name="TextBox 734">
                <a:extLst>
                  <a:ext uri="{FF2B5EF4-FFF2-40B4-BE49-F238E27FC236}">
                    <a16:creationId xmlns:a16="http://schemas.microsoft.com/office/drawing/2014/main" id="{A1598099-9EC8-4AAA-9E06-077C42B3F8B2}"/>
                  </a:ext>
                </a:extLst>
              </p:cNvPr>
              <p:cNvSpPr txBox="1"/>
              <p:nvPr/>
            </p:nvSpPr>
            <p:spPr>
              <a:xfrm>
                <a:off x="4772025" y="328764"/>
                <a:ext cx="504825" cy="190500"/>
              </a:xfrm>
              <a:prstGeom prst="rect">
                <a:avLst/>
              </a:prstGeom>
            </p:spPr>
            <p:txBody>
              <a:bodyPr vert="horz" wrap="square" lIns="91440" tIns="45720" rIns="91440" bIns="45720" rtlCol="0">
                <a:noAutofit/>
              </a:bodyPr>
              <a:lstStyle/>
              <a:p>
                <a:pPr marL="0" marR="0" lvl="0" indent="0" algn="ctr" defTabSz="1086775" rtl="0" eaLnBrk="1" fontAlgn="auto" latinLnBrk="0" hangingPunct="1">
                  <a:lnSpc>
                    <a:spcPct val="90000"/>
                  </a:lnSpc>
                  <a:spcBef>
                    <a:spcPts val="800"/>
                  </a:spcBef>
                  <a:spcAft>
                    <a:spcPts val="0"/>
                  </a:spcAft>
                  <a:buClrTx/>
                  <a:buSzTx/>
                  <a:buFontTx/>
                  <a:buNone/>
                  <a:tabLst/>
                  <a:defRPr/>
                </a:pPr>
                <a:r>
                  <a:rPr kumimoji="0" lang="en-US" sz="2000" b="1"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rPr>
                  <a:t>T3</a:t>
                </a:r>
              </a:p>
            </p:txBody>
          </p:sp>
          <p:sp>
            <p:nvSpPr>
              <p:cNvPr id="736" name="Oval 735">
                <a:extLst>
                  <a:ext uri="{FF2B5EF4-FFF2-40B4-BE49-F238E27FC236}">
                    <a16:creationId xmlns:a16="http://schemas.microsoft.com/office/drawing/2014/main" id="{94F6D2BC-FB06-43DF-BA2B-95BDE6DF3558}"/>
                  </a:ext>
                </a:extLst>
              </p:cNvPr>
              <p:cNvSpPr/>
              <p:nvPr/>
            </p:nvSpPr>
            <p:spPr>
              <a:xfrm>
                <a:off x="4979846" y="4218153"/>
                <a:ext cx="118872" cy="118872"/>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6775" rtl="0" eaLnBrk="1" fontAlgn="auto" latinLnBrk="0" hangingPunct="1">
                  <a:lnSpc>
                    <a:spcPct val="90000"/>
                  </a:lnSpc>
                  <a:spcBef>
                    <a:spcPts val="800"/>
                  </a:spcBef>
                  <a:spcAft>
                    <a:spcPts val="0"/>
                  </a:spcAft>
                  <a:buClrTx/>
                  <a:buSzTx/>
                  <a:buFontTx/>
                  <a:buNone/>
                  <a:tabLst/>
                  <a:defRPr/>
                </a:pPr>
                <a:endParaRPr kumimoji="0" lang="en-US" sz="2200" b="0" i="0" u="none" strike="noStrike" kern="1200" cap="none" spc="0" normalizeH="0" baseline="0" noProof="0" dirty="0">
                  <a:ln>
                    <a:noFill/>
                  </a:ln>
                  <a:solidFill>
                    <a:srgbClr val="FFFFFF"/>
                  </a:solidFill>
                  <a:effectLst/>
                  <a:uLnTx/>
                  <a:uFillTx/>
                  <a:latin typeface="PTCRaleway" panose="020B0503030101060003" pitchFamily="34" charset="0"/>
                  <a:ea typeface="+mn-ea"/>
                  <a:cs typeface="+mn-cs"/>
                </a:endParaRPr>
              </a:p>
            </p:txBody>
          </p:sp>
          <p:sp>
            <p:nvSpPr>
              <p:cNvPr id="737" name="Oval 736">
                <a:extLst>
                  <a:ext uri="{FF2B5EF4-FFF2-40B4-BE49-F238E27FC236}">
                    <a16:creationId xmlns:a16="http://schemas.microsoft.com/office/drawing/2014/main" id="{619DC5CF-6302-4865-8AC5-FBEF83D00145}"/>
                  </a:ext>
                </a:extLst>
              </p:cNvPr>
              <p:cNvSpPr/>
              <p:nvPr/>
            </p:nvSpPr>
            <p:spPr>
              <a:xfrm>
                <a:off x="4978069" y="4359921"/>
                <a:ext cx="118872" cy="118872"/>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86775" rtl="0" eaLnBrk="1" fontAlgn="auto" latinLnBrk="0" hangingPunct="1">
                  <a:lnSpc>
                    <a:spcPct val="90000"/>
                  </a:lnSpc>
                  <a:spcBef>
                    <a:spcPts val="800"/>
                  </a:spcBef>
                  <a:spcAft>
                    <a:spcPts val="0"/>
                  </a:spcAft>
                  <a:buClrTx/>
                  <a:buSzTx/>
                  <a:buFontTx/>
                  <a:buNone/>
                  <a:tabLst/>
                  <a:defRPr/>
                </a:pPr>
                <a:endParaRPr kumimoji="0" lang="en-US" sz="2200" b="0" i="0" u="none" strike="noStrike" kern="1200" cap="none" spc="0" normalizeH="0" baseline="0" noProof="0" dirty="0">
                  <a:ln>
                    <a:noFill/>
                  </a:ln>
                  <a:solidFill>
                    <a:srgbClr val="FFFFFF"/>
                  </a:solidFill>
                  <a:effectLst/>
                  <a:uLnTx/>
                  <a:uFillTx/>
                  <a:latin typeface="PTCRaleway" panose="020B0503030101060003" pitchFamily="34" charset="0"/>
                  <a:ea typeface="+mn-ea"/>
                  <a:cs typeface="+mn-cs"/>
                </a:endParaRPr>
              </a:p>
            </p:txBody>
          </p:sp>
        </p:grpSp>
      </p:grpSp>
      <p:cxnSp>
        <p:nvCxnSpPr>
          <p:cNvPr id="738" name="Straight Connector 737">
            <a:extLst>
              <a:ext uri="{FF2B5EF4-FFF2-40B4-BE49-F238E27FC236}">
                <a16:creationId xmlns:a16="http://schemas.microsoft.com/office/drawing/2014/main" id="{B989C680-E8D9-409E-9374-F5792AA7C034}"/>
              </a:ext>
            </a:extLst>
          </p:cNvPr>
          <p:cNvCxnSpPr>
            <a:cxnSpLocks/>
          </p:cNvCxnSpPr>
          <p:nvPr/>
        </p:nvCxnSpPr>
        <p:spPr>
          <a:xfrm>
            <a:off x="1547707" y="2500078"/>
            <a:ext cx="2651760" cy="0"/>
          </a:xfrm>
          <a:prstGeom prst="line">
            <a:avLst/>
          </a:prstGeom>
          <a:ln w="254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739" name="Straight Connector 738">
            <a:extLst>
              <a:ext uri="{FF2B5EF4-FFF2-40B4-BE49-F238E27FC236}">
                <a16:creationId xmlns:a16="http://schemas.microsoft.com/office/drawing/2014/main" id="{32B4E6DC-9D5D-4D36-94CC-6BC10A39B555}"/>
              </a:ext>
            </a:extLst>
          </p:cNvPr>
          <p:cNvCxnSpPr>
            <a:cxnSpLocks/>
          </p:cNvCxnSpPr>
          <p:nvPr/>
        </p:nvCxnSpPr>
        <p:spPr>
          <a:xfrm>
            <a:off x="1036320" y="2939866"/>
            <a:ext cx="3566160" cy="0"/>
          </a:xfrm>
          <a:prstGeom prst="line">
            <a:avLst/>
          </a:prstGeom>
          <a:ln w="254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740" name="Straight Connector 739">
            <a:extLst>
              <a:ext uri="{FF2B5EF4-FFF2-40B4-BE49-F238E27FC236}">
                <a16:creationId xmlns:a16="http://schemas.microsoft.com/office/drawing/2014/main" id="{93E7EFB4-95F5-4E70-9FBC-B9810A979B08}"/>
              </a:ext>
            </a:extLst>
          </p:cNvPr>
          <p:cNvCxnSpPr>
            <a:cxnSpLocks/>
          </p:cNvCxnSpPr>
          <p:nvPr/>
        </p:nvCxnSpPr>
        <p:spPr>
          <a:xfrm>
            <a:off x="1570567" y="4421824"/>
            <a:ext cx="3474720" cy="0"/>
          </a:xfrm>
          <a:prstGeom prst="line">
            <a:avLst/>
          </a:prstGeom>
          <a:ln w="254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741" name="Straight Connector 740">
            <a:extLst>
              <a:ext uri="{FF2B5EF4-FFF2-40B4-BE49-F238E27FC236}">
                <a16:creationId xmlns:a16="http://schemas.microsoft.com/office/drawing/2014/main" id="{893C0D5E-9C44-484B-AAC4-956B761C4882}"/>
              </a:ext>
            </a:extLst>
          </p:cNvPr>
          <p:cNvCxnSpPr>
            <a:cxnSpLocks/>
          </p:cNvCxnSpPr>
          <p:nvPr/>
        </p:nvCxnSpPr>
        <p:spPr>
          <a:xfrm>
            <a:off x="2080083" y="5629352"/>
            <a:ext cx="3474720" cy="0"/>
          </a:xfrm>
          <a:prstGeom prst="line">
            <a:avLst/>
          </a:prstGeom>
          <a:ln w="254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742" name="Straight Connector 741">
            <a:extLst>
              <a:ext uri="{FF2B5EF4-FFF2-40B4-BE49-F238E27FC236}">
                <a16:creationId xmlns:a16="http://schemas.microsoft.com/office/drawing/2014/main" id="{CE320F8F-BE22-498C-AC3B-2B60831FC726}"/>
              </a:ext>
            </a:extLst>
          </p:cNvPr>
          <p:cNvCxnSpPr>
            <a:cxnSpLocks/>
          </p:cNvCxnSpPr>
          <p:nvPr/>
        </p:nvCxnSpPr>
        <p:spPr>
          <a:xfrm>
            <a:off x="3136790" y="6515131"/>
            <a:ext cx="2858805" cy="0"/>
          </a:xfrm>
          <a:prstGeom prst="line">
            <a:avLst/>
          </a:prstGeom>
          <a:ln w="25400">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261501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Creo Design Packages</a:t>
            </a:r>
          </a:p>
        </p:txBody>
      </p:sp>
      <p:sp>
        <p:nvSpPr>
          <p:cNvPr id="2" name="Subtitle 1"/>
          <p:cNvSpPr>
            <a:spLocks noGrp="1"/>
          </p:cNvSpPr>
          <p:nvPr>
            <p:ph type="subTitle" idx="15"/>
          </p:nvPr>
        </p:nvSpPr>
        <p:spPr>
          <a:xfrm>
            <a:off x="298704" y="1494429"/>
            <a:ext cx="11594592" cy="338328"/>
          </a:xfrm>
        </p:spPr>
        <p:txBody>
          <a:bodyPr/>
          <a:lstStyle/>
          <a:p>
            <a:pPr algn="ctr"/>
            <a:r>
              <a:rPr lang="en-US" b="1" dirty="0">
                <a:latin typeface="+mn-lt"/>
              </a:rPr>
              <a:t>All Creo Design Packages include “standard” Subscription Benefits</a:t>
            </a:r>
          </a:p>
        </p:txBody>
      </p:sp>
      <p:sp>
        <p:nvSpPr>
          <p:cNvPr id="16" name="Rounded Rectangle 176">
            <a:extLst>
              <a:ext uri="{FF2B5EF4-FFF2-40B4-BE49-F238E27FC236}">
                <a16:creationId xmlns:a16="http://schemas.microsoft.com/office/drawing/2014/main" id="{2D75890E-4A15-421A-8869-5F730B11725C}"/>
              </a:ext>
            </a:extLst>
          </p:cNvPr>
          <p:cNvSpPr/>
          <p:nvPr/>
        </p:nvSpPr>
        <p:spPr bwMode="gray">
          <a:xfrm>
            <a:off x="621562" y="2008208"/>
            <a:ext cx="2203075" cy="622107"/>
          </a:xfrm>
          <a:prstGeom prst="roundRect">
            <a:avLst>
              <a:gd name="adj" fmla="val 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nchorCtr="0"/>
          <a:lstStyle/>
          <a:p>
            <a:pPr marL="0" marR="0" lvl="0" indent="0" algn="ctr" defTabSz="1086775" rtl="0" eaLnBrk="1" fontAlgn="auto" latinLnBrk="0" hangingPunct="1">
              <a:lnSpc>
                <a:spcPct val="80000"/>
              </a:lnSpc>
              <a:spcBef>
                <a:spcPts val="0"/>
              </a:spcBef>
              <a:spcAft>
                <a:spcPts val="1000"/>
              </a:spcAft>
              <a:buClrTx/>
              <a:buSzTx/>
              <a:buFontTx/>
              <a:buNone/>
              <a:tabLst/>
              <a:defRPr/>
            </a:pPr>
            <a:r>
              <a:rPr kumimoji="0" lang="en-US" sz="2200" b="1" i="0" u="none" strike="noStrike" kern="1200" cap="none" spc="0" normalizeH="0" baseline="0" noProof="0" dirty="0">
                <a:ln>
                  <a:noFill/>
                </a:ln>
                <a:solidFill>
                  <a:srgbClr val="00890B"/>
                </a:solidFill>
                <a:effectLst/>
                <a:uLnTx/>
                <a:uFillTx/>
                <a:latin typeface="PTCRaleway" panose="020B0503030101060003" pitchFamily="34" charset="0"/>
                <a:ea typeface="+mn-ea"/>
                <a:cs typeface="+mn-cs"/>
              </a:rPr>
              <a:t>Standard eLearning</a:t>
            </a:r>
          </a:p>
        </p:txBody>
      </p:sp>
      <p:sp>
        <p:nvSpPr>
          <p:cNvPr id="28" name="Rectangle 27">
            <a:extLst>
              <a:ext uri="{FF2B5EF4-FFF2-40B4-BE49-F238E27FC236}">
                <a16:creationId xmlns:a16="http://schemas.microsoft.com/office/drawing/2014/main" id="{9C7E4795-3E70-461C-8ECD-97703560DDD9}"/>
              </a:ext>
            </a:extLst>
          </p:cNvPr>
          <p:cNvSpPr/>
          <p:nvPr/>
        </p:nvSpPr>
        <p:spPr bwMode="gray">
          <a:xfrm>
            <a:off x="351499" y="2635960"/>
            <a:ext cx="2743200" cy="3582839"/>
          </a:xfrm>
          <a:prstGeom prst="rect">
            <a:avLst/>
          </a:prstGeom>
          <a:solidFill>
            <a:schemeClr val="bg1">
              <a:alpha val="4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91440" rIns="108000" bIns="36000" rtlCol="0" anchor="t" anchorCtr="0"/>
          <a:lstStyle/>
          <a:p>
            <a:pPr marL="0" marR="0" lvl="0" indent="0" algn="l" defTabSz="1086775" rtl="0" eaLnBrk="1" fontAlgn="auto" latinLnBrk="0" hangingPunct="1">
              <a:lnSpc>
                <a:spcPct val="100000"/>
              </a:lnSpc>
              <a:spcBef>
                <a:spcPts val="1800"/>
              </a:spcBef>
              <a:spcAft>
                <a:spcPts val="0"/>
              </a:spcAft>
              <a:buClrTx/>
              <a:buSzTx/>
              <a:buFontTx/>
              <a:buNone/>
              <a:tabLst/>
              <a:defRPr/>
            </a:pPr>
            <a:r>
              <a:rPr kumimoji="0" lang="en-US" sz="1400" b="0" i="0" u="none" strike="noStrike" kern="1200" cap="none" spc="0" normalizeH="0" baseline="0" noProof="0" dirty="0">
                <a:ln>
                  <a:noFill/>
                </a:ln>
                <a:solidFill>
                  <a:srgbClr val="4D585A"/>
                </a:solidFill>
                <a:effectLst/>
                <a:uLnTx/>
                <a:uFillTx/>
                <a:latin typeface="PTCRaleway" panose="020B0503030101060003" pitchFamily="34" charset="0"/>
                <a:ea typeface="+mn-ea"/>
                <a:cs typeface="+mn-cs"/>
              </a:rPr>
              <a:t>Creo Design packages include eLearning access</a:t>
            </a:r>
          </a:p>
          <a:p>
            <a:pPr marL="0" marR="0" lvl="0" indent="0" algn="l" defTabSz="1086775" rtl="0" eaLnBrk="1" fontAlgn="auto" latinLnBrk="0" hangingPunct="1">
              <a:lnSpc>
                <a:spcPct val="100000"/>
              </a:lnSpc>
              <a:spcBef>
                <a:spcPts val="1200"/>
              </a:spcBef>
              <a:spcAft>
                <a:spcPts val="0"/>
              </a:spcAft>
              <a:buClrTx/>
              <a:buSzTx/>
              <a:buFontTx/>
              <a:buNone/>
              <a:tabLst/>
              <a:defRPr/>
            </a:pPr>
            <a:r>
              <a:rPr kumimoji="0" lang="en-US" sz="1400" b="0" i="0" u="none" strike="noStrike" kern="1200" cap="none" spc="0" normalizeH="0" baseline="0" noProof="0" dirty="0">
                <a:ln>
                  <a:noFill/>
                </a:ln>
                <a:solidFill>
                  <a:srgbClr val="4D585A"/>
                </a:solidFill>
                <a:effectLst/>
                <a:uLnTx/>
                <a:uFillTx/>
                <a:latin typeface="PTCRaleway" panose="020B0503030101060003" pitchFamily="34" charset="0"/>
                <a:ea typeface="+mn-ea"/>
                <a:cs typeface="+mn-cs"/>
              </a:rPr>
              <a:t>Licenses provide Organization access to eLearning:</a:t>
            </a:r>
          </a:p>
          <a:p>
            <a:pPr marL="182880" marR="0" lvl="0" indent="-182880" algn="l" defTabSz="1086775" rtl="0" eaLnBrk="1" fontAlgn="auto" latinLnBrk="0" hangingPunct="1">
              <a:lnSpc>
                <a:spcPct val="100000"/>
              </a:lnSpc>
              <a:spcBef>
                <a:spcPts val="1200"/>
              </a:spcBef>
              <a:spcAft>
                <a:spcPts val="0"/>
              </a:spcAft>
              <a:buClrTx/>
              <a:buSzTx/>
              <a:buFontTx/>
              <a:buBlip>
                <a:blip r:embed="rId3">
                  <a:extLst>
                    <a:ext uri="{96DAC541-7B7A-43D3-8B79-37D633B846F1}">
                      <asvg:svgBlip xmlns:asvg="http://schemas.microsoft.com/office/drawing/2016/SVG/main" r:embed="rId4"/>
                    </a:ext>
                  </a:extLst>
                </a:blip>
              </a:buBlip>
              <a:tabLst/>
              <a:defRPr/>
            </a:pPr>
            <a:r>
              <a:rPr kumimoji="0" lang="en-US" sz="1400" b="0" i="0" u="none" strike="noStrike" kern="1200" cap="none" spc="0" normalizeH="0" baseline="0" noProof="0" dirty="0">
                <a:ln>
                  <a:noFill/>
                </a:ln>
                <a:solidFill>
                  <a:srgbClr val="4D585A"/>
                </a:solidFill>
                <a:effectLst/>
                <a:uLnTx/>
                <a:uFillTx/>
                <a:latin typeface="PTCRaleway" panose="020B0503030101060003" pitchFamily="34" charset="0"/>
                <a:ea typeface="+mn-ea"/>
                <a:cs typeface="+mn-cs"/>
              </a:rPr>
              <a:t>No direct license assignment required. Users simply use their PTC Services log on associated with their organization to gain access to eLearning.</a:t>
            </a:r>
          </a:p>
          <a:p>
            <a:pPr marL="182880" marR="0" lvl="0" indent="-182880" algn="l" defTabSz="1086775" rtl="0" eaLnBrk="1" fontAlgn="auto" latinLnBrk="0" hangingPunct="1">
              <a:lnSpc>
                <a:spcPct val="100000"/>
              </a:lnSpc>
              <a:spcBef>
                <a:spcPts val="1200"/>
              </a:spcBef>
              <a:spcAft>
                <a:spcPts val="0"/>
              </a:spcAft>
              <a:buClrTx/>
              <a:buSzTx/>
              <a:buFontTx/>
              <a:buBlip>
                <a:blip r:embed="rId3">
                  <a:extLst>
                    <a:ext uri="{96DAC541-7B7A-43D3-8B79-37D633B846F1}">
                      <asvg:svgBlip xmlns:asvg="http://schemas.microsoft.com/office/drawing/2016/SVG/main" r:embed="rId4"/>
                    </a:ext>
                  </a:extLst>
                </a:blip>
              </a:buBlip>
              <a:tabLst/>
              <a:defRPr/>
            </a:pPr>
            <a:r>
              <a:rPr kumimoji="0" lang="en-US" sz="1400" b="0" i="0" u="none" strike="noStrike" kern="1200" cap="none" spc="0" normalizeH="0" baseline="0" noProof="0" dirty="0">
                <a:ln>
                  <a:noFill/>
                </a:ln>
                <a:solidFill>
                  <a:srgbClr val="4D585A"/>
                </a:solidFill>
                <a:effectLst/>
                <a:uLnTx/>
                <a:uFillTx/>
                <a:latin typeface="PTCRaleway" panose="020B0503030101060003" pitchFamily="34" charset="0"/>
                <a:ea typeface="+mn-ea"/>
                <a:cs typeface="+mn-cs"/>
              </a:rPr>
              <a:t>License quantities are only used to monitor usage</a:t>
            </a:r>
          </a:p>
          <a:p>
            <a:pPr marL="0" marR="0" lvl="0" indent="0" algn="l" defTabSz="1086775" rtl="0" eaLnBrk="1" fontAlgn="auto" latinLnBrk="0" hangingPunct="1">
              <a:lnSpc>
                <a:spcPct val="100000"/>
              </a:lnSpc>
              <a:spcBef>
                <a:spcPts val="1200"/>
              </a:spcBef>
              <a:spcAft>
                <a:spcPts val="0"/>
              </a:spcAft>
              <a:buClrTx/>
              <a:buSzTx/>
              <a:buFontTx/>
              <a:buNone/>
              <a:tabLst/>
              <a:defRPr/>
            </a:pPr>
            <a:endParaRPr kumimoji="0" lang="en-US" sz="1400" b="0" i="0" u="none" strike="noStrike" kern="1200" cap="none" spc="0" normalizeH="0" baseline="0" noProof="0" dirty="0">
              <a:ln>
                <a:noFill/>
              </a:ln>
              <a:solidFill>
                <a:srgbClr val="4D585A"/>
              </a:solidFill>
              <a:effectLst/>
              <a:uLnTx/>
              <a:uFillTx/>
              <a:latin typeface="PTCRaleway" panose="020B0503030101060003" pitchFamily="34" charset="0"/>
              <a:ea typeface="+mn-ea"/>
              <a:cs typeface="+mn-cs"/>
            </a:endParaRPr>
          </a:p>
          <a:p>
            <a:pPr marL="0" marR="0" lvl="0" indent="0" algn="l" defTabSz="1086775" rtl="0" eaLnBrk="1" fontAlgn="auto" latinLnBrk="0" hangingPunct="1">
              <a:lnSpc>
                <a:spcPct val="100000"/>
              </a:lnSpc>
              <a:spcBef>
                <a:spcPts val="1800"/>
              </a:spcBef>
              <a:spcAft>
                <a:spcPts val="0"/>
              </a:spcAft>
              <a:buClrTx/>
              <a:buSzTx/>
              <a:buFontTx/>
              <a:buNone/>
              <a:tabLst/>
              <a:defRPr/>
            </a:pPr>
            <a:endParaRPr kumimoji="0" lang="en-US" sz="1400" b="0" i="0" u="none" strike="noStrike" kern="1200" cap="none" spc="0" normalizeH="0" baseline="0" noProof="0" dirty="0">
              <a:ln>
                <a:noFill/>
              </a:ln>
              <a:solidFill>
                <a:srgbClr val="4D585A"/>
              </a:solidFill>
              <a:effectLst/>
              <a:uLnTx/>
              <a:uFillTx/>
              <a:latin typeface="PTCRaleway" panose="020B0503030101060003" pitchFamily="34" charset="0"/>
              <a:ea typeface="+mn-ea"/>
              <a:cs typeface="+mn-cs"/>
            </a:endParaRPr>
          </a:p>
        </p:txBody>
      </p:sp>
      <p:sp>
        <p:nvSpPr>
          <p:cNvPr id="34" name="Rounded Rectangle 105">
            <a:extLst>
              <a:ext uri="{FF2B5EF4-FFF2-40B4-BE49-F238E27FC236}">
                <a16:creationId xmlns:a16="http://schemas.microsoft.com/office/drawing/2014/main" id="{647EB5CC-D2AC-4C84-BB5A-F4D7B5A3E230}"/>
              </a:ext>
            </a:extLst>
          </p:cNvPr>
          <p:cNvSpPr/>
          <p:nvPr/>
        </p:nvSpPr>
        <p:spPr bwMode="gray">
          <a:xfrm>
            <a:off x="3575950" y="2008209"/>
            <a:ext cx="2203083" cy="622106"/>
          </a:xfrm>
          <a:prstGeom prst="roundRect">
            <a:avLst>
              <a:gd name="adj" fmla="val 8885"/>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nchorCtr="0"/>
          <a:lstStyle/>
          <a:p>
            <a:pPr marL="0" marR="0" lvl="0" indent="0" algn="ctr" defTabSz="1086775" rtl="0" eaLnBrk="1" fontAlgn="auto" latinLnBrk="0" hangingPunct="1">
              <a:lnSpc>
                <a:spcPct val="80000"/>
              </a:lnSpc>
              <a:spcBef>
                <a:spcPts val="0"/>
              </a:spcBef>
              <a:spcAft>
                <a:spcPts val="1000"/>
              </a:spcAft>
              <a:buClrTx/>
              <a:buSzTx/>
              <a:buFontTx/>
              <a:buNone/>
              <a:tabLst/>
              <a:defRPr/>
            </a:pPr>
            <a:r>
              <a:rPr kumimoji="0" lang="en-US" sz="2200" b="1" i="0" u="none" strike="noStrike" kern="1200" cap="none" spc="0" normalizeH="0" baseline="0" noProof="0" dirty="0">
                <a:ln>
                  <a:noFill/>
                </a:ln>
                <a:solidFill>
                  <a:srgbClr val="00890B"/>
                </a:solidFill>
                <a:effectLst/>
                <a:uLnTx/>
                <a:uFillTx/>
                <a:latin typeface="PTCRaleway" panose="020B0503030101060003" pitchFamily="34" charset="0"/>
                <a:ea typeface="+mn-ea"/>
                <a:cs typeface="+mn-cs"/>
              </a:rPr>
              <a:t>Home Use License</a:t>
            </a:r>
          </a:p>
        </p:txBody>
      </p:sp>
      <p:sp>
        <p:nvSpPr>
          <p:cNvPr id="36" name="Rectangle 35">
            <a:extLst>
              <a:ext uri="{FF2B5EF4-FFF2-40B4-BE49-F238E27FC236}">
                <a16:creationId xmlns:a16="http://schemas.microsoft.com/office/drawing/2014/main" id="{CE31EC6C-D3E7-4A1A-8B2F-FC9D1D305BF8}"/>
              </a:ext>
            </a:extLst>
          </p:cNvPr>
          <p:cNvSpPr/>
          <p:nvPr/>
        </p:nvSpPr>
        <p:spPr bwMode="gray">
          <a:xfrm>
            <a:off x="3260734" y="2635960"/>
            <a:ext cx="2905339" cy="3582839"/>
          </a:xfrm>
          <a:prstGeom prst="rect">
            <a:avLst/>
          </a:prstGeom>
          <a:solidFill>
            <a:schemeClr val="bg1">
              <a:alpha val="4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91440" rIns="108000" bIns="36000" rtlCol="0" anchor="t" anchorCtr="0"/>
          <a:lstStyle/>
          <a:p>
            <a:pPr marL="0" marR="0" lvl="0" indent="0" algn="l" defTabSz="1086775" rtl="0" eaLnBrk="1" fontAlgn="auto" latinLnBrk="0" hangingPunct="1">
              <a:lnSpc>
                <a:spcPct val="100000"/>
              </a:lnSpc>
              <a:spcBef>
                <a:spcPts val="1800"/>
              </a:spcBef>
              <a:spcAft>
                <a:spcPts val="0"/>
              </a:spcAft>
              <a:buClrTx/>
              <a:buSzTx/>
              <a:buFontTx/>
              <a:buNone/>
              <a:tabLst/>
              <a:defRPr/>
            </a:pPr>
            <a:r>
              <a:rPr kumimoji="0" lang="en-US" sz="1400" b="0" i="0" u="none" strike="noStrike" kern="1200" cap="none" spc="0" normalizeH="0" baseline="0" noProof="0" dirty="0">
                <a:ln>
                  <a:noFill/>
                </a:ln>
                <a:solidFill>
                  <a:srgbClr val="4D585A"/>
                </a:solidFill>
                <a:effectLst/>
                <a:uLnTx/>
                <a:uFillTx/>
                <a:latin typeface="PTCRaleway" panose="020B0503030101060003" pitchFamily="34" charset="0"/>
                <a:ea typeface="+mn-ea"/>
                <a:cs typeface="+mn-cs"/>
              </a:rPr>
              <a:t>Creo Design packages include Home Use License access</a:t>
            </a:r>
          </a:p>
          <a:p>
            <a:pPr marL="0" marR="0" lvl="0" indent="0" algn="l" defTabSz="1086775" rtl="0" eaLnBrk="1" fontAlgn="auto" latinLnBrk="0" hangingPunct="1">
              <a:lnSpc>
                <a:spcPct val="100000"/>
              </a:lnSpc>
              <a:spcBef>
                <a:spcPts val="1200"/>
              </a:spcBef>
              <a:spcAft>
                <a:spcPts val="0"/>
              </a:spcAft>
              <a:buClrTx/>
              <a:buSzTx/>
              <a:buFontTx/>
              <a:buNone/>
              <a:tabLst/>
              <a:defRPr/>
            </a:pPr>
            <a:r>
              <a:rPr kumimoji="0" lang="en-US" sz="1400" b="0" i="0" u="none" strike="noStrike" kern="1200" cap="none" spc="0" normalizeH="0" baseline="0" noProof="0" dirty="0">
                <a:ln>
                  <a:noFill/>
                </a:ln>
                <a:solidFill>
                  <a:srgbClr val="4D585A"/>
                </a:solidFill>
                <a:effectLst/>
                <a:uLnTx/>
                <a:uFillTx/>
                <a:latin typeface="PTCRaleway" panose="020B0503030101060003" pitchFamily="34" charset="0"/>
                <a:ea typeface="+mn-ea"/>
                <a:cs typeface="+mn-cs"/>
              </a:rPr>
              <a:t>1 floating license = 2 Home Use</a:t>
            </a:r>
            <a:br>
              <a:rPr kumimoji="0" lang="en-US" sz="1400" b="0" i="0" u="none" strike="noStrike" kern="1200" cap="none" spc="0" normalizeH="0" baseline="0" noProof="0" dirty="0">
                <a:ln>
                  <a:noFill/>
                </a:ln>
                <a:solidFill>
                  <a:srgbClr val="4D585A"/>
                </a:solidFill>
                <a:effectLst/>
                <a:uLnTx/>
                <a:uFillTx/>
                <a:latin typeface="PTCRaleway" panose="020B0503030101060003" pitchFamily="34" charset="0"/>
                <a:ea typeface="+mn-ea"/>
                <a:cs typeface="+mn-cs"/>
              </a:rPr>
            </a:br>
            <a:r>
              <a:rPr kumimoji="0" lang="en-US" sz="1400" b="0" i="0" u="none" strike="noStrike" kern="1200" cap="none" spc="0" normalizeH="0" baseline="0" noProof="0" dirty="0">
                <a:ln>
                  <a:noFill/>
                </a:ln>
                <a:solidFill>
                  <a:srgbClr val="4D585A"/>
                </a:solidFill>
                <a:effectLst/>
                <a:uLnTx/>
                <a:uFillTx/>
                <a:latin typeface="PTCRaleway" panose="020B0503030101060003" pitchFamily="34" charset="0"/>
                <a:ea typeface="+mn-ea"/>
                <a:cs typeface="+mn-cs"/>
              </a:rPr>
              <a:t>1 locked license = 1 Home Use</a:t>
            </a:r>
          </a:p>
          <a:p>
            <a:pPr marL="182880" marR="0" lvl="0" indent="-182880" algn="l" defTabSz="1086775" rtl="0" eaLnBrk="1" fontAlgn="auto" latinLnBrk="0" hangingPunct="1">
              <a:lnSpc>
                <a:spcPct val="100000"/>
              </a:lnSpc>
              <a:spcBef>
                <a:spcPts val="1200"/>
              </a:spcBef>
              <a:spcAft>
                <a:spcPts val="0"/>
              </a:spcAft>
              <a:buClrTx/>
              <a:buSzTx/>
              <a:buFontTx/>
              <a:buBlip>
                <a:blip r:embed="rId3">
                  <a:extLst>
                    <a:ext uri="{96DAC541-7B7A-43D3-8B79-37D633B846F1}">
                      <asvg:svgBlip xmlns:asvg="http://schemas.microsoft.com/office/drawing/2016/SVG/main" r:embed="rId4"/>
                    </a:ext>
                  </a:extLst>
                </a:blip>
              </a:buBlip>
              <a:tabLst/>
              <a:defRPr/>
            </a:pPr>
            <a:r>
              <a:rPr kumimoji="0" lang="en-US" sz="1400" b="0" i="0" u="none" strike="noStrike" kern="1200" cap="none" spc="0" normalizeH="0" baseline="0" noProof="0" dirty="0">
                <a:ln>
                  <a:noFill/>
                </a:ln>
                <a:solidFill>
                  <a:srgbClr val="4D585A"/>
                </a:solidFill>
                <a:effectLst/>
                <a:uLnTx/>
                <a:uFillTx/>
                <a:latin typeface="PTCRaleway" panose="020B0503030101060003" pitchFamily="34" charset="0"/>
                <a:ea typeface="+mn-ea"/>
                <a:cs typeface="+mn-cs"/>
              </a:rPr>
              <a:t>Home Use License provides Creo Design Essentials functionality</a:t>
            </a:r>
          </a:p>
          <a:p>
            <a:pPr marL="182880" marR="0" lvl="0" indent="-182880" algn="l" defTabSz="1086775" rtl="0" eaLnBrk="1" fontAlgn="auto" latinLnBrk="0" hangingPunct="1">
              <a:lnSpc>
                <a:spcPct val="100000"/>
              </a:lnSpc>
              <a:spcBef>
                <a:spcPts val="1200"/>
              </a:spcBef>
              <a:spcAft>
                <a:spcPts val="0"/>
              </a:spcAft>
              <a:buClrTx/>
              <a:buSzTx/>
              <a:buFontTx/>
              <a:buBlip>
                <a:blip r:embed="rId3">
                  <a:extLst>
                    <a:ext uri="{96DAC541-7B7A-43D3-8B79-37D633B846F1}">
                      <asvg:svgBlip xmlns:asvg="http://schemas.microsoft.com/office/drawing/2016/SVG/main" r:embed="rId4"/>
                    </a:ext>
                  </a:extLst>
                </a:blip>
              </a:buBlip>
              <a:tabLst/>
              <a:defRPr/>
            </a:pPr>
            <a:r>
              <a:rPr kumimoji="0" lang="en-US" sz="1400" b="0" i="0" u="none" strike="noStrike" kern="1200" cap="none" spc="0" normalizeH="0" baseline="0" noProof="0" dirty="0">
                <a:ln>
                  <a:noFill/>
                </a:ln>
                <a:solidFill>
                  <a:srgbClr val="4D585A"/>
                </a:solidFill>
                <a:effectLst/>
                <a:uLnTx/>
                <a:uFillTx/>
                <a:latin typeface="PTCRaleway" panose="020B0503030101060003" pitchFamily="34" charset="0"/>
                <a:ea typeface="+mn-ea"/>
                <a:cs typeface="+mn-cs"/>
              </a:rPr>
              <a:t>Functionality does not match what is purchased</a:t>
            </a:r>
          </a:p>
          <a:p>
            <a:pPr marL="182880" marR="0" lvl="0" indent="-182880" algn="l" defTabSz="1086775" rtl="0" eaLnBrk="1" fontAlgn="auto" latinLnBrk="0" hangingPunct="1">
              <a:lnSpc>
                <a:spcPct val="100000"/>
              </a:lnSpc>
              <a:spcBef>
                <a:spcPts val="1200"/>
              </a:spcBef>
              <a:spcAft>
                <a:spcPts val="0"/>
              </a:spcAft>
              <a:buClrTx/>
              <a:buSzTx/>
              <a:buFontTx/>
              <a:buBlip>
                <a:blip r:embed="rId3">
                  <a:extLst>
                    <a:ext uri="{96DAC541-7B7A-43D3-8B79-37D633B846F1}">
                      <asvg:svgBlip xmlns:asvg="http://schemas.microsoft.com/office/drawing/2016/SVG/main" r:embed="rId4"/>
                    </a:ext>
                  </a:extLst>
                </a:blip>
              </a:buBlip>
              <a:tabLst/>
              <a:defRPr/>
            </a:pPr>
            <a:r>
              <a:rPr kumimoji="0" lang="en-US" sz="1400" b="0" i="0" u="none" strike="noStrike" kern="1200" cap="none" spc="0" normalizeH="0" baseline="0" noProof="0" dirty="0">
                <a:ln>
                  <a:noFill/>
                </a:ln>
                <a:solidFill>
                  <a:srgbClr val="4D585A"/>
                </a:solidFill>
                <a:effectLst/>
                <a:uLnTx/>
                <a:uFillTx/>
                <a:latin typeface="PTCRaleway" panose="020B0503030101060003" pitchFamily="34" charset="0"/>
                <a:ea typeface="+mn-ea"/>
                <a:cs typeface="+mn-cs"/>
              </a:rPr>
              <a:t>Company admin must obtain locked license file for each user</a:t>
            </a:r>
          </a:p>
        </p:txBody>
      </p:sp>
      <p:sp>
        <p:nvSpPr>
          <p:cNvPr id="53" name="Rounded Rectangle 166">
            <a:extLst>
              <a:ext uri="{FF2B5EF4-FFF2-40B4-BE49-F238E27FC236}">
                <a16:creationId xmlns:a16="http://schemas.microsoft.com/office/drawing/2014/main" id="{E62C8D70-BCA0-4C25-ADF9-EA4A03CE9232}"/>
              </a:ext>
            </a:extLst>
          </p:cNvPr>
          <p:cNvSpPr/>
          <p:nvPr/>
        </p:nvSpPr>
        <p:spPr bwMode="gray">
          <a:xfrm>
            <a:off x="6192549" y="2042077"/>
            <a:ext cx="2743200" cy="706774"/>
          </a:xfrm>
          <a:prstGeom prst="roundRect">
            <a:avLst>
              <a:gd name="adj" fmla="val 8885"/>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chorCtr="0"/>
          <a:lstStyle/>
          <a:p>
            <a:pPr marL="0" marR="0" lvl="0" indent="0" algn="ctr" defTabSz="1086775" rtl="0" eaLnBrk="1" fontAlgn="auto" latinLnBrk="0" hangingPunct="1">
              <a:lnSpc>
                <a:spcPct val="80000"/>
              </a:lnSpc>
              <a:spcBef>
                <a:spcPts val="0"/>
              </a:spcBef>
              <a:spcAft>
                <a:spcPts val="1000"/>
              </a:spcAft>
              <a:buClrTx/>
              <a:buSzTx/>
              <a:buFontTx/>
              <a:buNone/>
              <a:tabLst/>
              <a:defRPr/>
            </a:pPr>
            <a:r>
              <a:rPr kumimoji="0" lang="en-US" sz="2200" b="1" i="0" u="none" strike="noStrike" kern="1200" cap="none" spc="0" normalizeH="0" baseline="0" noProof="0" dirty="0">
                <a:ln>
                  <a:noFill/>
                </a:ln>
                <a:solidFill>
                  <a:srgbClr val="00890B"/>
                </a:solidFill>
                <a:effectLst/>
                <a:uLnTx/>
                <a:uFillTx/>
                <a:latin typeface="PTCRaleway" panose="020B0503030101060003" pitchFamily="34" charset="0"/>
                <a:ea typeface="+mn-ea"/>
                <a:cs typeface="+mn-cs"/>
              </a:rPr>
              <a:t>Support</a:t>
            </a:r>
          </a:p>
        </p:txBody>
      </p:sp>
      <p:sp>
        <p:nvSpPr>
          <p:cNvPr id="55" name="Rectangle 54">
            <a:extLst>
              <a:ext uri="{FF2B5EF4-FFF2-40B4-BE49-F238E27FC236}">
                <a16:creationId xmlns:a16="http://schemas.microsoft.com/office/drawing/2014/main" id="{29EF44C3-E77E-483E-9E86-10A5D56C11DA}"/>
              </a:ext>
            </a:extLst>
          </p:cNvPr>
          <p:cNvSpPr/>
          <p:nvPr/>
        </p:nvSpPr>
        <p:spPr bwMode="gray">
          <a:xfrm>
            <a:off x="6192549" y="2635960"/>
            <a:ext cx="2743200" cy="3591472"/>
          </a:xfrm>
          <a:prstGeom prst="rect">
            <a:avLst/>
          </a:prstGeom>
          <a:solidFill>
            <a:schemeClr val="bg1">
              <a:alpha val="4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91440" rIns="108000" bIns="36000" rtlCol="0" anchor="t" anchorCtr="0"/>
          <a:lstStyle/>
          <a:p>
            <a:pPr marL="0" marR="0" lvl="0" indent="0" algn="l" defTabSz="1086775" rtl="0" eaLnBrk="1" fontAlgn="auto" latinLnBrk="0" hangingPunct="1">
              <a:lnSpc>
                <a:spcPct val="100000"/>
              </a:lnSpc>
              <a:spcBef>
                <a:spcPts val="1800"/>
              </a:spcBef>
              <a:spcAft>
                <a:spcPts val="0"/>
              </a:spcAft>
              <a:buClrTx/>
              <a:buSzTx/>
              <a:buFontTx/>
              <a:buNone/>
              <a:tabLst/>
              <a:defRPr/>
            </a:pPr>
            <a:r>
              <a:rPr kumimoji="0" lang="en-US" sz="1400" b="0" i="0" u="none" strike="noStrike" kern="1200" cap="none" spc="0" normalizeH="0" baseline="0" noProof="0" dirty="0">
                <a:ln>
                  <a:noFill/>
                </a:ln>
                <a:solidFill>
                  <a:srgbClr val="4D585A"/>
                </a:solidFill>
                <a:effectLst/>
                <a:uLnTx/>
                <a:uFillTx/>
                <a:latin typeface="PTCRaleway" panose="020B0503030101060003" pitchFamily="34" charset="0"/>
                <a:ea typeface="+mn-ea"/>
                <a:cs typeface="+mn-cs"/>
              </a:rPr>
              <a:t>Creo Design packages include PTC Gold Level Support</a:t>
            </a:r>
          </a:p>
          <a:p>
            <a:pPr marL="182880" marR="0" lvl="0" indent="-182880" algn="l" defTabSz="1086775" rtl="0" eaLnBrk="1" fontAlgn="auto" latinLnBrk="0" hangingPunct="1">
              <a:lnSpc>
                <a:spcPct val="100000"/>
              </a:lnSpc>
              <a:spcBef>
                <a:spcPts val="1200"/>
              </a:spcBef>
              <a:spcAft>
                <a:spcPts val="0"/>
              </a:spcAft>
              <a:buClrTx/>
              <a:buSzTx/>
              <a:buFontTx/>
              <a:buBlip>
                <a:blip r:embed="rId3">
                  <a:extLst>
                    <a:ext uri="{96DAC541-7B7A-43D3-8B79-37D633B846F1}">
                      <asvg:svgBlip xmlns:asvg="http://schemas.microsoft.com/office/drawing/2016/SVG/main" r:embed="rId4"/>
                    </a:ext>
                  </a:extLst>
                </a:blip>
              </a:buBlip>
              <a:tabLst/>
              <a:defRPr/>
            </a:pPr>
            <a:r>
              <a:rPr kumimoji="0" lang="en-US" sz="1400" b="0" i="0" u="none" strike="noStrike" kern="1200" cap="none" spc="0" normalizeH="0" baseline="0" noProof="0" dirty="0">
                <a:ln>
                  <a:noFill/>
                </a:ln>
                <a:solidFill>
                  <a:srgbClr val="4D585A"/>
                </a:solidFill>
                <a:effectLst/>
                <a:uLnTx/>
                <a:uFillTx/>
                <a:latin typeface="PTCRaleway" panose="020B0503030101060003" pitchFamily="34" charset="0"/>
                <a:ea typeface="+mn-ea"/>
                <a:cs typeface="+mn-cs"/>
              </a:rPr>
              <a:t>Major releases, security updates &amp; maintenance</a:t>
            </a:r>
          </a:p>
          <a:p>
            <a:pPr marL="182880" marR="0" lvl="0" indent="-182880" algn="l" defTabSz="1086775" rtl="0" eaLnBrk="1" fontAlgn="auto" latinLnBrk="0" hangingPunct="1">
              <a:lnSpc>
                <a:spcPct val="100000"/>
              </a:lnSpc>
              <a:spcBef>
                <a:spcPts val="1200"/>
              </a:spcBef>
              <a:spcAft>
                <a:spcPts val="0"/>
              </a:spcAft>
              <a:buClrTx/>
              <a:buSzTx/>
              <a:buFontTx/>
              <a:buBlip>
                <a:blip r:embed="rId3">
                  <a:extLst>
                    <a:ext uri="{96DAC541-7B7A-43D3-8B79-37D633B846F1}">
                      <asvg:svgBlip xmlns:asvg="http://schemas.microsoft.com/office/drawing/2016/SVG/main" r:embed="rId4"/>
                    </a:ext>
                  </a:extLst>
                </a:blip>
              </a:buBlip>
              <a:tabLst/>
              <a:defRPr/>
            </a:pPr>
            <a:r>
              <a:rPr kumimoji="0" lang="en-US" sz="1400" b="0" i="0" u="none" strike="noStrike" kern="1200" cap="none" spc="0" normalizeH="0" baseline="0" noProof="0" dirty="0">
                <a:ln>
                  <a:noFill/>
                </a:ln>
                <a:solidFill>
                  <a:srgbClr val="4D585A"/>
                </a:solidFill>
                <a:effectLst/>
                <a:uLnTx/>
                <a:uFillTx/>
                <a:latin typeface="PTCRaleway" panose="020B0503030101060003" pitchFamily="34" charset="0"/>
                <a:ea typeface="+mn-ea"/>
                <a:cs typeface="+mn-cs"/>
              </a:rPr>
              <a:t>24x5 access to the Gold Support desk</a:t>
            </a:r>
          </a:p>
          <a:p>
            <a:pPr marL="182880" marR="0" lvl="0" indent="-182880" algn="l" defTabSz="1086775" rtl="0" eaLnBrk="1" fontAlgn="auto" latinLnBrk="0" hangingPunct="1">
              <a:lnSpc>
                <a:spcPct val="100000"/>
              </a:lnSpc>
              <a:spcBef>
                <a:spcPts val="1200"/>
              </a:spcBef>
              <a:spcAft>
                <a:spcPts val="0"/>
              </a:spcAft>
              <a:buClrTx/>
              <a:buSzTx/>
              <a:buFontTx/>
              <a:buBlip>
                <a:blip r:embed="rId3">
                  <a:extLst>
                    <a:ext uri="{96DAC541-7B7A-43D3-8B79-37D633B846F1}">
                      <asvg:svgBlip xmlns:asvg="http://schemas.microsoft.com/office/drawing/2016/SVG/main" r:embed="rId4"/>
                    </a:ext>
                  </a:extLst>
                </a:blip>
              </a:buBlip>
              <a:tabLst/>
              <a:defRPr/>
            </a:pPr>
            <a:r>
              <a:rPr kumimoji="0" lang="en-US" sz="1400" b="0" i="0" u="none" strike="noStrike" kern="1200" cap="none" spc="0" normalizeH="0" baseline="0" noProof="0" dirty="0">
                <a:ln>
                  <a:noFill/>
                </a:ln>
                <a:solidFill>
                  <a:srgbClr val="4D585A"/>
                </a:solidFill>
                <a:effectLst/>
                <a:uLnTx/>
                <a:uFillTx/>
                <a:latin typeface="PTCRaleway" panose="020B0503030101060003" pitchFamily="34" charset="0"/>
                <a:ea typeface="+mn-ea"/>
                <a:cs typeface="+mn-cs"/>
              </a:rPr>
              <a:t>Pro-active Support Alerts</a:t>
            </a:r>
          </a:p>
          <a:p>
            <a:pPr marL="182880" marR="0" lvl="0" indent="-182880" algn="l" defTabSz="1086775" rtl="0" eaLnBrk="1" fontAlgn="auto" latinLnBrk="0" hangingPunct="1">
              <a:lnSpc>
                <a:spcPct val="100000"/>
              </a:lnSpc>
              <a:spcBef>
                <a:spcPts val="1200"/>
              </a:spcBef>
              <a:spcAft>
                <a:spcPts val="0"/>
              </a:spcAft>
              <a:buClrTx/>
              <a:buSzTx/>
              <a:buFontTx/>
              <a:buBlip>
                <a:blip r:embed="rId3">
                  <a:extLst>
                    <a:ext uri="{96DAC541-7B7A-43D3-8B79-37D633B846F1}">
                      <asvg:svgBlip xmlns:asvg="http://schemas.microsoft.com/office/drawing/2016/SVG/main" r:embed="rId4"/>
                    </a:ext>
                  </a:extLst>
                </a:blip>
              </a:buBlip>
              <a:tabLst/>
              <a:defRPr/>
            </a:pPr>
            <a:r>
              <a:rPr kumimoji="0" lang="en-US" sz="1400" b="0" i="0" u="none" strike="noStrike" kern="1200" cap="none" spc="0" normalizeH="0" baseline="0" noProof="0" dirty="0">
                <a:ln>
                  <a:noFill/>
                </a:ln>
                <a:solidFill>
                  <a:srgbClr val="4D585A"/>
                </a:solidFill>
                <a:effectLst/>
                <a:uLnTx/>
                <a:uFillTx/>
                <a:latin typeface="PTCRaleway" panose="020B0503030101060003" pitchFamily="34" charset="0"/>
                <a:ea typeface="+mn-ea"/>
                <a:cs typeface="+mn-cs"/>
              </a:rPr>
              <a:t>Self-Guided Online Support and Intelligent Case Management</a:t>
            </a:r>
          </a:p>
        </p:txBody>
      </p:sp>
      <p:sp>
        <p:nvSpPr>
          <p:cNvPr id="66" name="Rounded Rectangle 166">
            <a:extLst>
              <a:ext uri="{FF2B5EF4-FFF2-40B4-BE49-F238E27FC236}">
                <a16:creationId xmlns:a16="http://schemas.microsoft.com/office/drawing/2014/main" id="{12B16EB5-5637-4932-85CA-3E71261435D2}"/>
              </a:ext>
            </a:extLst>
          </p:cNvPr>
          <p:cNvSpPr/>
          <p:nvPr/>
        </p:nvSpPr>
        <p:spPr bwMode="gray">
          <a:xfrm>
            <a:off x="9090496" y="2008210"/>
            <a:ext cx="2743200" cy="706774"/>
          </a:xfrm>
          <a:prstGeom prst="roundRect">
            <a:avLst>
              <a:gd name="adj" fmla="val 8885"/>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nchorCtr="0"/>
          <a:lstStyle/>
          <a:p>
            <a:pPr marL="0" marR="0" lvl="0" indent="0" algn="ctr" defTabSz="1086775" rtl="0" eaLnBrk="1" fontAlgn="auto" latinLnBrk="0" hangingPunct="1">
              <a:lnSpc>
                <a:spcPct val="80000"/>
              </a:lnSpc>
              <a:spcBef>
                <a:spcPts val="0"/>
              </a:spcBef>
              <a:spcAft>
                <a:spcPts val="1000"/>
              </a:spcAft>
              <a:buClrTx/>
              <a:buSzTx/>
              <a:buFontTx/>
              <a:buNone/>
              <a:tabLst/>
              <a:defRPr/>
            </a:pPr>
            <a:r>
              <a:rPr kumimoji="0" lang="en-US" sz="2200" b="1" i="0" u="none" strike="noStrike" kern="1200" cap="none" spc="0" normalizeH="0" baseline="0" noProof="0" dirty="0">
                <a:ln>
                  <a:noFill/>
                </a:ln>
                <a:solidFill>
                  <a:srgbClr val="00890B"/>
                </a:solidFill>
                <a:effectLst/>
                <a:uLnTx/>
                <a:uFillTx/>
                <a:latin typeface="PTCRaleway" panose="020B0503030101060003" pitchFamily="34" charset="0"/>
                <a:ea typeface="+mn-ea"/>
                <a:cs typeface="+mn-cs"/>
              </a:rPr>
              <a:t>Performance Advisor</a:t>
            </a:r>
          </a:p>
        </p:txBody>
      </p:sp>
      <p:sp>
        <p:nvSpPr>
          <p:cNvPr id="68" name="Rectangle 67">
            <a:extLst>
              <a:ext uri="{FF2B5EF4-FFF2-40B4-BE49-F238E27FC236}">
                <a16:creationId xmlns:a16="http://schemas.microsoft.com/office/drawing/2014/main" id="{B115080B-4891-4DE2-9AED-53AA48D328D5}"/>
              </a:ext>
            </a:extLst>
          </p:cNvPr>
          <p:cNvSpPr/>
          <p:nvPr/>
        </p:nvSpPr>
        <p:spPr bwMode="gray">
          <a:xfrm>
            <a:off x="9090496" y="2635961"/>
            <a:ext cx="2743200" cy="1659467"/>
          </a:xfrm>
          <a:prstGeom prst="rect">
            <a:avLst/>
          </a:prstGeom>
          <a:solidFill>
            <a:schemeClr val="bg1">
              <a:alpha val="4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91440" rIns="108000" bIns="36000" rtlCol="0" anchor="t" anchorCtr="0"/>
          <a:lstStyle/>
          <a:p>
            <a:pPr marL="0" marR="0" lvl="0" indent="0" algn="l" defTabSz="1086775" rtl="0" eaLnBrk="1" fontAlgn="auto" latinLnBrk="0" hangingPunct="1">
              <a:lnSpc>
                <a:spcPct val="100000"/>
              </a:lnSpc>
              <a:spcBef>
                <a:spcPts val="1800"/>
              </a:spcBef>
              <a:spcAft>
                <a:spcPts val="0"/>
              </a:spcAft>
              <a:buClrTx/>
              <a:buSzTx/>
              <a:buFontTx/>
              <a:buNone/>
              <a:tabLst/>
              <a:defRPr/>
            </a:pPr>
            <a:r>
              <a:rPr kumimoji="0" lang="en-US" sz="1400" b="0" i="0" u="none" strike="noStrike" kern="1200" cap="none" spc="0" normalizeH="0" baseline="0" noProof="0" dirty="0">
                <a:ln>
                  <a:noFill/>
                </a:ln>
                <a:solidFill>
                  <a:srgbClr val="4D585A"/>
                </a:solidFill>
                <a:effectLst/>
                <a:uLnTx/>
                <a:uFillTx/>
                <a:latin typeface="PTCRaleway" panose="020B0503030101060003" pitchFamily="34" charset="0"/>
                <a:ea typeface="+mn-ea"/>
                <a:cs typeface="+mn-cs"/>
              </a:rPr>
              <a:t>Creo Design packages include Performance Advisor </a:t>
            </a:r>
            <a:br>
              <a:rPr kumimoji="0" lang="en-US" sz="1400" b="0" i="0" u="none" strike="noStrike" kern="1200" cap="none" spc="0" normalizeH="0" baseline="0" noProof="0" dirty="0">
                <a:ln>
                  <a:noFill/>
                </a:ln>
                <a:solidFill>
                  <a:srgbClr val="4D585A"/>
                </a:solidFill>
                <a:effectLst/>
                <a:uLnTx/>
                <a:uFillTx/>
                <a:latin typeface="PTCRaleway" panose="020B0503030101060003" pitchFamily="34" charset="0"/>
                <a:ea typeface="+mn-ea"/>
                <a:cs typeface="+mn-cs"/>
              </a:rPr>
            </a:br>
            <a:r>
              <a:rPr kumimoji="0" lang="en-US" sz="1400" b="0" i="0" u="none" strike="noStrike" kern="1200" cap="none" spc="0" normalizeH="0" baseline="0" noProof="0" dirty="0">
                <a:ln>
                  <a:noFill/>
                </a:ln>
                <a:solidFill>
                  <a:srgbClr val="4D585A"/>
                </a:solidFill>
                <a:effectLst/>
                <a:uLnTx/>
                <a:uFillTx/>
                <a:latin typeface="PTCRaleway" panose="020B0503030101060003" pitchFamily="34" charset="0"/>
                <a:ea typeface="+mn-ea"/>
                <a:cs typeface="+mn-cs"/>
              </a:rPr>
              <a:t>(basic and advanced features)</a:t>
            </a:r>
          </a:p>
          <a:p>
            <a:pPr marL="182880" marR="0" lvl="0" indent="-182880" algn="l" defTabSz="1086775" rtl="0" eaLnBrk="1" fontAlgn="auto" latinLnBrk="0" hangingPunct="1">
              <a:lnSpc>
                <a:spcPct val="100000"/>
              </a:lnSpc>
              <a:spcBef>
                <a:spcPts val="1200"/>
              </a:spcBef>
              <a:spcAft>
                <a:spcPts val="0"/>
              </a:spcAft>
              <a:buClrTx/>
              <a:buSzTx/>
              <a:buFontTx/>
              <a:buBlip>
                <a:blip r:embed="rId3">
                  <a:extLst>
                    <a:ext uri="{96DAC541-7B7A-43D3-8B79-37D633B846F1}">
                      <asvg:svgBlip xmlns:asvg="http://schemas.microsoft.com/office/drawing/2016/SVG/main" r:embed="rId4"/>
                    </a:ext>
                  </a:extLst>
                </a:blip>
              </a:buBlip>
              <a:tabLst/>
              <a:defRPr/>
            </a:pPr>
            <a:r>
              <a:rPr kumimoji="0" lang="en-US" sz="1400" b="0" i="0" u="none" strike="noStrike" kern="1200" cap="none" spc="0" normalizeH="0" baseline="0" noProof="0" dirty="0">
                <a:ln>
                  <a:noFill/>
                </a:ln>
                <a:solidFill>
                  <a:srgbClr val="4D585A"/>
                </a:solidFill>
                <a:effectLst/>
                <a:uLnTx/>
                <a:uFillTx/>
                <a:latin typeface="PTCRaleway" panose="020B0503030101060003" pitchFamily="34" charset="0"/>
                <a:ea typeface="+mn-ea"/>
                <a:cs typeface="+mn-cs"/>
              </a:rPr>
              <a:t>Hardware and software performance monitoring</a:t>
            </a:r>
          </a:p>
          <a:p>
            <a:pPr marL="182880" marR="0" lvl="0" indent="-182880" algn="l" defTabSz="1086775" rtl="0" eaLnBrk="1" fontAlgn="auto" latinLnBrk="0" hangingPunct="1">
              <a:lnSpc>
                <a:spcPct val="100000"/>
              </a:lnSpc>
              <a:spcBef>
                <a:spcPts val="1200"/>
              </a:spcBef>
              <a:spcAft>
                <a:spcPts val="0"/>
              </a:spcAft>
              <a:buClrTx/>
              <a:buSzTx/>
              <a:buFontTx/>
              <a:buBlip>
                <a:blip r:embed="rId3">
                  <a:extLst>
                    <a:ext uri="{96DAC541-7B7A-43D3-8B79-37D633B846F1}">
                      <asvg:svgBlip xmlns:asvg="http://schemas.microsoft.com/office/drawing/2016/SVG/main" r:embed="rId4"/>
                    </a:ext>
                  </a:extLst>
                </a:blip>
              </a:buBlip>
              <a:tabLst/>
              <a:defRPr/>
            </a:pPr>
            <a:r>
              <a:rPr kumimoji="0" lang="en-US" sz="1400" b="0" i="0" u="none" strike="noStrike" kern="1200" cap="none" spc="0" normalizeH="0" baseline="0" noProof="0" dirty="0">
                <a:ln>
                  <a:noFill/>
                </a:ln>
                <a:solidFill>
                  <a:srgbClr val="4D585A"/>
                </a:solidFill>
                <a:effectLst/>
                <a:uLnTx/>
                <a:uFillTx/>
                <a:latin typeface="PTCRaleway" panose="020B0503030101060003" pitchFamily="34" charset="0"/>
                <a:ea typeface="+mn-ea"/>
                <a:cs typeface="+mn-cs"/>
              </a:rPr>
              <a:t>User and feature usage information</a:t>
            </a:r>
          </a:p>
        </p:txBody>
      </p:sp>
      <p:sp>
        <p:nvSpPr>
          <p:cNvPr id="78" name="Rounded Rectangle 105">
            <a:extLst>
              <a:ext uri="{FF2B5EF4-FFF2-40B4-BE49-F238E27FC236}">
                <a16:creationId xmlns:a16="http://schemas.microsoft.com/office/drawing/2014/main" id="{AFDAD483-0F6A-44DC-A734-C4AF77B64E6F}"/>
              </a:ext>
            </a:extLst>
          </p:cNvPr>
          <p:cNvSpPr/>
          <p:nvPr/>
        </p:nvSpPr>
        <p:spPr bwMode="gray">
          <a:xfrm>
            <a:off x="9261305" y="4730196"/>
            <a:ext cx="2401583" cy="658865"/>
          </a:xfrm>
          <a:prstGeom prst="roundRect">
            <a:avLst>
              <a:gd name="adj" fmla="val 8885"/>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nchorCtr="0"/>
          <a:lstStyle/>
          <a:p>
            <a:pPr marL="0" marR="0" lvl="0" indent="0" algn="ctr" defTabSz="1086775" rtl="0" eaLnBrk="1" fontAlgn="auto" latinLnBrk="0" hangingPunct="1">
              <a:lnSpc>
                <a:spcPct val="80000"/>
              </a:lnSpc>
              <a:spcBef>
                <a:spcPts val="0"/>
              </a:spcBef>
              <a:spcAft>
                <a:spcPts val="1000"/>
              </a:spcAft>
              <a:buClrTx/>
              <a:buSzTx/>
              <a:buFontTx/>
              <a:buNone/>
              <a:tabLst/>
              <a:defRPr/>
            </a:pPr>
            <a:r>
              <a:rPr kumimoji="0" lang="en-US" sz="2200" b="1" i="0" u="none" strike="noStrike" kern="1200" cap="none" spc="0" normalizeH="0" baseline="0" noProof="0" dirty="0">
                <a:ln>
                  <a:noFill/>
                </a:ln>
                <a:solidFill>
                  <a:srgbClr val="00890B"/>
                </a:solidFill>
                <a:effectLst/>
                <a:uLnTx/>
                <a:uFillTx/>
                <a:latin typeface="PTCRaleway" panose="020B0503030101060003" pitchFamily="34" charset="0"/>
                <a:ea typeface="+mn-ea"/>
                <a:cs typeface="+mn-cs"/>
              </a:rPr>
              <a:t>License Borrowing</a:t>
            </a:r>
          </a:p>
        </p:txBody>
      </p:sp>
      <p:sp>
        <p:nvSpPr>
          <p:cNvPr id="80" name="Rectangle 79">
            <a:extLst>
              <a:ext uri="{FF2B5EF4-FFF2-40B4-BE49-F238E27FC236}">
                <a16:creationId xmlns:a16="http://schemas.microsoft.com/office/drawing/2014/main" id="{09D2B885-A7B8-497A-91A1-1A075C3BA162}"/>
              </a:ext>
            </a:extLst>
          </p:cNvPr>
          <p:cNvSpPr/>
          <p:nvPr/>
        </p:nvSpPr>
        <p:spPr bwMode="gray">
          <a:xfrm>
            <a:off x="9090496" y="5422928"/>
            <a:ext cx="2743200" cy="1068181"/>
          </a:xfrm>
          <a:prstGeom prst="rect">
            <a:avLst/>
          </a:prstGeom>
          <a:solidFill>
            <a:schemeClr val="bg1">
              <a:alpha val="4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8000" tIns="91440" rIns="108000" bIns="36000" rtlCol="0" anchor="t" anchorCtr="0"/>
          <a:lstStyle/>
          <a:p>
            <a:pPr marL="0" marR="0" lvl="0" indent="0" algn="l" defTabSz="1086775" rtl="0" eaLnBrk="1" fontAlgn="auto" latinLnBrk="0" hangingPunct="1">
              <a:lnSpc>
                <a:spcPct val="100000"/>
              </a:lnSpc>
              <a:spcBef>
                <a:spcPts val="1800"/>
              </a:spcBef>
              <a:spcAft>
                <a:spcPts val="0"/>
              </a:spcAft>
              <a:buClrTx/>
              <a:buSzTx/>
              <a:buFontTx/>
              <a:buNone/>
              <a:tabLst/>
              <a:defRPr/>
            </a:pPr>
            <a:r>
              <a:rPr kumimoji="0" lang="en-US" sz="1400" b="0" i="0" u="none" strike="noStrike" kern="1200" cap="none" spc="0" normalizeH="0" baseline="0" noProof="0" dirty="0">
                <a:ln>
                  <a:noFill/>
                </a:ln>
                <a:solidFill>
                  <a:srgbClr val="4D585A"/>
                </a:solidFill>
                <a:effectLst/>
                <a:uLnTx/>
                <a:uFillTx/>
                <a:latin typeface="PTCRaleway" panose="020B0503030101060003" pitchFamily="34" charset="0"/>
                <a:ea typeface="+mn-ea"/>
                <a:cs typeface="+mn-cs"/>
              </a:rPr>
              <a:t>Creo Design packages provide extended license borrowing </a:t>
            </a:r>
          </a:p>
          <a:p>
            <a:pPr marL="182880" marR="0" lvl="0" indent="-182880" algn="l" defTabSz="1086775" rtl="0" eaLnBrk="1" fontAlgn="auto" latinLnBrk="0" hangingPunct="1">
              <a:lnSpc>
                <a:spcPct val="100000"/>
              </a:lnSpc>
              <a:spcBef>
                <a:spcPts val="1200"/>
              </a:spcBef>
              <a:spcAft>
                <a:spcPts val="0"/>
              </a:spcAft>
              <a:buClrTx/>
              <a:buSzTx/>
              <a:buFontTx/>
              <a:buBlip>
                <a:blip r:embed="rId3">
                  <a:extLst>
                    <a:ext uri="{96DAC541-7B7A-43D3-8B79-37D633B846F1}">
                      <asvg:svgBlip xmlns:asvg="http://schemas.microsoft.com/office/drawing/2016/SVG/main" r:embed="rId4"/>
                    </a:ext>
                  </a:extLst>
                </a:blip>
              </a:buBlip>
              <a:tabLst/>
              <a:defRPr/>
            </a:pPr>
            <a:r>
              <a:rPr kumimoji="0" lang="en-US" sz="1400" b="0" i="0" u="none" strike="noStrike" kern="1200" cap="none" spc="0" normalizeH="0" baseline="0" noProof="0" dirty="0">
                <a:ln>
                  <a:noFill/>
                </a:ln>
                <a:solidFill>
                  <a:srgbClr val="4D585A"/>
                </a:solidFill>
                <a:effectLst/>
                <a:uLnTx/>
                <a:uFillTx/>
                <a:latin typeface="PTCRaleway" panose="020B0503030101060003" pitchFamily="34" charset="0"/>
                <a:ea typeface="+mn-ea"/>
                <a:cs typeface="+mn-cs"/>
              </a:rPr>
              <a:t>Extended to 180 days</a:t>
            </a:r>
          </a:p>
        </p:txBody>
      </p:sp>
      <p:grpSp>
        <p:nvGrpSpPr>
          <p:cNvPr id="6" name="Group 5">
            <a:extLst>
              <a:ext uri="{FF2B5EF4-FFF2-40B4-BE49-F238E27FC236}">
                <a16:creationId xmlns:a16="http://schemas.microsoft.com/office/drawing/2014/main" id="{B112B3E4-2192-4B11-9984-825CD1104EA4}"/>
              </a:ext>
            </a:extLst>
          </p:cNvPr>
          <p:cNvGrpSpPr/>
          <p:nvPr/>
        </p:nvGrpSpPr>
        <p:grpSpPr>
          <a:xfrm>
            <a:off x="3218878" y="2065869"/>
            <a:ext cx="5735942" cy="4389911"/>
            <a:chOff x="3218878" y="1862667"/>
            <a:chExt cx="5735942" cy="4389911"/>
          </a:xfrm>
        </p:grpSpPr>
        <p:cxnSp>
          <p:nvCxnSpPr>
            <p:cNvPr id="5" name="Straight Connector 4">
              <a:extLst>
                <a:ext uri="{FF2B5EF4-FFF2-40B4-BE49-F238E27FC236}">
                  <a16:creationId xmlns:a16="http://schemas.microsoft.com/office/drawing/2014/main" id="{BB1E9B1A-FDD1-41D9-BB65-034D70214F0A}"/>
                </a:ext>
              </a:extLst>
            </p:cNvPr>
            <p:cNvCxnSpPr>
              <a:cxnSpLocks/>
            </p:cNvCxnSpPr>
            <p:nvPr/>
          </p:nvCxnSpPr>
          <p:spPr>
            <a:xfrm>
              <a:off x="3218878" y="1862667"/>
              <a:ext cx="0" cy="4389911"/>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FC1C2A2F-A079-4A07-88D5-3E2517B32EFA}"/>
                </a:ext>
              </a:extLst>
            </p:cNvPr>
            <p:cNvCxnSpPr>
              <a:cxnSpLocks/>
            </p:cNvCxnSpPr>
            <p:nvPr/>
          </p:nvCxnSpPr>
          <p:spPr>
            <a:xfrm>
              <a:off x="6098138" y="1862667"/>
              <a:ext cx="0" cy="4389911"/>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62E6CADB-0AEE-4D3D-9109-170F51432806}"/>
                </a:ext>
              </a:extLst>
            </p:cNvPr>
            <p:cNvCxnSpPr>
              <a:cxnSpLocks/>
            </p:cNvCxnSpPr>
            <p:nvPr/>
          </p:nvCxnSpPr>
          <p:spPr>
            <a:xfrm>
              <a:off x="8954820" y="1862667"/>
              <a:ext cx="0" cy="4389911"/>
            </a:xfrm>
            <a:prstGeom prst="line">
              <a:avLst/>
            </a:prstGeom>
            <a:ln w="9525">
              <a:solidFill>
                <a:schemeClr val="bg2"/>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853555232"/>
      </p:ext>
    </p:extLst>
  </p:cSld>
  <p:clrMapOvr>
    <a:masterClrMapping/>
  </p:clrMapOvr>
  <mc:AlternateContent xmlns:mc="http://schemas.openxmlformats.org/markup-compatibility/2006" xmlns:p14="http://schemas.microsoft.com/office/powerpoint/2010/main">
    <mc:Choice Requires="p14">
      <p:transition spd="med" p14:dur="6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cap="none"/>
              <a:t>LINEAR STRUCTURAL ANALYSIS </a:t>
            </a:r>
          </a:p>
        </p:txBody>
      </p:sp>
      <p:sp>
        <p:nvSpPr>
          <p:cNvPr id="2" name="Subtitle 1"/>
          <p:cNvSpPr>
            <a:spLocks noGrp="1"/>
          </p:cNvSpPr>
          <p:nvPr>
            <p:ph type="subTitle" idx="4294967295"/>
          </p:nvPr>
        </p:nvSpPr>
        <p:spPr>
          <a:xfrm>
            <a:off x="495300" y="1199452"/>
            <a:ext cx="9459549" cy="467076"/>
          </a:xfrm>
        </p:spPr>
        <p:txBody>
          <a:bodyPr vert="horz" lIns="0" tIns="0" rIns="0" bIns="0" rtlCol="0">
            <a:noAutofit/>
          </a:bodyPr>
          <a:lstStyle/>
          <a:p>
            <a:pPr marL="0" indent="0">
              <a:buNone/>
            </a:pPr>
            <a:r>
              <a:rPr lang="en-US" sz="2000" dirty="0"/>
              <a:t>Analyze and optimize the structural integrity of part and assembly models</a:t>
            </a:r>
          </a:p>
        </p:txBody>
      </p:sp>
      <p:pic>
        <p:nvPicPr>
          <p:cNvPr id="15" name="Picture 2" descr="D:\000 - CAD Sales Enablement\000 - FY16 CAD Core Plays\SmartHomeSystemIcon.png">
            <a:hlinkClick r:id="rId3" action="ppaction://hlinksldjump"/>
            <a:extLst>
              <a:ext uri="{FF2B5EF4-FFF2-40B4-BE49-F238E27FC236}">
                <a16:creationId xmlns:a16="http://schemas.microsoft.com/office/drawing/2014/main" id="{60E4F02E-A259-4F34-9CAC-A15C969EBB66}"/>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tretch>
            <a:fillRect/>
          </a:stretch>
        </p:blipFill>
        <p:spPr bwMode="auto">
          <a:xfrm>
            <a:off x="11287745" y="768126"/>
            <a:ext cx="594300" cy="594300"/>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16" name="Rectangle 15">
            <a:extLst>
              <a:ext uri="{FF2B5EF4-FFF2-40B4-BE49-F238E27FC236}">
                <a16:creationId xmlns:a16="http://schemas.microsoft.com/office/drawing/2014/main" id="{05FA804F-B89D-4A51-923F-338125FEB5BC}"/>
              </a:ext>
            </a:extLst>
          </p:cNvPr>
          <p:cNvSpPr/>
          <p:nvPr/>
        </p:nvSpPr>
        <p:spPr>
          <a:xfrm>
            <a:off x="495300" y="1872487"/>
            <a:ext cx="1510147" cy="727844"/>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lnSpc>
                <a:spcPct val="90000"/>
              </a:lnSpc>
              <a:spcBef>
                <a:spcPts val="800"/>
              </a:spcBef>
            </a:pPr>
            <a:r>
              <a:rPr lang="en-US" sz="1500" b="1">
                <a:solidFill>
                  <a:schemeClr val="tx1"/>
                </a:solidFill>
              </a:rPr>
              <a:t>Who Needs It?</a:t>
            </a:r>
          </a:p>
        </p:txBody>
      </p:sp>
      <p:sp>
        <p:nvSpPr>
          <p:cNvPr id="17" name="Rectangle 16">
            <a:extLst>
              <a:ext uri="{FF2B5EF4-FFF2-40B4-BE49-F238E27FC236}">
                <a16:creationId xmlns:a16="http://schemas.microsoft.com/office/drawing/2014/main" id="{4173B89E-E5EE-44A0-B407-E8749FE56A48}"/>
              </a:ext>
            </a:extLst>
          </p:cNvPr>
          <p:cNvSpPr/>
          <p:nvPr/>
        </p:nvSpPr>
        <p:spPr>
          <a:xfrm>
            <a:off x="2146154" y="1872487"/>
            <a:ext cx="5862690" cy="72784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dirty="0">
                <a:solidFill>
                  <a:schemeClr val="tx1"/>
                </a:solidFill>
              </a:rPr>
              <a:t>The target customer must avoid product failures to mitigate risk of warranty, service, repair and liability</a:t>
            </a:r>
          </a:p>
        </p:txBody>
      </p:sp>
      <p:sp>
        <p:nvSpPr>
          <p:cNvPr id="18" name="Rectangle 17">
            <a:extLst>
              <a:ext uri="{FF2B5EF4-FFF2-40B4-BE49-F238E27FC236}">
                <a16:creationId xmlns:a16="http://schemas.microsoft.com/office/drawing/2014/main" id="{E1F57E4F-D4BB-4956-819D-7A603D6FB45C}"/>
              </a:ext>
            </a:extLst>
          </p:cNvPr>
          <p:cNvSpPr/>
          <p:nvPr/>
        </p:nvSpPr>
        <p:spPr>
          <a:xfrm>
            <a:off x="495300" y="2663698"/>
            <a:ext cx="1510147" cy="1188349"/>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lnSpc>
                <a:spcPct val="90000"/>
              </a:lnSpc>
              <a:spcBef>
                <a:spcPts val="800"/>
              </a:spcBef>
            </a:pPr>
            <a:r>
              <a:rPr lang="en-US" sz="1500" b="1">
                <a:solidFill>
                  <a:schemeClr val="tx1"/>
                </a:solidFill>
              </a:rPr>
              <a:t>Business Value</a:t>
            </a:r>
          </a:p>
        </p:txBody>
      </p:sp>
      <p:sp>
        <p:nvSpPr>
          <p:cNvPr id="19" name="Rectangle 18">
            <a:extLst>
              <a:ext uri="{FF2B5EF4-FFF2-40B4-BE49-F238E27FC236}">
                <a16:creationId xmlns:a16="http://schemas.microsoft.com/office/drawing/2014/main" id="{D20541AF-8B61-4E4B-8B04-2484915A5F14}"/>
              </a:ext>
            </a:extLst>
          </p:cNvPr>
          <p:cNvSpPr/>
          <p:nvPr/>
        </p:nvSpPr>
        <p:spPr>
          <a:xfrm>
            <a:off x="2146158" y="2765298"/>
            <a:ext cx="3739562" cy="95410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spAutoFit/>
          </a:bodyPr>
          <a:lstStyle/>
          <a:p>
            <a:pPr marL="174625" lvl="1" indent="-174625">
              <a:buClr>
                <a:schemeClr val="bg2"/>
              </a:buClr>
              <a:buFont typeface="Wingdings" panose="05000000000000000000" pitchFamily="2" charset="2"/>
              <a:buChar char="§"/>
            </a:pPr>
            <a:r>
              <a:rPr lang="en-US" sz="1400" dirty="0">
                <a:solidFill>
                  <a:schemeClr val="tx1"/>
                </a:solidFill>
              </a:rPr>
              <a:t>Reduce time-to-market</a:t>
            </a:r>
          </a:p>
          <a:p>
            <a:pPr marL="174625" lvl="1" indent="-174625">
              <a:buClr>
                <a:schemeClr val="bg2"/>
              </a:buClr>
              <a:buFont typeface="Wingdings" panose="05000000000000000000" pitchFamily="2" charset="2"/>
              <a:buChar char="§"/>
            </a:pPr>
            <a:r>
              <a:rPr lang="en-US" sz="1400" dirty="0">
                <a:solidFill>
                  <a:schemeClr val="tx1"/>
                </a:solidFill>
              </a:rPr>
              <a:t>Reduce product lifecycle cost</a:t>
            </a:r>
          </a:p>
          <a:p>
            <a:pPr marL="174625" lvl="1" indent="-174625">
              <a:buClr>
                <a:schemeClr val="bg2"/>
              </a:buClr>
              <a:buFont typeface="Wingdings" panose="05000000000000000000" pitchFamily="2" charset="2"/>
              <a:buChar char="§"/>
            </a:pPr>
            <a:r>
              <a:rPr lang="en-US" sz="1400" dirty="0">
                <a:solidFill>
                  <a:schemeClr val="tx1"/>
                </a:solidFill>
              </a:rPr>
              <a:t>Reduce product development cost </a:t>
            </a:r>
          </a:p>
          <a:p>
            <a:pPr marL="174625" lvl="1" indent="-174625">
              <a:buClr>
                <a:schemeClr val="bg2"/>
              </a:buClr>
              <a:buFont typeface="Wingdings" panose="05000000000000000000" pitchFamily="2" charset="2"/>
              <a:buChar char="§"/>
            </a:pPr>
            <a:r>
              <a:rPr lang="en-US" sz="1400" dirty="0">
                <a:solidFill>
                  <a:schemeClr val="tx1"/>
                </a:solidFill>
              </a:rPr>
              <a:t>Improve product quality and innovation</a:t>
            </a:r>
          </a:p>
        </p:txBody>
      </p:sp>
      <p:sp>
        <p:nvSpPr>
          <p:cNvPr id="20" name="Rectangle 19">
            <a:extLst>
              <a:ext uri="{FF2B5EF4-FFF2-40B4-BE49-F238E27FC236}">
                <a16:creationId xmlns:a16="http://schemas.microsoft.com/office/drawing/2014/main" id="{0E566B6A-3E77-48B2-B218-14BB76DF711C}"/>
              </a:ext>
            </a:extLst>
          </p:cNvPr>
          <p:cNvSpPr/>
          <p:nvPr/>
        </p:nvSpPr>
        <p:spPr>
          <a:xfrm>
            <a:off x="495300" y="3925571"/>
            <a:ext cx="1510147" cy="914400"/>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lnSpc>
                <a:spcPct val="90000"/>
              </a:lnSpc>
              <a:spcBef>
                <a:spcPts val="800"/>
              </a:spcBef>
            </a:pPr>
            <a:r>
              <a:rPr lang="en-US" sz="1500" b="1">
                <a:solidFill>
                  <a:schemeClr val="tx1"/>
                </a:solidFill>
              </a:rPr>
              <a:t>Process Improvement</a:t>
            </a:r>
          </a:p>
        </p:txBody>
      </p:sp>
      <p:sp>
        <p:nvSpPr>
          <p:cNvPr id="21" name="Rectangle 20">
            <a:extLst>
              <a:ext uri="{FF2B5EF4-FFF2-40B4-BE49-F238E27FC236}">
                <a16:creationId xmlns:a16="http://schemas.microsoft.com/office/drawing/2014/main" id="{7CC3C7E9-DD5D-40AC-9C57-B8362D176E33}"/>
              </a:ext>
            </a:extLst>
          </p:cNvPr>
          <p:cNvSpPr/>
          <p:nvPr/>
        </p:nvSpPr>
        <p:spPr>
          <a:xfrm>
            <a:off x="2146154" y="4108451"/>
            <a:ext cx="3370723" cy="52322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spAutoFit/>
          </a:bodyPr>
          <a:lstStyle/>
          <a:p>
            <a:pPr marL="174625" lvl="1" indent="-174625">
              <a:buClr>
                <a:schemeClr val="bg2"/>
              </a:buClr>
              <a:buFont typeface="Wingdings" panose="05000000000000000000" pitchFamily="2" charset="2"/>
              <a:buChar char="§"/>
            </a:pPr>
            <a:r>
              <a:rPr lang="en-US" sz="1400" dirty="0">
                <a:solidFill>
                  <a:schemeClr val="tx1"/>
                </a:solidFill>
              </a:rPr>
              <a:t>Linear static structural analysis of </a:t>
            </a:r>
            <a:br>
              <a:rPr lang="en-US" sz="1400" dirty="0">
                <a:solidFill>
                  <a:schemeClr val="tx1"/>
                </a:solidFill>
              </a:rPr>
            </a:br>
            <a:r>
              <a:rPr lang="en-US" sz="1400" dirty="0">
                <a:solidFill>
                  <a:schemeClr val="tx1"/>
                </a:solidFill>
              </a:rPr>
              <a:t>parts and assemblies</a:t>
            </a:r>
          </a:p>
        </p:txBody>
      </p:sp>
      <p:sp>
        <p:nvSpPr>
          <p:cNvPr id="22" name="Rectangle 21">
            <a:extLst>
              <a:ext uri="{FF2B5EF4-FFF2-40B4-BE49-F238E27FC236}">
                <a16:creationId xmlns:a16="http://schemas.microsoft.com/office/drawing/2014/main" id="{8F789A15-5BB9-4B4E-8F8F-760DCE1E1678}"/>
              </a:ext>
            </a:extLst>
          </p:cNvPr>
          <p:cNvSpPr/>
          <p:nvPr/>
        </p:nvSpPr>
        <p:spPr>
          <a:xfrm>
            <a:off x="495300" y="4918736"/>
            <a:ext cx="1510147" cy="1188720"/>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lnSpc>
                <a:spcPct val="90000"/>
              </a:lnSpc>
              <a:spcBef>
                <a:spcPts val="800"/>
              </a:spcBef>
            </a:pPr>
            <a:r>
              <a:rPr lang="en-US" sz="1500" b="1">
                <a:solidFill>
                  <a:schemeClr val="tx1"/>
                </a:solidFill>
              </a:rPr>
              <a:t>Technology/ Capability</a:t>
            </a:r>
          </a:p>
        </p:txBody>
      </p:sp>
      <p:sp>
        <p:nvSpPr>
          <p:cNvPr id="23" name="Rectangle 22">
            <a:extLst>
              <a:ext uri="{FF2B5EF4-FFF2-40B4-BE49-F238E27FC236}">
                <a16:creationId xmlns:a16="http://schemas.microsoft.com/office/drawing/2014/main" id="{15AA482B-84C6-4447-83B3-0D3ED429729F}"/>
              </a:ext>
            </a:extLst>
          </p:cNvPr>
          <p:cNvSpPr/>
          <p:nvPr/>
        </p:nvSpPr>
        <p:spPr>
          <a:xfrm>
            <a:off x="2146155" y="4959376"/>
            <a:ext cx="3759885" cy="116955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spAutoFit/>
          </a:bodyPr>
          <a:lstStyle/>
          <a:p>
            <a:pPr marL="174625" lvl="1" indent="-174625">
              <a:buClr>
                <a:schemeClr val="bg2"/>
              </a:buClr>
              <a:buFont typeface="Wingdings" panose="05000000000000000000" pitchFamily="2" charset="2"/>
              <a:buChar char="§"/>
            </a:pPr>
            <a:r>
              <a:rPr lang="en-US" sz="1400" dirty="0">
                <a:solidFill>
                  <a:schemeClr val="tx1"/>
                </a:solidFill>
              </a:rPr>
              <a:t>Seamless integration of design and analysis</a:t>
            </a:r>
          </a:p>
          <a:p>
            <a:pPr marL="174625" lvl="1" indent="-174625">
              <a:buClr>
                <a:schemeClr val="bg2"/>
              </a:buClr>
              <a:buFont typeface="Wingdings" panose="05000000000000000000" pitchFamily="2" charset="2"/>
              <a:buChar char="§"/>
            </a:pPr>
            <a:r>
              <a:rPr lang="en-US" sz="1400" dirty="0">
                <a:solidFill>
                  <a:schemeClr val="tx1"/>
                </a:solidFill>
              </a:rPr>
              <a:t>Enable simulation-driven design to optimize product performance, quality and durability</a:t>
            </a:r>
          </a:p>
        </p:txBody>
      </p:sp>
      <p:cxnSp>
        <p:nvCxnSpPr>
          <p:cNvPr id="24" name="Straight Connector 23">
            <a:extLst>
              <a:ext uri="{FF2B5EF4-FFF2-40B4-BE49-F238E27FC236}">
                <a16:creationId xmlns:a16="http://schemas.microsoft.com/office/drawing/2014/main" id="{AB6F73CB-F21A-4563-BFE4-EC45BDAF13DD}"/>
              </a:ext>
            </a:extLst>
          </p:cNvPr>
          <p:cNvCxnSpPr>
            <a:cxnSpLocks/>
          </p:cNvCxnSpPr>
          <p:nvPr/>
        </p:nvCxnSpPr>
        <p:spPr>
          <a:xfrm>
            <a:off x="2102432" y="1872490"/>
            <a:ext cx="0" cy="727844"/>
          </a:xfrm>
          <a:prstGeom prst="line">
            <a:avLst/>
          </a:prstGeom>
          <a:ln w="381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E40C08B-7A91-4942-93F3-69DF00B4BFAE}"/>
              </a:ext>
            </a:extLst>
          </p:cNvPr>
          <p:cNvCxnSpPr>
            <a:cxnSpLocks/>
          </p:cNvCxnSpPr>
          <p:nvPr/>
        </p:nvCxnSpPr>
        <p:spPr>
          <a:xfrm>
            <a:off x="2102432" y="2663698"/>
            <a:ext cx="0" cy="1188349"/>
          </a:xfrm>
          <a:prstGeom prst="line">
            <a:avLst/>
          </a:prstGeom>
          <a:ln w="381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08EFFFC5-EE6D-4C6F-BDD9-14CBBBBC8E34}"/>
              </a:ext>
            </a:extLst>
          </p:cNvPr>
          <p:cNvCxnSpPr>
            <a:cxnSpLocks/>
          </p:cNvCxnSpPr>
          <p:nvPr/>
        </p:nvCxnSpPr>
        <p:spPr>
          <a:xfrm>
            <a:off x="2102432" y="3915408"/>
            <a:ext cx="0" cy="914400"/>
          </a:xfrm>
          <a:prstGeom prst="line">
            <a:avLst/>
          </a:prstGeom>
          <a:ln w="381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D073A492-EF94-47DA-B6B5-6D0C36B88682}"/>
              </a:ext>
            </a:extLst>
          </p:cNvPr>
          <p:cNvCxnSpPr>
            <a:cxnSpLocks/>
          </p:cNvCxnSpPr>
          <p:nvPr/>
        </p:nvCxnSpPr>
        <p:spPr>
          <a:xfrm>
            <a:off x="2102432" y="4918735"/>
            <a:ext cx="0" cy="1188720"/>
          </a:xfrm>
          <a:prstGeom prst="line">
            <a:avLst/>
          </a:prstGeom>
          <a:ln w="38100">
            <a:solidFill>
              <a:schemeClr val="bg2"/>
            </a:solidFill>
          </a:ln>
        </p:spPr>
        <p:style>
          <a:lnRef idx="1">
            <a:schemeClr val="accent1"/>
          </a:lnRef>
          <a:fillRef idx="0">
            <a:schemeClr val="accent1"/>
          </a:fillRef>
          <a:effectRef idx="0">
            <a:schemeClr val="accent1"/>
          </a:effectRef>
          <a:fontRef idx="minor">
            <a:schemeClr val="tx1"/>
          </a:fontRef>
        </p:style>
      </p:cxnSp>
      <p:pic>
        <p:nvPicPr>
          <p:cNvPr id="28" name="Picture 2" descr="http://www.wheretobuycreo.com/wheretobuycreo/img/portfolio/thumb/creo_simulate_photo_large.jpg">
            <a:extLst>
              <a:ext uri="{FF2B5EF4-FFF2-40B4-BE49-F238E27FC236}">
                <a16:creationId xmlns:a16="http://schemas.microsoft.com/office/drawing/2014/main" id="{2E640D76-B322-41FB-8337-A888EDC9832E}"/>
              </a:ext>
            </a:extLst>
          </p:cNvPr>
          <p:cNvPicPr>
            <a:picLocks noChangeAspect="1" noChangeArrowheads="1"/>
          </p:cNvPicPr>
          <p:nvPr/>
        </p:nvPicPr>
        <p:blipFill rotWithShape="1">
          <a:blip r:embed="rId5" cstate="print">
            <a:clrChange>
              <a:clrFrom>
                <a:srgbClr val="FAFAFA"/>
              </a:clrFrom>
              <a:clrTo>
                <a:srgbClr val="FAFAFA">
                  <a:alpha val="0"/>
                </a:srgbClr>
              </a:clrTo>
            </a:clrChange>
            <a:extLst>
              <a:ext uri="{28A0092B-C50C-407E-A947-70E740481C1C}">
                <a14:useLocalDpi xmlns:a14="http://schemas.microsoft.com/office/drawing/2010/main" val="0"/>
              </a:ext>
            </a:extLst>
          </a:blip>
          <a:srcRect t="5094" b="5073"/>
          <a:stretch/>
        </p:blipFill>
        <p:spPr bwMode="auto">
          <a:xfrm>
            <a:off x="5906040" y="2475120"/>
            <a:ext cx="5862691" cy="3291635"/>
          </a:xfrm>
          <a:prstGeom prst="rect">
            <a:avLst/>
          </a:prstGeom>
          <a:noFill/>
          <a:ln w="9525">
            <a:solidFill>
              <a:schemeClr val="bg2"/>
            </a:solidFill>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039622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Content Placeholder 6">
            <a:extLst>
              <a:ext uri="{FF2B5EF4-FFF2-40B4-BE49-F238E27FC236}">
                <a16:creationId xmlns:a16="http://schemas.microsoft.com/office/drawing/2014/main" id="{79A69B24-3C06-4421-96BE-892291FE5A1F}"/>
              </a:ext>
            </a:extLst>
          </p:cNvPr>
          <p:cNvGraphicFramePr>
            <a:graphicFrameLocks/>
          </p:cNvGraphicFramePr>
          <p:nvPr/>
        </p:nvGraphicFramePr>
        <p:xfrm>
          <a:off x="490760" y="1311435"/>
          <a:ext cx="11282140" cy="5069909"/>
        </p:xfrm>
        <a:graphic>
          <a:graphicData uri="http://schemas.openxmlformats.org/drawingml/2006/table">
            <a:tbl>
              <a:tblPr firstRow="1" bandRow="1">
                <a:tableStyleId>{D27102A9-8310-4765-A935-A1911B00CA55}</a:tableStyleId>
              </a:tblPr>
              <a:tblGrid>
                <a:gridCol w="7064457">
                  <a:extLst>
                    <a:ext uri="{9D8B030D-6E8A-4147-A177-3AD203B41FA5}">
                      <a16:colId xmlns:a16="http://schemas.microsoft.com/office/drawing/2014/main" val="20000"/>
                    </a:ext>
                  </a:extLst>
                </a:gridCol>
                <a:gridCol w="4217683">
                  <a:extLst>
                    <a:ext uri="{9D8B030D-6E8A-4147-A177-3AD203B41FA5}">
                      <a16:colId xmlns:a16="http://schemas.microsoft.com/office/drawing/2014/main" val="20001"/>
                    </a:ext>
                  </a:extLst>
                </a:gridCol>
              </a:tblGrid>
              <a:tr h="566581">
                <a:tc gridSpan="2">
                  <a:txBody>
                    <a:bodyPr/>
                    <a:lstStyle/>
                    <a:p>
                      <a:pPr algn="ctr"/>
                      <a:r>
                        <a:rPr lang="en-US" sz="1800" dirty="0">
                          <a:solidFill>
                            <a:schemeClr val="bg1"/>
                          </a:solidFill>
                        </a:rPr>
                        <a:t>Creo Simulation Elite </a:t>
                      </a:r>
                      <a:r>
                        <a:rPr lang="en-US" sz="1200" dirty="0">
                          <a:solidFill>
                            <a:schemeClr val="bg1"/>
                          </a:solidFill>
                        </a:rPr>
                        <a:t>is included with </a:t>
                      </a:r>
                      <a:br>
                        <a:rPr lang="en-US" sz="1200" dirty="0">
                          <a:solidFill>
                            <a:schemeClr val="bg1"/>
                          </a:solidFill>
                        </a:rPr>
                      </a:br>
                      <a:r>
                        <a:rPr lang="en-US" sz="1200" dirty="0">
                          <a:solidFill>
                            <a:schemeClr val="bg1"/>
                          </a:solidFill>
                        </a:rPr>
                        <a:t>Creo Design Essentials, Creo Design Advanced and Creo Design Advance Professional (T1,T2 and T3 packages)</a:t>
                      </a:r>
                    </a:p>
                  </a:txBody>
                  <a:tcPr marL="165963" marR="165963">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4D585A"/>
                    </a:solidFill>
                  </a:tcPr>
                </a:tc>
                <a:tc hMerge="1">
                  <a:txBody>
                    <a:bodyPr/>
                    <a:lstStyle/>
                    <a:p>
                      <a:pPr algn="ctr"/>
                      <a:endParaRPr lang="en-US" sz="1200" dirty="0"/>
                    </a:p>
                  </a:txBody>
                  <a:tcPr marL="165963" marR="165963"/>
                </a:tc>
                <a:extLst>
                  <a:ext uri="{0D108BD9-81ED-4DB2-BD59-A6C34878D82A}">
                    <a16:rowId xmlns:a16="http://schemas.microsoft.com/office/drawing/2014/main" val="10000"/>
                  </a:ext>
                </a:extLst>
              </a:tr>
              <a:tr h="281458">
                <a:tc>
                  <a:txBody>
                    <a:bodyPr/>
                    <a:lstStyle/>
                    <a:p>
                      <a:r>
                        <a:rPr lang="en-US" sz="1200" dirty="0"/>
                        <a:t>Capability</a:t>
                      </a:r>
                      <a:endParaRPr lang="en-US" sz="1200" b="1" dirty="0">
                        <a:solidFill>
                          <a:schemeClr val="bg1"/>
                        </a:solidFill>
                      </a:endParaRPr>
                    </a:p>
                  </a:txBody>
                  <a:tcPr marL="165963" marR="165963">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9EAEA"/>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dirty="0"/>
                        <a:t>Creo Simulation Elite </a:t>
                      </a:r>
                    </a:p>
                  </a:txBody>
                  <a:tcPr marL="165963" marR="165963">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616051462"/>
                  </a:ext>
                </a:extLst>
              </a:tr>
              <a:tr h="281458">
                <a:tc>
                  <a:txBody>
                    <a:bodyPr/>
                    <a:lstStyle/>
                    <a:p>
                      <a:r>
                        <a:rPr lang="en-US" sz="1200" dirty="0"/>
                        <a:t>Simulation UI</a:t>
                      </a:r>
                    </a:p>
                  </a:txBody>
                  <a:tcPr marL="165963" marR="165963">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9EAEA"/>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dirty="0"/>
                        <a:t>✔</a:t>
                      </a:r>
                    </a:p>
                  </a:txBody>
                  <a:tcPr marL="165963" marR="165963">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680569377"/>
                  </a:ext>
                </a:extLst>
              </a:tr>
              <a:tr h="281458">
                <a:tc>
                  <a:txBody>
                    <a:bodyPr/>
                    <a:lstStyle/>
                    <a:p>
                      <a:r>
                        <a:rPr lang="en-US" sz="1200" baseline="0"/>
                        <a:t>Supported Analysis</a:t>
                      </a:r>
                      <a:endParaRPr lang="en-US" sz="1200"/>
                    </a:p>
                  </a:txBody>
                  <a:tcPr marL="165963" marR="165963">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9EAEA"/>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200" dirty="0"/>
                        <a:t>Linear Static Analysis</a:t>
                      </a:r>
                    </a:p>
                  </a:txBody>
                  <a:tcPr marL="165963" marR="165963">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281458">
                <a:tc>
                  <a:txBody>
                    <a:bodyPr/>
                    <a:lstStyle/>
                    <a:p>
                      <a:r>
                        <a:rPr lang="en-US" sz="1200" dirty="0"/>
                        <a:t>Simulate Parts</a:t>
                      </a:r>
                      <a:r>
                        <a:rPr lang="en-US" sz="1200" baseline="0" dirty="0"/>
                        <a:t> and Assemblies</a:t>
                      </a:r>
                      <a:endParaRPr lang="en-US" sz="1200" dirty="0"/>
                    </a:p>
                  </a:txBody>
                  <a:tcPr marL="165963" marR="165963">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9EAEA"/>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200" dirty="0"/>
                        <a:t>✔</a:t>
                      </a:r>
                    </a:p>
                  </a:txBody>
                  <a:tcPr marL="165963" marR="165963">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469097">
                <a:tc>
                  <a:txBody>
                    <a:bodyPr/>
                    <a:lstStyle/>
                    <a:p>
                      <a:r>
                        <a:rPr lang="en-US" sz="1200" dirty="0"/>
                        <a:t>Supported Load Types</a:t>
                      </a:r>
                    </a:p>
                  </a:txBody>
                  <a:tcPr marL="165963" marR="165963">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9EAEA"/>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200" dirty="0"/>
                        <a:t>Force/Moment, Pressure, Bearing, Temp, Gravity, Centrifugal</a:t>
                      </a:r>
                    </a:p>
                  </a:txBody>
                  <a:tcPr marL="165963" marR="165963">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r h="281458">
                <a:tc>
                  <a:txBody>
                    <a:bodyPr/>
                    <a:lstStyle/>
                    <a:p>
                      <a:r>
                        <a:rPr lang="en-US" sz="1200"/>
                        <a:t>Supported Constraint Types</a:t>
                      </a:r>
                    </a:p>
                  </a:txBody>
                  <a:tcPr marL="165963" marR="165963">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9EAEA"/>
                    </a:solidFill>
                  </a:tcPr>
                </a:tc>
                <a:tc>
                  <a:txBody>
                    <a:bodyPr/>
                    <a:lstStyle/>
                    <a:p>
                      <a:pPr algn="ctr"/>
                      <a:r>
                        <a:rPr lang="en-US" sz="1200" dirty="0"/>
                        <a:t>Displacement, Planar, Pin, Ball, Symmetry</a:t>
                      </a:r>
                    </a:p>
                  </a:txBody>
                  <a:tcPr marL="165963" marR="165963">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4"/>
                  </a:ext>
                </a:extLst>
              </a:tr>
              <a:tr h="281458">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a:t>Materials</a:t>
                      </a:r>
                    </a:p>
                  </a:txBody>
                  <a:tcPr marL="165963" marR="165963">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9EAEA"/>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200" dirty="0"/>
                        <a:t>Linear Isotropic (Only)</a:t>
                      </a:r>
                    </a:p>
                  </a:txBody>
                  <a:tcPr marL="165963" marR="165963">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5"/>
                  </a:ext>
                </a:extLst>
              </a:tr>
              <a:tr h="656735">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a:t>Supported Element Types</a:t>
                      </a:r>
                    </a:p>
                  </a:txBody>
                  <a:tcPr marL="165963" marR="165963">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9EAEA"/>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200" dirty="0"/>
                        <a:t>Beams, Simple Springs, Simple Mass, Simple shells, Shell Pairs</a:t>
                      </a:r>
                    </a:p>
                    <a:p>
                      <a:pPr marL="0" marR="0" indent="0" algn="ctr" defTabSz="914400" rtl="0" eaLnBrk="1" fontAlgn="auto" latinLnBrk="0" hangingPunct="1">
                        <a:lnSpc>
                          <a:spcPct val="100000"/>
                        </a:lnSpc>
                        <a:spcBef>
                          <a:spcPts val="0"/>
                        </a:spcBef>
                        <a:spcAft>
                          <a:spcPts val="0"/>
                        </a:spcAft>
                        <a:buClrTx/>
                        <a:buSzTx/>
                        <a:buFontTx/>
                        <a:buNone/>
                        <a:tabLst/>
                        <a:defRPr/>
                      </a:pPr>
                      <a:r>
                        <a:rPr lang="en-US" sz="1200" dirty="0"/>
                        <a:t>(Basic Capabilities only)</a:t>
                      </a:r>
                      <a:endParaRPr lang="en-US" sz="1200" dirty="0">
                        <a:solidFill>
                          <a:schemeClr val="tx1"/>
                        </a:solidFill>
                      </a:endParaRPr>
                    </a:p>
                  </a:txBody>
                  <a:tcPr marL="165963" marR="165963">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6"/>
                  </a:ext>
                </a:extLst>
              </a:tr>
              <a:tr h="656735">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a:t>Contact Interfaces</a:t>
                      </a:r>
                    </a:p>
                  </a:txBody>
                  <a:tcPr marL="165963" marR="165963">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9EAEA"/>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dirty="0"/>
                        <a:t>✔</a:t>
                      </a:r>
                    </a:p>
                    <a:p>
                      <a:pPr marL="0" marR="0" indent="0" algn="ctr" defTabSz="914400" rtl="0" eaLnBrk="1" fontAlgn="auto" latinLnBrk="0" hangingPunct="1">
                        <a:lnSpc>
                          <a:spcPct val="100000"/>
                        </a:lnSpc>
                        <a:spcBef>
                          <a:spcPts val="0"/>
                        </a:spcBef>
                        <a:spcAft>
                          <a:spcPts val="0"/>
                        </a:spcAft>
                        <a:buClrTx/>
                        <a:buSzTx/>
                        <a:buFontTx/>
                        <a:buNone/>
                        <a:tabLst/>
                        <a:defRPr/>
                      </a:pPr>
                      <a:r>
                        <a:rPr lang="en-US" sz="1200" dirty="0"/>
                        <a:t>Adding infinite or finite friction interfaces requires full Simulate Extension</a:t>
                      </a:r>
                      <a:endParaRPr lang="en-US" sz="1200" dirty="0">
                        <a:solidFill>
                          <a:schemeClr val="tx1"/>
                        </a:solidFill>
                      </a:endParaRPr>
                    </a:p>
                  </a:txBody>
                  <a:tcPr marL="165963" marR="165963">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869718637"/>
                  </a:ext>
                </a:extLst>
              </a:tr>
              <a:tr h="281458">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a:t>Welds, simple rigid links and basic fasteners</a:t>
                      </a:r>
                    </a:p>
                  </a:txBody>
                  <a:tcPr marL="165963" marR="165963">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9EAEA"/>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dirty="0"/>
                        <a:t>✔</a:t>
                      </a:r>
                    </a:p>
                  </a:txBody>
                  <a:tcPr marL="165963" marR="165963">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820008110"/>
                  </a:ext>
                </a:extLst>
              </a:tr>
              <a:tr h="28145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t>Surface and volume regions</a:t>
                      </a:r>
                    </a:p>
                  </a:txBody>
                  <a:tcPr marL="165963" marR="165963">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9EAEA"/>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dirty="0"/>
                        <a:t>✔</a:t>
                      </a:r>
                    </a:p>
                  </a:txBody>
                  <a:tcPr marL="165963" marR="165963">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95000"/>
                        </a:schemeClr>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813769088"/>
                  </a:ext>
                </a:extLst>
              </a:tr>
              <a:tr h="469097">
                <a:tc gridSpan="2">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a:t>A License Check system prompt will notify the user when unsupported functionality is selected or needed to open simulation models containing advanced simulation functionality and capabilities. </a:t>
                      </a:r>
                    </a:p>
                  </a:txBody>
                  <a:tcPr marL="165963" marR="165963">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sz="1200" dirty="0">
                        <a:solidFill>
                          <a:schemeClr val="bg1">
                            <a:lumMod val="65000"/>
                          </a:schemeClr>
                        </a:solidFill>
                      </a:endParaRPr>
                    </a:p>
                  </a:txBody>
                  <a:tcPr marL="165963" marR="165963"/>
                </a:tc>
                <a:extLst>
                  <a:ext uri="{0D108BD9-81ED-4DB2-BD59-A6C34878D82A}">
                    <a16:rowId xmlns:a16="http://schemas.microsoft.com/office/drawing/2014/main" val="10012"/>
                  </a:ext>
                </a:extLst>
              </a:tr>
            </a:tbl>
          </a:graphicData>
        </a:graphic>
      </p:graphicFrame>
      <p:sp>
        <p:nvSpPr>
          <p:cNvPr id="12" name="Título 11">
            <a:extLst>
              <a:ext uri="{FF2B5EF4-FFF2-40B4-BE49-F238E27FC236}">
                <a16:creationId xmlns:a16="http://schemas.microsoft.com/office/drawing/2014/main" id="{A6D1CD8E-290F-47FE-8461-20C691C47987}"/>
              </a:ext>
            </a:extLst>
          </p:cNvPr>
          <p:cNvSpPr>
            <a:spLocks noGrp="1"/>
          </p:cNvSpPr>
          <p:nvPr>
            <p:ph type="title"/>
          </p:nvPr>
        </p:nvSpPr>
        <p:spPr>
          <a:xfrm>
            <a:off x="490760" y="678174"/>
            <a:ext cx="10789920" cy="369332"/>
          </a:xfrm>
        </p:spPr>
        <p:txBody>
          <a:bodyPr/>
          <a:lstStyle/>
          <a:p>
            <a:r>
              <a:rPr lang="en-US" dirty="0"/>
              <a:t>Creo Simulation Elite Capabilities</a:t>
            </a:r>
          </a:p>
        </p:txBody>
      </p:sp>
      <p:pic>
        <p:nvPicPr>
          <p:cNvPr id="5" name="Picture 2" descr="D:\000 - CAD Sales Enablement\000 - FY16 CAD Core Plays\SmartHomeSystemIcon.png">
            <a:hlinkClick r:id="rId3" action="ppaction://hlinksldjump"/>
            <a:extLst>
              <a:ext uri="{FF2B5EF4-FFF2-40B4-BE49-F238E27FC236}">
                <a16:creationId xmlns:a16="http://schemas.microsoft.com/office/drawing/2014/main" id="{AF4156EA-8F00-4601-B5D9-C255D7C08F04}"/>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tretch>
            <a:fillRect/>
          </a:stretch>
        </p:blipFill>
        <p:spPr bwMode="auto">
          <a:xfrm>
            <a:off x="11287745" y="680574"/>
            <a:ext cx="594300" cy="594300"/>
          </a:xfrm>
          <a:prstGeom prst="rect">
            <a:avLst/>
          </a:prstGeom>
          <a:noFill/>
          <a:ln>
            <a:noFill/>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82258413"/>
      </p:ext>
    </p:extLst>
  </p:cSld>
  <p:clrMapOvr>
    <a:masterClrMapping/>
  </p:clrMapOvr>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cap="none"/>
              <a:t>CREO SIMULATION EXTENSTION  </a:t>
            </a:r>
          </a:p>
        </p:txBody>
      </p:sp>
      <p:sp>
        <p:nvSpPr>
          <p:cNvPr id="2" name="Subtitle 1"/>
          <p:cNvSpPr>
            <a:spLocks noGrp="1"/>
          </p:cNvSpPr>
          <p:nvPr>
            <p:ph type="subTitle" idx="4294967295"/>
          </p:nvPr>
        </p:nvSpPr>
        <p:spPr>
          <a:xfrm>
            <a:off x="533776" y="1203870"/>
            <a:ext cx="9459549" cy="467076"/>
          </a:xfrm>
        </p:spPr>
        <p:txBody>
          <a:bodyPr vert="horz" lIns="0" tIns="0" rIns="0" bIns="0" rtlCol="0">
            <a:noAutofit/>
          </a:bodyPr>
          <a:lstStyle/>
          <a:p>
            <a:pPr marL="0" indent="0">
              <a:buNone/>
            </a:pPr>
            <a:r>
              <a:rPr lang="en-US" sz="2000" dirty="0"/>
              <a:t>Analyze and optimize the structural integrity of part and assembly models</a:t>
            </a:r>
          </a:p>
        </p:txBody>
      </p:sp>
      <p:grpSp>
        <p:nvGrpSpPr>
          <p:cNvPr id="3" name="Group 2">
            <a:extLst>
              <a:ext uri="{FF2B5EF4-FFF2-40B4-BE49-F238E27FC236}">
                <a16:creationId xmlns:a16="http://schemas.microsoft.com/office/drawing/2014/main" id="{3ED96EE8-9E3D-44CE-9A10-C6F17CD482B1}"/>
              </a:ext>
            </a:extLst>
          </p:cNvPr>
          <p:cNvGrpSpPr/>
          <p:nvPr/>
        </p:nvGrpSpPr>
        <p:grpSpPr>
          <a:xfrm>
            <a:off x="5810588" y="1371889"/>
            <a:ext cx="6071457" cy="5126783"/>
            <a:chOff x="6162731" y="1622819"/>
            <a:chExt cx="6071457" cy="5126783"/>
          </a:xfrm>
        </p:grpSpPr>
        <p:pic>
          <p:nvPicPr>
            <p:cNvPr id="10" name="Picture 2" descr="D:\000 - CAD Sales Enablement\000 - FY16 CAD Core Plays\FY16 Direct Package Upgrade Play\images\automotive-33-bg.jpg"/>
            <p:cNvPicPr>
              <a:picLocks noChangeAspect="1" noChangeArrowheads="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6162731" y="3043966"/>
              <a:ext cx="4141747" cy="3141727"/>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7" descr="D:\000 - CAD Sales Enablement\000 - FY16 CAD Core Plays\FY16 Direct Package Upgrade Play\images\structural-mechanics-products-bolt-bracket-assembly-sm.jpg"/>
            <p:cNvPicPr>
              <a:picLocks noChangeAspect="1" noChangeArrowheads="1"/>
            </p:cNvPicPr>
            <p:nvPr/>
          </p:nvPicPr>
          <p:blipFill rotWithShape="1">
            <a:blip r:embed="rId4"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p:blipFill>
          <p:spPr bwMode="auto">
            <a:xfrm>
              <a:off x="10304478" y="3043966"/>
              <a:ext cx="1707674" cy="1518875"/>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9" descr="D:\000 - CAD Sales Enablement\000 - FY16 CAD Core Plays\FY16 Direct Package Upgrade Play\images\fea_examples01full.jpg"/>
            <p:cNvPicPr>
              <a:picLocks noChangeAspect="1" noChangeArrowheads="1"/>
            </p:cNvPicPr>
            <p:nvPr/>
          </p:nvPicPr>
          <p:blipFill rotWithShape="1">
            <a:blip r:embed="rId5"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p:blipFill>
          <p:spPr bwMode="auto">
            <a:xfrm>
              <a:off x="9003112" y="1622819"/>
              <a:ext cx="1679299" cy="1830149"/>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10" descr="D:\000 - CAD Sales Enablement\000 - FY16 CAD Core Plays\FY16 Direct Package Upgrade Play\images\fea_examples02full.jpg"/>
            <p:cNvPicPr>
              <a:picLocks noChangeAspect="1" noChangeArrowheads="1"/>
            </p:cNvPicPr>
            <p:nvPr/>
          </p:nvPicPr>
          <p:blipFill rotWithShape="1">
            <a:blip r:embed="rId6"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p:blipFill>
          <p:spPr bwMode="auto">
            <a:xfrm>
              <a:off x="9379006" y="4849315"/>
              <a:ext cx="2855182" cy="1900287"/>
            </a:xfrm>
            <a:prstGeom prst="rect">
              <a:avLst/>
            </a:prstGeom>
            <a:noFill/>
            <a:extLst>
              <a:ext uri="{909E8E84-426E-40DD-AFC4-6F175D3DCCD1}">
                <a14:hiddenFill xmlns:a14="http://schemas.microsoft.com/office/drawing/2010/main">
                  <a:solidFill>
                    <a:srgbClr val="FFFFFF"/>
                  </a:solidFill>
                </a14:hiddenFill>
              </a:ext>
            </a:extLst>
          </p:spPr>
        </p:pic>
      </p:grpSp>
      <p:pic>
        <p:nvPicPr>
          <p:cNvPr id="15" name="Picture 2" descr="D:\000 - CAD Sales Enablement\000 - FY16 CAD Core Plays\SmartHomeSystemIcon.png">
            <a:hlinkClick r:id="rId7" action="ppaction://hlinksldjump"/>
            <a:extLst>
              <a:ext uri="{FF2B5EF4-FFF2-40B4-BE49-F238E27FC236}">
                <a16:creationId xmlns:a16="http://schemas.microsoft.com/office/drawing/2014/main" id="{60E4F02E-A259-4F34-9CAC-A15C969EBB66}"/>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tretch>
            <a:fillRect/>
          </a:stretch>
        </p:blipFill>
        <p:spPr bwMode="auto">
          <a:xfrm>
            <a:off x="11287745" y="768126"/>
            <a:ext cx="594300" cy="594300"/>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16" name="Rectangle 15">
            <a:extLst>
              <a:ext uri="{FF2B5EF4-FFF2-40B4-BE49-F238E27FC236}">
                <a16:creationId xmlns:a16="http://schemas.microsoft.com/office/drawing/2014/main" id="{05FA804F-B89D-4A51-923F-338125FEB5BC}"/>
              </a:ext>
            </a:extLst>
          </p:cNvPr>
          <p:cNvSpPr/>
          <p:nvPr/>
        </p:nvSpPr>
        <p:spPr>
          <a:xfrm>
            <a:off x="503925" y="1866900"/>
            <a:ext cx="1510147" cy="727844"/>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lnSpc>
                <a:spcPct val="90000"/>
              </a:lnSpc>
              <a:spcBef>
                <a:spcPts val="800"/>
              </a:spcBef>
            </a:pPr>
            <a:r>
              <a:rPr lang="en-US" sz="1500" b="1">
                <a:solidFill>
                  <a:schemeClr val="tx1"/>
                </a:solidFill>
              </a:rPr>
              <a:t>Who Needs It?</a:t>
            </a:r>
          </a:p>
        </p:txBody>
      </p:sp>
      <p:sp>
        <p:nvSpPr>
          <p:cNvPr id="17" name="Rectangle 16">
            <a:extLst>
              <a:ext uri="{FF2B5EF4-FFF2-40B4-BE49-F238E27FC236}">
                <a16:creationId xmlns:a16="http://schemas.microsoft.com/office/drawing/2014/main" id="{4173B89E-E5EE-44A0-B407-E8749FE56A48}"/>
              </a:ext>
            </a:extLst>
          </p:cNvPr>
          <p:cNvSpPr/>
          <p:nvPr/>
        </p:nvSpPr>
        <p:spPr>
          <a:xfrm>
            <a:off x="2154779" y="1856740"/>
            <a:ext cx="4967373" cy="72784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dirty="0">
                <a:solidFill>
                  <a:schemeClr val="tx1"/>
                </a:solidFill>
              </a:rPr>
              <a:t>The target customer must avoid product failures to mitigate risk of warranty, service, repair and liability</a:t>
            </a:r>
          </a:p>
        </p:txBody>
      </p:sp>
      <p:sp>
        <p:nvSpPr>
          <p:cNvPr id="18" name="Rectangle 17">
            <a:extLst>
              <a:ext uri="{FF2B5EF4-FFF2-40B4-BE49-F238E27FC236}">
                <a16:creationId xmlns:a16="http://schemas.microsoft.com/office/drawing/2014/main" id="{E1F57E4F-D4BB-4956-819D-7A603D6FB45C}"/>
              </a:ext>
            </a:extLst>
          </p:cNvPr>
          <p:cNvSpPr/>
          <p:nvPr/>
        </p:nvSpPr>
        <p:spPr>
          <a:xfrm>
            <a:off x="503925" y="2658111"/>
            <a:ext cx="1510147" cy="1188349"/>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lnSpc>
                <a:spcPct val="90000"/>
              </a:lnSpc>
              <a:spcBef>
                <a:spcPts val="800"/>
              </a:spcBef>
            </a:pPr>
            <a:r>
              <a:rPr lang="en-US" sz="1500" b="1">
                <a:solidFill>
                  <a:schemeClr val="tx1"/>
                </a:solidFill>
              </a:rPr>
              <a:t>Business Value</a:t>
            </a:r>
          </a:p>
        </p:txBody>
      </p:sp>
      <p:sp>
        <p:nvSpPr>
          <p:cNvPr id="19" name="Rectangle 18">
            <a:extLst>
              <a:ext uri="{FF2B5EF4-FFF2-40B4-BE49-F238E27FC236}">
                <a16:creationId xmlns:a16="http://schemas.microsoft.com/office/drawing/2014/main" id="{D20541AF-8B61-4E4B-8B04-2484915A5F14}"/>
              </a:ext>
            </a:extLst>
          </p:cNvPr>
          <p:cNvSpPr/>
          <p:nvPr/>
        </p:nvSpPr>
        <p:spPr>
          <a:xfrm>
            <a:off x="2154783" y="2658111"/>
            <a:ext cx="3430122" cy="118834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spAutoFit/>
          </a:bodyPr>
          <a:lstStyle/>
          <a:p>
            <a:pPr marL="174625" lvl="1" indent="-174625">
              <a:buClr>
                <a:schemeClr val="bg2"/>
              </a:buClr>
              <a:buFont typeface="Wingdings" panose="05000000000000000000" pitchFamily="2" charset="2"/>
              <a:buChar char="§"/>
            </a:pPr>
            <a:r>
              <a:rPr lang="en-US" sz="1400" dirty="0">
                <a:solidFill>
                  <a:schemeClr val="tx1"/>
                </a:solidFill>
              </a:rPr>
              <a:t>Reduce time-to-market</a:t>
            </a:r>
          </a:p>
          <a:p>
            <a:pPr marL="174625" lvl="1" indent="-174625">
              <a:buClr>
                <a:schemeClr val="bg2"/>
              </a:buClr>
              <a:buFont typeface="Wingdings" panose="05000000000000000000" pitchFamily="2" charset="2"/>
              <a:buChar char="§"/>
            </a:pPr>
            <a:r>
              <a:rPr lang="en-US" sz="1400" dirty="0">
                <a:solidFill>
                  <a:schemeClr val="tx1"/>
                </a:solidFill>
              </a:rPr>
              <a:t>Reduce product lifecycle cost</a:t>
            </a:r>
          </a:p>
          <a:p>
            <a:pPr marL="174625" lvl="1" indent="-174625">
              <a:buClr>
                <a:schemeClr val="bg2"/>
              </a:buClr>
              <a:buFont typeface="Wingdings" panose="05000000000000000000" pitchFamily="2" charset="2"/>
              <a:buChar char="§"/>
            </a:pPr>
            <a:r>
              <a:rPr lang="en-US" sz="1400" dirty="0">
                <a:solidFill>
                  <a:schemeClr val="tx1"/>
                </a:solidFill>
              </a:rPr>
              <a:t>Reduce product development cost </a:t>
            </a:r>
          </a:p>
          <a:p>
            <a:pPr marL="174625" lvl="1" indent="-174625">
              <a:buClr>
                <a:schemeClr val="bg2"/>
              </a:buClr>
              <a:buFont typeface="Wingdings" panose="05000000000000000000" pitchFamily="2" charset="2"/>
              <a:buChar char="§"/>
            </a:pPr>
            <a:r>
              <a:rPr lang="en-US" sz="1400" dirty="0">
                <a:solidFill>
                  <a:schemeClr val="tx1"/>
                </a:solidFill>
              </a:rPr>
              <a:t>Improve product quality and innovation</a:t>
            </a:r>
          </a:p>
        </p:txBody>
      </p:sp>
      <p:sp>
        <p:nvSpPr>
          <p:cNvPr id="20" name="Rectangle 19">
            <a:extLst>
              <a:ext uri="{FF2B5EF4-FFF2-40B4-BE49-F238E27FC236}">
                <a16:creationId xmlns:a16="http://schemas.microsoft.com/office/drawing/2014/main" id="{0E566B6A-3E77-48B2-B218-14BB76DF711C}"/>
              </a:ext>
            </a:extLst>
          </p:cNvPr>
          <p:cNvSpPr/>
          <p:nvPr/>
        </p:nvSpPr>
        <p:spPr>
          <a:xfrm>
            <a:off x="503925" y="3909824"/>
            <a:ext cx="1510147" cy="1464342"/>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lnSpc>
                <a:spcPct val="90000"/>
              </a:lnSpc>
              <a:spcBef>
                <a:spcPts val="800"/>
              </a:spcBef>
            </a:pPr>
            <a:r>
              <a:rPr lang="en-US" sz="1500" b="1">
                <a:solidFill>
                  <a:schemeClr val="tx1"/>
                </a:solidFill>
              </a:rPr>
              <a:t>Process Improvement</a:t>
            </a:r>
          </a:p>
        </p:txBody>
      </p:sp>
      <p:sp>
        <p:nvSpPr>
          <p:cNvPr id="21" name="Rectangle 20">
            <a:extLst>
              <a:ext uri="{FF2B5EF4-FFF2-40B4-BE49-F238E27FC236}">
                <a16:creationId xmlns:a16="http://schemas.microsoft.com/office/drawing/2014/main" id="{7CC3C7E9-DD5D-40AC-9C57-B8362D176E33}"/>
              </a:ext>
            </a:extLst>
          </p:cNvPr>
          <p:cNvSpPr/>
          <p:nvPr/>
        </p:nvSpPr>
        <p:spPr>
          <a:xfrm>
            <a:off x="2154779" y="3940304"/>
            <a:ext cx="3891842" cy="138499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spAutoFit/>
          </a:bodyPr>
          <a:lstStyle/>
          <a:p>
            <a:pPr marL="174625" lvl="1" indent="-174625">
              <a:buClr>
                <a:schemeClr val="bg2"/>
              </a:buClr>
              <a:buFont typeface="Wingdings" panose="05000000000000000000" pitchFamily="2" charset="2"/>
              <a:buChar char="§"/>
            </a:pPr>
            <a:r>
              <a:rPr lang="en-US" sz="1400" dirty="0">
                <a:solidFill>
                  <a:schemeClr val="tx1"/>
                </a:solidFill>
              </a:rPr>
              <a:t>Linear static structural analysis</a:t>
            </a:r>
          </a:p>
          <a:p>
            <a:pPr marL="174625" lvl="1" indent="-174625">
              <a:buClr>
                <a:schemeClr val="bg2"/>
              </a:buClr>
              <a:buFont typeface="Wingdings" panose="05000000000000000000" pitchFamily="2" charset="2"/>
              <a:buChar char="§"/>
            </a:pPr>
            <a:r>
              <a:rPr lang="en-US" sz="1400" dirty="0">
                <a:solidFill>
                  <a:schemeClr val="tx1"/>
                </a:solidFill>
              </a:rPr>
              <a:t>Static structural analysis with small displacement</a:t>
            </a:r>
          </a:p>
          <a:p>
            <a:pPr marL="174625" lvl="1" indent="-174625">
              <a:buClr>
                <a:schemeClr val="bg2"/>
              </a:buClr>
              <a:buFont typeface="Wingdings" panose="05000000000000000000" pitchFamily="2" charset="2"/>
              <a:buChar char="§"/>
            </a:pPr>
            <a:r>
              <a:rPr lang="en-US" sz="1400" dirty="0">
                <a:solidFill>
                  <a:schemeClr val="tx1"/>
                </a:solidFill>
              </a:rPr>
              <a:t>Modal structural analysis </a:t>
            </a:r>
          </a:p>
          <a:p>
            <a:pPr marL="174625" lvl="1" indent="-174625">
              <a:buClr>
                <a:schemeClr val="bg2"/>
              </a:buClr>
              <a:buFont typeface="Wingdings" panose="05000000000000000000" pitchFamily="2" charset="2"/>
              <a:buChar char="§"/>
            </a:pPr>
            <a:r>
              <a:rPr lang="en-US" sz="1400" dirty="0">
                <a:solidFill>
                  <a:schemeClr val="tx1"/>
                </a:solidFill>
              </a:rPr>
              <a:t>Linear buckling structural analysis</a:t>
            </a:r>
          </a:p>
          <a:p>
            <a:pPr marL="174625" lvl="1" indent="-174625">
              <a:buClr>
                <a:schemeClr val="bg2"/>
              </a:buClr>
              <a:buFont typeface="Wingdings" panose="05000000000000000000" pitchFamily="2" charset="2"/>
              <a:buChar char="§"/>
            </a:pPr>
            <a:r>
              <a:rPr lang="en-US" sz="1400" dirty="0">
                <a:solidFill>
                  <a:schemeClr val="tx1"/>
                </a:solidFill>
              </a:rPr>
              <a:t>Linear steady state thermal analysis </a:t>
            </a:r>
          </a:p>
        </p:txBody>
      </p:sp>
      <p:sp>
        <p:nvSpPr>
          <p:cNvPr id="22" name="Rectangle 21">
            <a:extLst>
              <a:ext uri="{FF2B5EF4-FFF2-40B4-BE49-F238E27FC236}">
                <a16:creationId xmlns:a16="http://schemas.microsoft.com/office/drawing/2014/main" id="{8F789A15-5BB9-4B4E-8F8F-760DCE1E1678}"/>
              </a:ext>
            </a:extLst>
          </p:cNvPr>
          <p:cNvSpPr/>
          <p:nvPr/>
        </p:nvSpPr>
        <p:spPr>
          <a:xfrm>
            <a:off x="503925" y="5441469"/>
            <a:ext cx="1510147" cy="760478"/>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lnSpc>
                <a:spcPct val="90000"/>
              </a:lnSpc>
              <a:spcBef>
                <a:spcPts val="800"/>
              </a:spcBef>
            </a:pPr>
            <a:r>
              <a:rPr lang="en-US" sz="1500" b="1">
                <a:solidFill>
                  <a:schemeClr val="tx1"/>
                </a:solidFill>
              </a:rPr>
              <a:t>Technology/ Capability</a:t>
            </a:r>
          </a:p>
        </p:txBody>
      </p:sp>
      <p:sp>
        <p:nvSpPr>
          <p:cNvPr id="23" name="Rectangle 22">
            <a:extLst>
              <a:ext uri="{FF2B5EF4-FFF2-40B4-BE49-F238E27FC236}">
                <a16:creationId xmlns:a16="http://schemas.microsoft.com/office/drawing/2014/main" id="{15AA482B-84C6-4447-83B3-0D3ED429729F}"/>
              </a:ext>
            </a:extLst>
          </p:cNvPr>
          <p:cNvSpPr/>
          <p:nvPr/>
        </p:nvSpPr>
        <p:spPr>
          <a:xfrm>
            <a:off x="2154780" y="5461789"/>
            <a:ext cx="4241405" cy="76047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spAutoFit/>
          </a:bodyPr>
          <a:lstStyle/>
          <a:p>
            <a:pPr marL="174625" lvl="1" indent="-174625">
              <a:buClr>
                <a:schemeClr val="bg2"/>
              </a:buClr>
              <a:buFont typeface="Wingdings" panose="05000000000000000000" pitchFamily="2" charset="2"/>
              <a:buChar char="§"/>
            </a:pPr>
            <a:r>
              <a:rPr lang="en-US" sz="1400" dirty="0">
                <a:solidFill>
                  <a:schemeClr val="tx1"/>
                </a:solidFill>
              </a:rPr>
              <a:t>Seamless integration of design and analysis</a:t>
            </a:r>
          </a:p>
          <a:p>
            <a:pPr marL="174625" lvl="1" indent="-174625">
              <a:buClr>
                <a:schemeClr val="bg2"/>
              </a:buClr>
              <a:buFont typeface="Wingdings" panose="05000000000000000000" pitchFamily="2" charset="2"/>
              <a:buChar char="§"/>
            </a:pPr>
            <a:r>
              <a:rPr lang="en-US" sz="1400" dirty="0">
                <a:solidFill>
                  <a:schemeClr val="tx1"/>
                </a:solidFill>
              </a:rPr>
              <a:t>Enable simulation-driven design to optimize product performance, quality and durability</a:t>
            </a:r>
          </a:p>
        </p:txBody>
      </p:sp>
      <p:cxnSp>
        <p:nvCxnSpPr>
          <p:cNvPr id="24" name="Straight Connector 23">
            <a:extLst>
              <a:ext uri="{FF2B5EF4-FFF2-40B4-BE49-F238E27FC236}">
                <a16:creationId xmlns:a16="http://schemas.microsoft.com/office/drawing/2014/main" id="{AB6F73CB-F21A-4563-BFE4-EC45BDAF13DD}"/>
              </a:ext>
            </a:extLst>
          </p:cNvPr>
          <p:cNvCxnSpPr>
            <a:cxnSpLocks/>
          </p:cNvCxnSpPr>
          <p:nvPr/>
        </p:nvCxnSpPr>
        <p:spPr>
          <a:xfrm>
            <a:off x="2111057" y="1866903"/>
            <a:ext cx="0" cy="727844"/>
          </a:xfrm>
          <a:prstGeom prst="line">
            <a:avLst/>
          </a:prstGeom>
          <a:ln w="381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E40C08B-7A91-4942-93F3-69DF00B4BFAE}"/>
              </a:ext>
            </a:extLst>
          </p:cNvPr>
          <p:cNvCxnSpPr>
            <a:cxnSpLocks/>
          </p:cNvCxnSpPr>
          <p:nvPr/>
        </p:nvCxnSpPr>
        <p:spPr>
          <a:xfrm>
            <a:off x="2111057" y="2658111"/>
            <a:ext cx="0" cy="1188349"/>
          </a:xfrm>
          <a:prstGeom prst="line">
            <a:avLst/>
          </a:prstGeom>
          <a:ln w="381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08EFFFC5-EE6D-4C6F-BDD9-14CBBBBC8E34}"/>
              </a:ext>
            </a:extLst>
          </p:cNvPr>
          <p:cNvCxnSpPr>
            <a:cxnSpLocks/>
          </p:cNvCxnSpPr>
          <p:nvPr/>
        </p:nvCxnSpPr>
        <p:spPr>
          <a:xfrm>
            <a:off x="2111057" y="3909821"/>
            <a:ext cx="0" cy="1464342"/>
          </a:xfrm>
          <a:prstGeom prst="line">
            <a:avLst/>
          </a:prstGeom>
          <a:ln w="381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D073A492-EF94-47DA-B6B5-6D0C36B88682}"/>
              </a:ext>
            </a:extLst>
          </p:cNvPr>
          <p:cNvCxnSpPr>
            <a:cxnSpLocks/>
          </p:cNvCxnSpPr>
          <p:nvPr/>
        </p:nvCxnSpPr>
        <p:spPr>
          <a:xfrm>
            <a:off x="2111057" y="5441468"/>
            <a:ext cx="0" cy="760478"/>
          </a:xfrm>
          <a:prstGeom prst="line">
            <a:avLst/>
          </a:prstGeom>
          <a:ln w="38100">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773655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 Placeholder 8">
            <a:extLst>
              <a:ext uri="{FF2B5EF4-FFF2-40B4-BE49-F238E27FC236}">
                <a16:creationId xmlns:a16="http://schemas.microsoft.com/office/drawing/2014/main" id="{483E8D56-6E1B-42D3-B523-F6A4BDF20E70}"/>
              </a:ext>
            </a:extLst>
          </p:cNvPr>
          <p:cNvSpPr txBox="1">
            <a:spLocks/>
          </p:cNvSpPr>
          <p:nvPr/>
        </p:nvSpPr>
        <p:spPr>
          <a:xfrm>
            <a:off x="495300" y="5924144"/>
            <a:ext cx="9990933" cy="476655"/>
          </a:xfrm>
          <a:prstGeom prst="rect">
            <a:avLst/>
          </a:prstGeom>
        </p:spPr>
        <p:txBody>
          <a:bodyPr vert="horz" lIns="0" tIns="0" rIns="0" bIns="0" rtlCol="0">
            <a:normAutofit/>
          </a:bodyPr>
          <a:lstStyle>
            <a:lvl1pPr marL="273582" indent="-273582" algn="l" defTabSz="1086775" rtl="0" eaLnBrk="1" latinLnBrk="0" hangingPunct="1">
              <a:lnSpc>
                <a:spcPct val="90000"/>
              </a:lnSpc>
              <a:spcBef>
                <a:spcPts val="1800"/>
              </a:spcBef>
              <a:buClr>
                <a:schemeClr val="tx1"/>
              </a:buClr>
              <a:buFont typeface="Arial" pitchFamily="34" charset="0"/>
              <a:buChar char="•"/>
              <a:defRPr sz="2400" kern="1200">
                <a:solidFill>
                  <a:schemeClr val="tx1"/>
                </a:solidFill>
                <a:latin typeface="+mn-lt"/>
                <a:ea typeface="+mn-ea"/>
                <a:cs typeface="+mn-cs"/>
              </a:defRPr>
            </a:lvl1pPr>
            <a:lvl2pPr marL="658368" indent="-271694" algn="l" defTabSz="1086775" rtl="0" eaLnBrk="1" latinLnBrk="0" hangingPunct="1">
              <a:lnSpc>
                <a:spcPct val="90000"/>
              </a:lnSpc>
              <a:spcBef>
                <a:spcPts val="400"/>
              </a:spcBef>
              <a:spcAft>
                <a:spcPts val="0"/>
              </a:spcAft>
              <a:buFont typeface="Arial" pitchFamily="34" charset="0"/>
              <a:buChar char="–"/>
              <a:defRPr sz="2000" kern="1200">
                <a:solidFill>
                  <a:schemeClr val="tx1"/>
                </a:solidFill>
                <a:latin typeface="+mn-lt"/>
                <a:ea typeface="+mn-ea"/>
                <a:cs typeface="+mn-cs"/>
              </a:defRPr>
            </a:lvl2pPr>
            <a:lvl3pPr marL="914400" indent="-210312" algn="l" defTabSz="1290546" rtl="0" eaLnBrk="1" latinLnBrk="0" hangingPunct="1">
              <a:lnSpc>
                <a:spcPct val="90000"/>
              </a:lnSpc>
              <a:spcBef>
                <a:spcPts val="200"/>
              </a:spcBef>
              <a:spcAft>
                <a:spcPts val="0"/>
              </a:spcAft>
              <a:buFont typeface="Arial" pitchFamily="34" charset="0"/>
              <a:buChar char="•"/>
              <a:defRPr sz="1800" kern="1200">
                <a:solidFill>
                  <a:schemeClr val="tx1"/>
                </a:solidFill>
                <a:latin typeface="+mn-lt"/>
                <a:ea typeface="+mn-ea"/>
                <a:cs typeface="+mn-cs"/>
              </a:defRPr>
            </a:lvl3pPr>
            <a:lvl4pPr marL="1197864" indent="-210312" algn="l" defTabSz="1086775" rtl="0" eaLnBrk="1" latinLnBrk="0" hangingPunct="1">
              <a:lnSpc>
                <a:spcPct val="90000"/>
              </a:lnSpc>
              <a:spcBef>
                <a:spcPts val="200"/>
              </a:spcBef>
              <a:spcAft>
                <a:spcPts val="0"/>
              </a:spcAft>
              <a:buFont typeface="Arial" pitchFamily="34" charset="0"/>
              <a:buChar char="–"/>
              <a:defRPr sz="1600" kern="1200" baseline="0">
                <a:solidFill>
                  <a:schemeClr val="tx1"/>
                </a:solidFill>
                <a:latin typeface="+mn-lt"/>
                <a:ea typeface="+mn-ea"/>
                <a:cs typeface="+mn-cs"/>
              </a:defRPr>
            </a:lvl4pPr>
            <a:lvl5pPr marL="1444752" indent="-182880" algn="l" defTabSz="1086775" rtl="0" eaLnBrk="1" latinLnBrk="0" hangingPunct="1">
              <a:lnSpc>
                <a:spcPct val="90000"/>
              </a:lnSpc>
              <a:spcBef>
                <a:spcPts val="200"/>
              </a:spcBef>
              <a:spcAft>
                <a:spcPts val="0"/>
              </a:spcAft>
              <a:buFont typeface="Arial" pitchFamily="34" charset="0"/>
              <a:buChar char="»"/>
              <a:defRPr sz="1400" kern="1200" baseline="0">
                <a:solidFill>
                  <a:schemeClr val="tx1"/>
                </a:solidFill>
                <a:latin typeface="+mn-lt"/>
                <a:ea typeface="+mn-ea"/>
                <a:cs typeface="+mn-cs"/>
              </a:defRPr>
            </a:lvl5pPr>
            <a:lvl6pPr marL="2988632" indent="-271694" algn="l" defTabSz="1086775"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2020" indent="-271694" algn="l" defTabSz="1086775"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75408" indent="-271694" algn="l" defTabSz="1086775"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18796" indent="-271694" algn="l" defTabSz="1086775"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indent="0">
              <a:lnSpc>
                <a:spcPct val="100000"/>
              </a:lnSpc>
              <a:buFont typeface="Arial" pitchFamily="34" charset="0"/>
              <a:buNone/>
            </a:pPr>
            <a:r>
              <a:rPr lang="en-GB" sz="1200" b="1" dirty="0"/>
              <a:t>Note: Creo Parametric includes Simulation “lite” capabilities</a:t>
            </a:r>
          </a:p>
          <a:p>
            <a:pPr marL="216000" indent="-216000">
              <a:lnSpc>
                <a:spcPct val="100000"/>
              </a:lnSpc>
              <a:spcBef>
                <a:spcPts val="0"/>
              </a:spcBef>
              <a:buClr>
                <a:schemeClr val="bg2"/>
              </a:buClr>
              <a:buSzPct val="150000"/>
              <a:buFont typeface="Wingdings" panose="05000000000000000000" pitchFamily="2" charset="2"/>
              <a:buChar char="§"/>
            </a:pPr>
            <a:r>
              <a:rPr lang="en-GB" sz="1200" dirty="0"/>
              <a:t>Simplified wizard UI, basic loads and constraints, limitations on number of surfaces  </a:t>
            </a:r>
          </a:p>
          <a:p>
            <a:pPr marL="173038" indent="-171450">
              <a:lnSpc>
                <a:spcPct val="100000"/>
              </a:lnSpc>
              <a:spcBef>
                <a:spcPts val="0"/>
              </a:spcBef>
              <a:buFont typeface="Wingdings" panose="05000000000000000000" pitchFamily="2" charset="2"/>
              <a:buChar char="§"/>
            </a:pPr>
            <a:endParaRPr lang="en-US" sz="1200" b="1" dirty="0"/>
          </a:p>
          <a:p>
            <a:pPr>
              <a:lnSpc>
                <a:spcPct val="100000"/>
              </a:lnSpc>
            </a:pPr>
            <a:endParaRPr lang="en-US" sz="1200" dirty="0"/>
          </a:p>
        </p:txBody>
      </p:sp>
      <p:sp>
        <p:nvSpPr>
          <p:cNvPr id="6" name="Título 5">
            <a:extLst>
              <a:ext uri="{FF2B5EF4-FFF2-40B4-BE49-F238E27FC236}">
                <a16:creationId xmlns:a16="http://schemas.microsoft.com/office/drawing/2014/main" id="{21F8E890-12CD-422D-B49C-23D6B108F3AC}"/>
              </a:ext>
            </a:extLst>
          </p:cNvPr>
          <p:cNvSpPr>
            <a:spLocks noGrp="1"/>
          </p:cNvSpPr>
          <p:nvPr>
            <p:ph type="title"/>
          </p:nvPr>
        </p:nvSpPr>
        <p:spPr>
          <a:xfrm>
            <a:off x="490760" y="678174"/>
            <a:ext cx="10789920" cy="369332"/>
          </a:xfrm>
        </p:spPr>
        <p:txBody>
          <a:bodyPr/>
          <a:lstStyle/>
          <a:p>
            <a:r>
              <a:rPr lang="en-US" dirty="0"/>
              <a:t>Creo Simulation Product Overview</a:t>
            </a:r>
          </a:p>
        </p:txBody>
      </p:sp>
      <p:graphicFrame>
        <p:nvGraphicFramePr>
          <p:cNvPr id="16" name="Content Placeholder 6">
            <a:extLst>
              <a:ext uri="{FF2B5EF4-FFF2-40B4-BE49-F238E27FC236}">
                <a16:creationId xmlns:a16="http://schemas.microsoft.com/office/drawing/2014/main" id="{4A110093-2F3C-44D1-8512-5B36D21786C4}"/>
              </a:ext>
            </a:extLst>
          </p:cNvPr>
          <p:cNvGraphicFramePr>
            <a:graphicFrameLocks/>
          </p:cNvGraphicFramePr>
          <p:nvPr/>
        </p:nvGraphicFramePr>
        <p:xfrm>
          <a:off x="495300" y="1311435"/>
          <a:ext cx="11277599" cy="4383571"/>
        </p:xfrm>
        <a:graphic>
          <a:graphicData uri="http://schemas.openxmlformats.org/drawingml/2006/table">
            <a:tbl>
              <a:tblPr firstRow="1" bandRow="1">
                <a:tableStyleId>{D27102A9-8310-4765-A935-A1911B00CA55}</a:tableStyleId>
              </a:tblPr>
              <a:tblGrid>
                <a:gridCol w="4582601">
                  <a:extLst>
                    <a:ext uri="{9D8B030D-6E8A-4147-A177-3AD203B41FA5}">
                      <a16:colId xmlns:a16="http://schemas.microsoft.com/office/drawing/2014/main" val="20000"/>
                    </a:ext>
                  </a:extLst>
                </a:gridCol>
                <a:gridCol w="2495255">
                  <a:extLst>
                    <a:ext uri="{9D8B030D-6E8A-4147-A177-3AD203B41FA5}">
                      <a16:colId xmlns:a16="http://schemas.microsoft.com/office/drawing/2014/main" val="20001"/>
                    </a:ext>
                  </a:extLst>
                </a:gridCol>
                <a:gridCol w="2098144">
                  <a:extLst>
                    <a:ext uri="{9D8B030D-6E8A-4147-A177-3AD203B41FA5}">
                      <a16:colId xmlns:a16="http://schemas.microsoft.com/office/drawing/2014/main" val="20002"/>
                    </a:ext>
                  </a:extLst>
                </a:gridCol>
                <a:gridCol w="2101599">
                  <a:extLst>
                    <a:ext uri="{9D8B030D-6E8A-4147-A177-3AD203B41FA5}">
                      <a16:colId xmlns:a16="http://schemas.microsoft.com/office/drawing/2014/main" val="20003"/>
                    </a:ext>
                  </a:extLst>
                </a:gridCol>
              </a:tblGrid>
              <a:tr h="665662">
                <a:tc>
                  <a:txBody>
                    <a:bodyPr/>
                    <a:lstStyle/>
                    <a:p>
                      <a:pPr marL="0" algn="l" defTabSz="914400" rtl="0" eaLnBrk="1" latinLnBrk="0" hangingPunct="1"/>
                      <a:r>
                        <a:rPr lang="en-US" sz="1200" kern="1200" dirty="0">
                          <a:solidFill>
                            <a:schemeClr val="bg1"/>
                          </a:solidFill>
                        </a:rPr>
                        <a:t>Capability</a:t>
                      </a:r>
                      <a:endParaRPr lang="en-US" sz="1200" b="1" kern="1200" dirty="0">
                        <a:solidFill>
                          <a:schemeClr val="bg1"/>
                        </a:solidFill>
                        <a:latin typeface="+mn-lt"/>
                        <a:ea typeface="+mn-ea"/>
                        <a:cs typeface="+mn-cs"/>
                      </a:endParaRPr>
                    </a:p>
                  </a:txBody>
                  <a:tcPr marL="165963" marR="165963"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4D585A"/>
                    </a:solidFill>
                  </a:tcPr>
                </a:tc>
                <a:tc>
                  <a:txBody>
                    <a:bodyPr/>
                    <a:lstStyle/>
                    <a:p>
                      <a:pPr algn="ctr"/>
                      <a:r>
                        <a:rPr lang="en-US" sz="1200" dirty="0">
                          <a:solidFill>
                            <a:schemeClr val="bg1"/>
                          </a:solidFill>
                        </a:rPr>
                        <a:t>Creo Simulation Elite </a:t>
                      </a:r>
                      <a:br>
                        <a:rPr lang="en-US" sz="1200" dirty="0">
                          <a:solidFill>
                            <a:schemeClr val="bg1"/>
                          </a:solidFill>
                        </a:rPr>
                      </a:br>
                      <a:r>
                        <a:rPr lang="en-US" sz="1200" dirty="0">
                          <a:solidFill>
                            <a:schemeClr val="bg1"/>
                          </a:solidFill>
                        </a:rPr>
                        <a:t>(linear</a:t>
                      </a:r>
                      <a:r>
                        <a:rPr lang="en-US" sz="1200" baseline="0" dirty="0">
                          <a:solidFill>
                            <a:schemeClr val="bg1"/>
                          </a:solidFill>
                        </a:rPr>
                        <a:t> static structural analysis)</a:t>
                      </a:r>
                      <a:endParaRPr lang="en-US" sz="1200" dirty="0">
                        <a:solidFill>
                          <a:schemeClr val="bg1"/>
                        </a:solidFill>
                      </a:endParaRPr>
                    </a:p>
                  </a:txBody>
                  <a:tcPr marL="165963" marR="165963"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4D585A"/>
                    </a:solidFill>
                  </a:tcPr>
                </a:tc>
                <a:tc>
                  <a:txBody>
                    <a:bodyPr/>
                    <a:lstStyle/>
                    <a:p>
                      <a:pPr algn="ctr"/>
                      <a:r>
                        <a:rPr lang="en-US" sz="1200" baseline="0" dirty="0">
                          <a:solidFill>
                            <a:schemeClr val="bg1"/>
                          </a:solidFill>
                        </a:rPr>
                        <a:t>PTC Creo Simulation Extension</a:t>
                      </a:r>
                    </a:p>
                  </a:txBody>
                  <a:tcPr marL="165963" marR="165963"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4D585A"/>
                    </a:solidFill>
                  </a:tcPr>
                </a:tc>
                <a:tc>
                  <a:txBody>
                    <a:bodyPr/>
                    <a:lstStyle/>
                    <a:p>
                      <a:pPr algn="ctr"/>
                      <a:r>
                        <a:rPr lang="en-US" sz="1200" dirty="0">
                          <a:solidFill>
                            <a:schemeClr val="bg1"/>
                          </a:solidFill>
                        </a:rPr>
                        <a:t>PTC Creo Advanced  Simulation Extension</a:t>
                      </a:r>
                    </a:p>
                  </a:txBody>
                  <a:tcPr marL="165963" marR="165963"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4D585A"/>
                    </a:solidFill>
                  </a:tcPr>
                </a:tc>
                <a:extLst>
                  <a:ext uri="{0D108BD9-81ED-4DB2-BD59-A6C34878D82A}">
                    <a16:rowId xmlns:a16="http://schemas.microsoft.com/office/drawing/2014/main" val="10000"/>
                  </a:ext>
                </a:extLst>
              </a:tr>
              <a:tr h="285993">
                <a:tc>
                  <a:txBody>
                    <a:bodyPr/>
                    <a:lstStyle/>
                    <a:p>
                      <a:r>
                        <a:rPr lang="en-US" sz="1200" dirty="0"/>
                        <a:t>Finite Element Analysis for Parts and Assemblies</a:t>
                      </a:r>
                    </a:p>
                  </a:txBody>
                  <a:tcPr marL="165963" marR="165963">
                    <a:lnL>
                      <a:noFill/>
                    </a:lnL>
                    <a:lnR>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9EAEA"/>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200" dirty="0"/>
                        <a:t>✔</a:t>
                      </a:r>
                    </a:p>
                  </a:txBody>
                  <a:tcPr marL="165963" marR="165963">
                    <a:lnL>
                      <a:noFill/>
                    </a:lnL>
                    <a:lnR>
                      <a:noFill/>
                    </a:lnR>
                    <a:lnT w="12700" cap="flat" cmpd="sng" algn="ctr">
                      <a:solidFill>
                        <a:schemeClr val="bg1"/>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200" dirty="0"/>
                        <a:t>✔</a:t>
                      </a:r>
                    </a:p>
                  </a:txBody>
                  <a:tcPr marL="165963" marR="165963">
                    <a:lnL>
                      <a:noFill/>
                    </a:lnL>
                    <a:lnR>
                      <a:noFill/>
                    </a:lnR>
                    <a:lnT w="12700" cap="flat" cmpd="sng" algn="ctr">
                      <a:solidFill>
                        <a:schemeClr val="bg1"/>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200"/>
                        <a:t>✔</a:t>
                      </a:r>
                    </a:p>
                  </a:txBody>
                  <a:tcPr marL="165963" marR="165963">
                    <a:lnL>
                      <a:noFill/>
                    </a:lnL>
                    <a:lnR>
                      <a:noFill/>
                    </a:lnR>
                    <a:lnT w="12700" cap="flat" cmpd="sng" algn="ctr">
                      <a:solidFill>
                        <a:schemeClr val="bg1"/>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1"/>
                  </a:ext>
                </a:extLst>
              </a:tr>
              <a:tr h="285993">
                <a:tc>
                  <a:txBody>
                    <a:bodyPr/>
                    <a:lstStyle/>
                    <a:p>
                      <a:r>
                        <a:rPr lang="en-US" sz="1200" dirty="0"/>
                        <a:t>Static Structural Analysis </a:t>
                      </a:r>
                    </a:p>
                  </a:txBody>
                  <a:tcPr marL="165963" marR="165963">
                    <a:lnL>
                      <a:noFill/>
                    </a:lnL>
                    <a:lnR>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9EAEA"/>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200" dirty="0"/>
                        <a:t>✔</a:t>
                      </a:r>
                    </a:p>
                  </a:txBody>
                  <a:tcPr marL="165963" marR="165963">
                    <a:lnL>
                      <a:noFill/>
                    </a:lnL>
                    <a:lnR>
                      <a:noFill/>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200"/>
                        <a:t>✔</a:t>
                      </a:r>
                    </a:p>
                  </a:txBody>
                  <a:tcPr marL="165963" marR="165963">
                    <a:lnL>
                      <a:noFill/>
                    </a:lnL>
                    <a:lnR>
                      <a:noFill/>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200"/>
                        <a:t>✔</a:t>
                      </a:r>
                    </a:p>
                  </a:txBody>
                  <a:tcPr marL="165963" marR="165963">
                    <a:lnL>
                      <a:noFill/>
                    </a:lnL>
                    <a:lnR>
                      <a:noFill/>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2"/>
                  </a:ext>
                </a:extLst>
              </a:tr>
              <a:tr h="285993">
                <a:tc>
                  <a:txBody>
                    <a:bodyPr/>
                    <a:lstStyle/>
                    <a:p>
                      <a:r>
                        <a:rPr lang="en-US" sz="1200" dirty="0"/>
                        <a:t>Finite Element Modeling Idealization</a:t>
                      </a:r>
                    </a:p>
                  </a:txBody>
                  <a:tcPr marL="165963" marR="165963">
                    <a:lnL>
                      <a:noFill/>
                    </a:lnL>
                    <a:lnR>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9EAEA"/>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dirty="0"/>
                        <a:t>✔</a:t>
                      </a:r>
                    </a:p>
                  </a:txBody>
                  <a:tcPr marL="165963" marR="165963">
                    <a:lnL>
                      <a:noFill/>
                    </a:lnL>
                    <a:lnR>
                      <a:noFill/>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200"/>
                        <a:t>✔</a:t>
                      </a:r>
                    </a:p>
                  </a:txBody>
                  <a:tcPr marL="165963" marR="165963">
                    <a:lnL>
                      <a:noFill/>
                    </a:lnL>
                    <a:lnR>
                      <a:noFill/>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200"/>
                        <a:t>✔</a:t>
                      </a:r>
                    </a:p>
                  </a:txBody>
                  <a:tcPr marL="165963" marR="165963">
                    <a:lnL>
                      <a:noFill/>
                    </a:lnL>
                    <a:lnR>
                      <a:noFill/>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3"/>
                  </a:ext>
                </a:extLst>
              </a:tr>
              <a:tr h="285993">
                <a:tc>
                  <a:txBody>
                    <a:bodyPr/>
                    <a:lstStyle/>
                    <a:p>
                      <a:r>
                        <a:rPr lang="en-US" sz="1200" dirty="0"/>
                        <a:t>Automatic Meshing</a:t>
                      </a:r>
                    </a:p>
                  </a:txBody>
                  <a:tcPr marL="165963" marR="165963">
                    <a:lnL>
                      <a:noFill/>
                    </a:lnL>
                    <a:lnR>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9EAEA"/>
                    </a:solidFill>
                  </a:tcPr>
                </a:tc>
                <a:tc>
                  <a:txBody>
                    <a:bodyPr/>
                    <a:lstStyle/>
                    <a:p>
                      <a:pPr marL="0" marR="0" lvl="0" indent="0" algn="ctr" defTabSz="1086775" rtl="0" eaLnBrk="1" fontAlgn="auto" latinLnBrk="0" hangingPunct="1">
                        <a:lnSpc>
                          <a:spcPct val="100000"/>
                        </a:lnSpc>
                        <a:spcBef>
                          <a:spcPts val="0"/>
                        </a:spcBef>
                        <a:spcAft>
                          <a:spcPts val="0"/>
                        </a:spcAft>
                        <a:buClrTx/>
                        <a:buSzTx/>
                        <a:buFontTx/>
                        <a:buNone/>
                        <a:tabLst/>
                        <a:defRPr/>
                      </a:pPr>
                      <a:r>
                        <a:rPr lang="en-US" sz="1200" dirty="0"/>
                        <a:t>✔</a:t>
                      </a:r>
                    </a:p>
                  </a:txBody>
                  <a:tcPr marL="165963" marR="165963">
                    <a:lnL>
                      <a:noFill/>
                    </a:lnL>
                    <a:lnR>
                      <a:noFill/>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200" dirty="0"/>
                        <a:t>✔</a:t>
                      </a:r>
                    </a:p>
                  </a:txBody>
                  <a:tcPr marL="165963" marR="165963">
                    <a:lnL>
                      <a:noFill/>
                    </a:lnL>
                    <a:lnR>
                      <a:noFill/>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200"/>
                        <a:t>✔</a:t>
                      </a:r>
                    </a:p>
                  </a:txBody>
                  <a:tcPr marL="165963" marR="165963">
                    <a:lnL>
                      <a:noFill/>
                    </a:lnL>
                    <a:lnR>
                      <a:noFill/>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4"/>
                  </a:ext>
                </a:extLst>
              </a:tr>
              <a:tr h="285993">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a:t>Results Display &amp; Reporting</a:t>
                      </a:r>
                    </a:p>
                  </a:txBody>
                  <a:tcPr marL="165963" marR="165963">
                    <a:lnL>
                      <a:noFill/>
                    </a:lnL>
                    <a:lnR>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9EAEA"/>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200" dirty="0"/>
                        <a:t>✔</a:t>
                      </a:r>
                    </a:p>
                  </a:txBody>
                  <a:tcPr marL="165963" marR="165963">
                    <a:lnL>
                      <a:noFill/>
                    </a:lnL>
                    <a:lnR>
                      <a:noFill/>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200"/>
                        <a:t>✔</a:t>
                      </a:r>
                    </a:p>
                  </a:txBody>
                  <a:tcPr marL="165963" marR="165963">
                    <a:lnL>
                      <a:noFill/>
                    </a:lnL>
                    <a:lnR>
                      <a:noFill/>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200"/>
                        <a:t>✔</a:t>
                      </a:r>
                    </a:p>
                  </a:txBody>
                  <a:tcPr marL="165963" marR="165963">
                    <a:lnL>
                      <a:noFill/>
                    </a:lnL>
                    <a:lnR>
                      <a:noFill/>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5"/>
                  </a:ext>
                </a:extLst>
              </a:tr>
              <a:tr h="285993">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a:t>Modal &amp; Buckling Analysis</a:t>
                      </a:r>
                    </a:p>
                  </a:txBody>
                  <a:tcPr marL="165963" marR="165963">
                    <a:lnL>
                      <a:noFill/>
                    </a:lnL>
                    <a:lnR>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9EAEA"/>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sz="1200" dirty="0">
                        <a:solidFill>
                          <a:schemeClr val="bg1">
                            <a:lumMod val="65000"/>
                          </a:schemeClr>
                        </a:solidFill>
                      </a:endParaRPr>
                    </a:p>
                  </a:txBody>
                  <a:tcPr marL="165963" marR="165963">
                    <a:lnL>
                      <a:noFill/>
                    </a:lnL>
                    <a:lnR>
                      <a:noFill/>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200"/>
                        <a:t>✔</a:t>
                      </a:r>
                    </a:p>
                  </a:txBody>
                  <a:tcPr marL="165963" marR="165963">
                    <a:lnL>
                      <a:noFill/>
                    </a:lnL>
                    <a:lnR>
                      <a:noFill/>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200"/>
                        <a:t>✔</a:t>
                      </a:r>
                    </a:p>
                  </a:txBody>
                  <a:tcPr marL="165963" marR="165963">
                    <a:lnL>
                      <a:noFill/>
                    </a:lnL>
                    <a:lnR>
                      <a:noFill/>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6"/>
                  </a:ext>
                </a:extLst>
              </a:tr>
              <a:tr h="285993">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a:t>Steady State Thermal Analysis</a:t>
                      </a:r>
                    </a:p>
                  </a:txBody>
                  <a:tcPr marL="165963" marR="165963">
                    <a:lnL>
                      <a:noFill/>
                    </a:lnL>
                    <a:lnR>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9EAEA"/>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sz="1200" dirty="0">
                        <a:solidFill>
                          <a:schemeClr val="bg1">
                            <a:lumMod val="65000"/>
                          </a:schemeClr>
                        </a:solidFill>
                      </a:endParaRPr>
                    </a:p>
                  </a:txBody>
                  <a:tcPr marL="165963" marR="165963">
                    <a:lnL>
                      <a:noFill/>
                    </a:lnL>
                    <a:lnR>
                      <a:noFill/>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200" dirty="0"/>
                        <a:t>✔</a:t>
                      </a:r>
                    </a:p>
                  </a:txBody>
                  <a:tcPr marL="165963" marR="165963">
                    <a:lnL>
                      <a:noFill/>
                    </a:lnL>
                    <a:lnR>
                      <a:noFill/>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200"/>
                        <a:t>✔</a:t>
                      </a:r>
                    </a:p>
                  </a:txBody>
                  <a:tcPr marL="165963" marR="165963">
                    <a:lnL>
                      <a:noFill/>
                    </a:lnL>
                    <a:lnR>
                      <a:noFill/>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7"/>
                  </a:ext>
                </a:extLst>
              </a:tr>
              <a:tr h="285993">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a:t>Design Optimization</a:t>
                      </a:r>
                    </a:p>
                  </a:txBody>
                  <a:tcPr marL="165963" marR="165963">
                    <a:lnL>
                      <a:noFill/>
                    </a:lnL>
                    <a:lnR>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9EAEA"/>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sz="1200" dirty="0">
                        <a:solidFill>
                          <a:schemeClr val="bg1">
                            <a:lumMod val="65000"/>
                          </a:schemeClr>
                        </a:solidFill>
                      </a:endParaRPr>
                    </a:p>
                  </a:txBody>
                  <a:tcPr marL="165963" marR="165963">
                    <a:lnL>
                      <a:noFill/>
                    </a:lnL>
                    <a:lnR>
                      <a:noFill/>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dirty="0"/>
                        <a:t>✔</a:t>
                      </a:r>
                    </a:p>
                  </a:txBody>
                  <a:tcPr marL="165963" marR="165963">
                    <a:lnL>
                      <a:noFill/>
                    </a:lnL>
                    <a:lnR>
                      <a:noFill/>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200"/>
                        <a:t>✔</a:t>
                      </a:r>
                    </a:p>
                  </a:txBody>
                  <a:tcPr marL="165963" marR="165963">
                    <a:lnL>
                      <a:noFill/>
                    </a:lnL>
                    <a:lnR>
                      <a:noFill/>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8"/>
                  </a:ext>
                </a:extLst>
              </a:tr>
              <a:tr h="285993">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a:t>Contact Analysis </a:t>
                      </a:r>
                    </a:p>
                  </a:txBody>
                  <a:tcPr marL="165963" marR="165963">
                    <a:lnL>
                      <a:noFill/>
                    </a:lnL>
                    <a:lnR>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9EAEA"/>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sz="1200" dirty="0">
                        <a:solidFill>
                          <a:schemeClr val="bg1">
                            <a:lumMod val="65000"/>
                          </a:schemeClr>
                        </a:solidFill>
                      </a:endParaRPr>
                    </a:p>
                  </a:txBody>
                  <a:tcPr marL="165963" marR="165963">
                    <a:lnL>
                      <a:noFill/>
                    </a:lnL>
                    <a:lnR>
                      <a:noFill/>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dirty="0"/>
                        <a:t>✔</a:t>
                      </a:r>
                    </a:p>
                  </a:txBody>
                  <a:tcPr marL="165963" marR="165963">
                    <a:lnL>
                      <a:noFill/>
                    </a:lnL>
                    <a:lnR>
                      <a:noFill/>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200"/>
                        <a:t>✔</a:t>
                      </a:r>
                    </a:p>
                  </a:txBody>
                  <a:tcPr marL="165963" marR="165963">
                    <a:lnL>
                      <a:noFill/>
                    </a:lnL>
                    <a:lnR>
                      <a:noFill/>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09"/>
                  </a:ext>
                </a:extLst>
              </a:tr>
              <a:tr h="285993">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a:t>Advanced Finite Element Idealization</a:t>
                      </a:r>
                    </a:p>
                  </a:txBody>
                  <a:tcPr marL="165963" marR="165963">
                    <a:lnL>
                      <a:noFill/>
                    </a:lnL>
                    <a:lnR>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9EAEA"/>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sz="1200" dirty="0">
                        <a:solidFill>
                          <a:schemeClr val="bg1">
                            <a:lumMod val="65000"/>
                          </a:schemeClr>
                        </a:solidFill>
                      </a:endParaRPr>
                    </a:p>
                  </a:txBody>
                  <a:tcPr marL="165963" marR="165963">
                    <a:lnL>
                      <a:noFill/>
                    </a:lnL>
                    <a:lnR>
                      <a:noFill/>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sz="1200" dirty="0"/>
                    </a:p>
                  </a:txBody>
                  <a:tcPr marL="165963" marR="165963">
                    <a:lnL>
                      <a:noFill/>
                    </a:lnL>
                    <a:lnR>
                      <a:noFill/>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200"/>
                        <a:t>✔</a:t>
                      </a:r>
                    </a:p>
                  </a:txBody>
                  <a:tcPr marL="165963" marR="165963">
                    <a:lnL>
                      <a:noFill/>
                    </a:lnL>
                    <a:lnR>
                      <a:noFill/>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10"/>
                  </a:ext>
                </a:extLst>
              </a:tr>
              <a:tr h="285993">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a:t>Nonlinear Materials &amp; Large Deformation</a:t>
                      </a:r>
                    </a:p>
                  </a:txBody>
                  <a:tcPr marL="165963" marR="165963">
                    <a:lnL>
                      <a:noFill/>
                    </a:lnL>
                    <a:lnR>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9EAEA"/>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sz="1200" dirty="0">
                        <a:solidFill>
                          <a:schemeClr val="bg1">
                            <a:lumMod val="65000"/>
                          </a:schemeClr>
                        </a:solidFill>
                      </a:endParaRPr>
                    </a:p>
                  </a:txBody>
                  <a:tcPr marL="165963" marR="165963">
                    <a:lnL>
                      <a:noFill/>
                    </a:lnL>
                    <a:lnR>
                      <a:noFill/>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sz="1200"/>
                    </a:p>
                  </a:txBody>
                  <a:tcPr marL="165963" marR="165963">
                    <a:lnL>
                      <a:noFill/>
                    </a:lnL>
                    <a:lnR>
                      <a:noFill/>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200" dirty="0"/>
                        <a:t>✔</a:t>
                      </a:r>
                    </a:p>
                  </a:txBody>
                  <a:tcPr marL="165963" marR="165963">
                    <a:lnL>
                      <a:noFill/>
                    </a:lnL>
                    <a:lnR>
                      <a:noFill/>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11"/>
                  </a:ext>
                </a:extLst>
              </a:tr>
              <a:tr h="285993">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a:t>Dynamic &amp; Pre-stress Analysis</a:t>
                      </a:r>
                    </a:p>
                  </a:txBody>
                  <a:tcPr marL="165963" marR="165963">
                    <a:lnL>
                      <a:noFill/>
                    </a:lnL>
                    <a:lnR>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9EAEA"/>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sz="1200" dirty="0">
                        <a:solidFill>
                          <a:schemeClr val="bg1">
                            <a:lumMod val="65000"/>
                          </a:schemeClr>
                        </a:solidFill>
                      </a:endParaRPr>
                    </a:p>
                  </a:txBody>
                  <a:tcPr marL="165963" marR="165963">
                    <a:lnL>
                      <a:noFill/>
                    </a:lnL>
                    <a:lnR>
                      <a:noFill/>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sz="1200"/>
                    </a:p>
                  </a:txBody>
                  <a:tcPr marL="165963" marR="165963">
                    <a:lnL>
                      <a:noFill/>
                    </a:lnL>
                    <a:lnR>
                      <a:noFill/>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200" dirty="0"/>
                        <a:t>✔</a:t>
                      </a:r>
                    </a:p>
                  </a:txBody>
                  <a:tcPr marL="165963" marR="165963">
                    <a:lnL>
                      <a:noFill/>
                    </a:lnL>
                    <a:lnR>
                      <a:noFill/>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12"/>
                  </a:ext>
                </a:extLst>
              </a:tr>
              <a:tr h="285993">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a:t>Transient &amp; Nonlinear Thermal Analysis </a:t>
                      </a:r>
                    </a:p>
                  </a:txBody>
                  <a:tcPr marL="165963" marR="165963">
                    <a:lnL>
                      <a:noFill/>
                    </a:lnL>
                    <a:lnR>
                      <a:noFill/>
                    </a:lnR>
                    <a:lnT w="12700" cap="flat" cmpd="sng" algn="ctr">
                      <a:solidFill>
                        <a:schemeClr val="bg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E9EAEA"/>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sz="1200" dirty="0">
                        <a:solidFill>
                          <a:schemeClr val="bg1">
                            <a:lumMod val="65000"/>
                          </a:schemeClr>
                        </a:solidFill>
                      </a:endParaRPr>
                    </a:p>
                  </a:txBody>
                  <a:tcPr marL="165963" marR="165963">
                    <a:lnL>
                      <a:noFill/>
                    </a:lnL>
                    <a:lnR>
                      <a:noFill/>
                    </a:lnR>
                    <a:lnT w="12700" cap="flat" cmpd="sng" algn="ctr">
                      <a:solidFill>
                        <a:schemeClr val="bg1">
                          <a:lumMod val="9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sz="1200"/>
                    </a:p>
                  </a:txBody>
                  <a:tcPr marL="165963" marR="165963">
                    <a:lnL>
                      <a:noFill/>
                    </a:lnL>
                    <a:lnR>
                      <a:noFill/>
                    </a:lnR>
                    <a:lnT w="12700" cap="flat" cmpd="sng" algn="ctr">
                      <a:solidFill>
                        <a:schemeClr val="bg1">
                          <a:lumMod val="9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dirty="0"/>
                        <a:t>✔</a:t>
                      </a:r>
                    </a:p>
                  </a:txBody>
                  <a:tcPr marL="165963" marR="165963">
                    <a:lnL>
                      <a:noFill/>
                    </a:lnL>
                    <a:lnR>
                      <a:noFill/>
                    </a:lnR>
                    <a:lnT w="12700" cap="flat" cmpd="sng" algn="ctr">
                      <a:solidFill>
                        <a:schemeClr val="bg1">
                          <a:lumMod val="9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904827792"/>
                  </a:ext>
                </a:extLst>
              </a:tr>
            </a:tbl>
          </a:graphicData>
        </a:graphic>
      </p:graphicFrame>
      <p:pic>
        <p:nvPicPr>
          <p:cNvPr id="7" name="Picture 2" descr="D:\000 - CAD Sales Enablement\000 - FY16 CAD Core Plays\SmartHomeSystemIcon.png">
            <a:hlinkClick r:id="rId3" action="ppaction://hlinksldjump"/>
            <a:extLst>
              <a:ext uri="{FF2B5EF4-FFF2-40B4-BE49-F238E27FC236}">
                <a16:creationId xmlns:a16="http://schemas.microsoft.com/office/drawing/2014/main" id="{13E0F4A4-EEF6-4E21-93E3-11D656E5563E}"/>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tretch>
            <a:fillRect/>
          </a:stretch>
        </p:blipFill>
        <p:spPr bwMode="auto">
          <a:xfrm>
            <a:off x="11287745" y="690302"/>
            <a:ext cx="594300" cy="594300"/>
          </a:xfrm>
          <a:prstGeom prst="rect">
            <a:avLst/>
          </a:prstGeom>
          <a:noFill/>
          <a:ln>
            <a:noFill/>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80251126"/>
      </p:ext>
    </p:extLst>
  </p:cSld>
  <p:clrMapOvr>
    <a:masterClrMapping/>
  </p:clrMapOvr>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4" name="Picture 23">
            <a:extLst>
              <a:ext uri="{FF2B5EF4-FFF2-40B4-BE49-F238E27FC236}">
                <a16:creationId xmlns:a16="http://schemas.microsoft.com/office/drawing/2014/main" id="{4BAE148F-C51E-4DD2-905A-8AA761DF3EDB}"/>
              </a:ext>
            </a:extLst>
          </p:cNvPr>
          <p:cNvPicPr>
            <a:picLocks noChangeAspect="1"/>
          </p:cNvPicPr>
          <p:nvPr/>
        </p:nvPicPr>
        <p:blipFill>
          <a:blip r:embed="rId3"/>
          <a:stretch>
            <a:fillRect/>
          </a:stretch>
        </p:blipFill>
        <p:spPr>
          <a:xfrm>
            <a:off x="6096000" y="1718648"/>
            <a:ext cx="6096000" cy="4769772"/>
          </a:xfrm>
          <a:prstGeom prst="rect">
            <a:avLst/>
          </a:prstGeom>
        </p:spPr>
      </p:pic>
      <p:sp>
        <p:nvSpPr>
          <p:cNvPr id="5" name="Title 4"/>
          <p:cNvSpPr>
            <a:spLocks noGrp="1"/>
          </p:cNvSpPr>
          <p:nvPr>
            <p:ph type="title"/>
          </p:nvPr>
        </p:nvSpPr>
        <p:spPr/>
        <p:txBody>
          <a:bodyPr/>
          <a:lstStyle/>
          <a:p>
            <a:r>
              <a:rPr lang="en-US" cap="none"/>
              <a:t>CREO SIMULATION LIVE EXTENSION</a:t>
            </a:r>
          </a:p>
        </p:txBody>
      </p:sp>
      <p:sp>
        <p:nvSpPr>
          <p:cNvPr id="6" name="Subtitle 5"/>
          <p:cNvSpPr>
            <a:spLocks noGrp="1"/>
          </p:cNvSpPr>
          <p:nvPr>
            <p:ph type="subTitle" idx="4294967295"/>
          </p:nvPr>
        </p:nvSpPr>
        <p:spPr>
          <a:xfrm>
            <a:off x="476828" y="1205403"/>
            <a:ext cx="9341428" cy="467076"/>
          </a:xfrm>
        </p:spPr>
        <p:txBody>
          <a:bodyPr vert="horz" lIns="0" tIns="0" rIns="0" bIns="0" rtlCol="0">
            <a:noAutofit/>
          </a:bodyPr>
          <a:lstStyle/>
          <a:p>
            <a:pPr marL="0" indent="0">
              <a:buNone/>
            </a:pPr>
            <a:r>
              <a:rPr lang="en-US" sz="2000" dirty="0"/>
              <a:t>Creo Simulation Live puts fast and easy simulation into the hands of every engineer providing real time analysis feedback</a:t>
            </a:r>
          </a:p>
        </p:txBody>
      </p:sp>
      <p:pic>
        <p:nvPicPr>
          <p:cNvPr id="9" name="Picture 2" descr="D:\000 - CAD Sales Enablement\000 - FY16 CAD Core Plays\SmartHomeSystemIcon.png">
            <a:hlinkClick r:id="rId4" action="ppaction://hlinksldjump"/>
            <a:extLst>
              <a:ext uri="{FF2B5EF4-FFF2-40B4-BE49-F238E27FC236}">
                <a16:creationId xmlns:a16="http://schemas.microsoft.com/office/drawing/2014/main" id="{18104B31-8DD4-4248-9C46-38658EA94F6D}"/>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tretch>
            <a:fillRect/>
          </a:stretch>
        </p:blipFill>
        <p:spPr bwMode="auto">
          <a:xfrm>
            <a:off x="11287745" y="768126"/>
            <a:ext cx="594300" cy="594300"/>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12" name="Rectangle 11">
            <a:extLst>
              <a:ext uri="{FF2B5EF4-FFF2-40B4-BE49-F238E27FC236}">
                <a16:creationId xmlns:a16="http://schemas.microsoft.com/office/drawing/2014/main" id="{59E9E150-9F95-4C70-8444-AE13ED21524E}"/>
              </a:ext>
            </a:extLst>
          </p:cNvPr>
          <p:cNvSpPr/>
          <p:nvPr/>
        </p:nvSpPr>
        <p:spPr>
          <a:xfrm>
            <a:off x="476827" y="2150806"/>
            <a:ext cx="1510147" cy="567826"/>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lnSpc>
                <a:spcPct val="90000"/>
              </a:lnSpc>
              <a:spcBef>
                <a:spcPts val="800"/>
              </a:spcBef>
            </a:pPr>
            <a:r>
              <a:rPr lang="en-US" sz="1500" b="1">
                <a:solidFill>
                  <a:schemeClr val="tx1"/>
                </a:solidFill>
              </a:rPr>
              <a:t>Who Needs It?</a:t>
            </a:r>
          </a:p>
        </p:txBody>
      </p:sp>
      <p:sp>
        <p:nvSpPr>
          <p:cNvPr id="13" name="Rectangle 12">
            <a:extLst>
              <a:ext uri="{FF2B5EF4-FFF2-40B4-BE49-F238E27FC236}">
                <a16:creationId xmlns:a16="http://schemas.microsoft.com/office/drawing/2014/main" id="{B431345D-4ACB-4F7F-AC85-B1A8E38BB4B1}"/>
              </a:ext>
            </a:extLst>
          </p:cNvPr>
          <p:cNvSpPr/>
          <p:nvPr/>
        </p:nvSpPr>
        <p:spPr>
          <a:xfrm>
            <a:off x="2127681" y="2150806"/>
            <a:ext cx="6206777" cy="56782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a:solidFill>
                  <a:schemeClr val="tx1"/>
                </a:solidFill>
              </a:rPr>
              <a:t>Every design engineer that is focused on designing and developing high quality and high performance innovative products </a:t>
            </a:r>
          </a:p>
        </p:txBody>
      </p:sp>
      <p:sp>
        <p:nvSpPr>
          <p:cNvPr id="14" name="Rectangle 13">
            <a:extLst>
              <a:ext uri="{FF2B5EF4-FFF2-40B4-BE49-F238E27FC236}">
                <a16:creationId xmlns:a16="http://schemas.microsoft.com/office/drawing/2014/main" id="{D9911210-221E-4F49-965C-5D83ACFFE8ED}"/>
              </a:ext>
            </a:extLst>
          </p:cNvPr>
          <p:cNvSpPr/>
          <p:nvPr/>
        </p:nvSpPr>
        <p:spPr>
          <a:xfrm>
            <a:off x="476827" y="2798006"/>
            <a:ext cx="1510147" cy="1807298"/>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lnSpc>
                <a:spcPct val="90000"/>
              </a:lnSpc>
              <a:spcBef>
                <a:spcPts val="800"/>
              </a:spcBef>
            </a:pPr>
            <a:r>
              <a:rPr lang="en-US" sz="1500" b="1">
                <a:solidFill>
                  <a:schemeClr val="tx1"/>
                </a:solidFill>
              </a:rPr>
              <a:t>Business Value</a:t>
            </a:r>
          </a:p>
        </p:txBody>
      </p:sp>
      <p:sp>
        <p:nvSpPr>
          <p:cNvPr id="15" name="Rectangle 14">
            <a:extLst>
              <a:ext uri="{FF2B5EF4-FFF2-40B4-BE49-F238E27FC236}">
                <a16:creationId xmlns:a16="http://schemas.microsoft.com/office/drawing/2014/main" id="{5779199E-3EA8-4331-817C-02A974BABD1D}"/>
              </a:ext>
            </a:extLst>
          </p:cNvPr>
          <p:cNvSpPr/>
          <p:nvPr/>
        </p:nvSpPr>
        <p:spPr>
          <a:xfrm>
            <a:off x="2127683" y="2798006"/>
            <a:ext cx="9216194" cy="18072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169863" lvl="1" indent="-169863">
              <a:buClr>
                <a:schemeClr val="bg2"/>
              </a:buClr>
              <a:buFont typeface="Wingdings" panose="05000000000000000000" pitchFamily="2" charset="2"/>
              <a:buChar char="§"/>
            </a:pPr>
            <a:r>
              <a:rPr lang="en-US" sz="1400" dirty="0">
                <a:solidFill>
                  <a:srgbClr val="3D4647"/>
                </a:solidFill>
                <a:latin typeface="PTCRaleway" panose="020B0503030101060003" pitchFamily="34" charset="0"/>
              </a:rPr>
              <a:t>Use real time analysis data to support and guide design decisions and critical values</a:t>
            </a:r>
          </a:p>
          <a:p>
            <a:pPr marL="344488" lvl="2" indent="-157163">
              <a:buSzPct val="90000"/>
              <a:buBlip>
                <a:blip r:embed="rId6"/>
              </a:buBlip>
            </a:pPr>
            <a:r>
              <a:rPr lang="en-US" sz="1400" dirty="0">
                <a:solidFill>
                  <a:srgbClr val="3D4647"/>
                </a:solidFill>
                <a:latin typeface="PTCRaleway" panose="020B0503030101060003" pitchFamily="34" charset="0"/>
              </a:rPr>
              <a:t>Streamline product development and speed time-to-market </a:t>
            </a:r>
          </a:p>
          <a:p>
            <a:pPr marL="344488" lvl="2" indent="-157163">
              <a:buSzPct val="90000"/>
              <a:buBlip>
                <a:blip r:embed="rId6"/>
              </a:buBlip>
            </a:pPr>
            <a:r>
              <a:rPr lang="en-US" sz="1400" dirty="0">
                <a:solidFill>
                  <a:srgbClr val="3D4647"/>
                </a:solidFill>
                <a:latin typeface="PTCRaleway" panose="020B0503030101060003" pitchFamily="34" charset="0"/>
              </a:rPr>
              <a:t>Reduce product development cost </a:t>
            </a:r>
            <a:br>
              <a:rPr lang="en-US" sz="1400" dirty="0">
                <a:solidFill>
                  <a:srgbClr val="3D4647"/>
                </a:solidFill>
                <a:latin typeface="PTCRaleway" panose="020B0503030101060003" pitchFamily="34" charset="0"/>
              </a:rPr>
            </a:br>
            <a:r>
              <a:rPr lang="en-US" sz="1400" dirty="0">
                <a:solidFill>
                  <a:srgbClr val="3D4647"/>
                </a:solidFill>
                <a:latin typeface="PTCRaleway" panose="020B0503030101060003" pitchFamily="34" charset="0"/>
              </a:rPr>
              <a:t>(e.g., prototypes, rework, scrap)</a:t>
            </a:r>
          </a:p>
          <a:p>
            <a:pPr marL="344488" lvl="2" indent="-157163">
              <a:buSzPct val="90000"/>
              <a:buBlip>
                <a:blip r:embed="rId6"/>
              </a:buBlip>
            </a:pPr>
            <a:r>
              <a:rPr lang="en-US" sz="1400" dirty="0">
                <a:solidFill>
                  <a:srgbClr val="3D4647"/>
                </a:solidFill>
                <a:latin typeface="PTCRaleway" panose="020B0503030101060003" pitchFamily="34" charset="0"/>
              </a:rPr>
              <a:t>Reduce design cycles and speed NPI</a:t>
            </a:r>
          </a:p>
          <a:p>
            <a:pPr marL="344488" lvl="2" indent="-157163">
              <a:buSzPct val="90000"/>
              <a:buBlip>
                <a:blip r:embed="rId6"/>
              </a:buBlip>
            </a:pPr>
            <a:r>
              <a:rPr lang="en-US" sz="1400" dirty="0">
                <a:solidFill>
                  <a:srgbClr val="3D4647"/>
                </a:solidFill>
                <a:latin typeface="PTCRaleway" panose="020B0503030101060003" pitchFamily="34" charset="0"/>
              </a:rPr>
              <a:t>Reduce after-market service, warranty and repair cost</a:t>
            </a:r>
          </a:p>
          <a:p>
            <a:pPr marL="344488" lvl="2" indent="-157163">
              <a:buSzPct val="90000"/>
              <a:buBlip>
                <a:blip r:embed="rId6"/>
              </a:buBlip>
            </a:pPr>
            <a:r>
              <a:rPr lang="en-US" sz="1400" dirty="0">
                <a:solidFill>
                  <a:srgbClr val="3D4647"/>
                </a:solidFill>
                <a:latin typeface="PTCRaleway" panose="020B0503030101060003" pitchFamily="34" charset="0"/>
              </a:rPr>
              <a:t>Increase market share via increased quality, brand loyalty </a:t>
            </a:r>
            <a:br>
              <a:rPr lang="en-US" sz="1400" dirty="0">
                <a:solidFill>
                  <a:srgbClr val="3D4647"/>
                </a:solidFill>
                <a:latin typeface="PTCRaleway" panose="020B0503030101060003" pitchFamily="34" charset="0"/>
              </a:rPr>
            </a:br>
            <a:r>
              <a:rPr lang="en-US" sz="1400" dirty="0">
                <a:solidFill>
                  <a:srgbClr val="3D4647"/>
                </a:solidFill>
                <a:latin typeface="PTCRaleway" panose="020B0503030101060003" pitchFamily="34" charset="0"/>
              </a:rPr>
              <a:t>and competitive differentiation</a:t>
            </a:r>
          </a:p>
          <a:p>
            <a:pPr marL="169863" lvl="1" indent="-169863">
              <a:buClr>
                <a:schemeClr val="bg2"/>
              </a:buClr>
              <a:buFont typeface="Wingdings" panose="05000000000000000000" pitchFamily="2" charset="2"/>
              <a:buChar char="§"/>
            </a:pPr>
            <a:endParaRPr lang="en-US" sz="1400" dirty="0">
              <a:solidFill>
                <a:srgbClr val="3D4647"/>
              </a:solidFill>
              <a:latin typeface="PTCRaleway" panose="020B0503030101060003" pitchFamily="34" charset="0"/>
            </a:endParaRPr>
          </a:p>
        </p:txBody>
      </p:sp>
      <p:sp>
        <p:nvSpPr>
          <p:cNvPr id="16" name="Rectangle 15">
            <a:extLst>
              <a:ext uri="{FF2B5EF4-FFF2-40B4-BE49-F238E27FC236}">
                <a16:creationId xmlns:a16="http://schemas.microsoft.com/office/drawing/2014/main" id="{E299639A-D06D-48D2-895A-52A88D3A16DA}"/>
              </a:ext>
            </a:extLst>
          </p:cNvPr>
          <p:cNvSpPr/>
          <p:nvPr/>
        </p:nvSpPr>
        <p:spPr>
          <a:xfrm>
            <a:off x="476827" y="4684676"/>
            <a:ext cx="1510147" cy="591076"/>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lnSpc>
                <a:spcPct val="90000"/>
              </a:lnSpc>
              <a:spcBef>
                <a:spcPts val="800"/>
              </a:spcBef>
            </a:pPr>
            <a:r>
              <a:rPr lang="en-US" sz="1500" b="1">
                <a:solidFill>
                  <a:schemeClr val="tx1"/>
                </a:solidFill>
              </a:rPr>
              <a:t>Process Improvement</a:t>
            </a:r>
          </a:p>
        </p:txBody>
      </p:sp>
      <p:sp>
        <p:nvSpPr>
          <p:cNvPr id="17" name="Rectangle 16">
            <a:extLst>
              <a:ext uri="{FF2B5EF4-FFF2-40B4-BE49-F238E27FC236}">
                <a16:creationId xmlns:a16="http://schemas.microsoft.com/office/drawing/2014/main" id="{BDFD3054-8D53-4BD8-B2CA-B2964856F366}"/>
              </a:ext>
            </a:extLst>
          </p:cNvPr>
          <p:cNvSpPr/>
          <p:nvPr/>
        </p:nvSpPr>
        <p:spPr>
          <a:xfrm>
            <a:off x="2127682" y="4745636"/>
            <a:ext cx="6095997" cy="52322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spAutoFit/>
          </a:bodyPr>
          <a:lstStyle/>
          <a:p>
            <a:pPr marL="174625" lvl="1" indent="-174625">
              <a:buClr>
                <a:schemeClr val="bg2"/>
              </a:buClr>
              <a:buFont typeface="Wingdings" panose="05000000000000000000" pitchFamily="2" charset="2"/>
              <a:buChar char="§"/>
            </a:pPr>
            <a:r>
              <a:rPr lang="en-US" sz="1400" dirty="0">
                <a:solidFill>
                  <a:schemeClr val="tx1"/>
                </a:solidFill>
              </a:rPr>
              <a:t>Creo Simulation Live offers a new paradigm in 3D design exploration by putting real-time simulation in the hands of every engineer</a:t>
            </a:r>
          </a:p>
        </p:txBody>
      </p:sp>
      <p:sp>
        <p:nvSpPr>
          <p:cNvPr id="18" name="Rectangle 17">
            <a:extLst>
              <a:ext uri="{FF2B5EF4-FFF2-40B4-BE49-F238E27FC236}">
                <a16:creationId xmlns:a16="http://schemas.microsoft.com/office/drawing/2014/main" id="{A65F4217-3CBC-4906-8DA0-A4D3204608CA}"/>
              </a:ext>
            </a:extLst>
          </p:cNvPr>
          <p:cNvSpPr/>
          <p:nvPr/>
        </p:nvSpPr>
        <p:spPr>
          <a:xfrm>
            <a:off x="476827" y="5355126"/>
            <a:ext cx="1510147" cy="954657"/>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lnSpc>
                <a:spcPct val="90000"/>
              </a:lnSpc>
              <a:spcBef>
                <a:spcPts val="800"/>
              </a:spcBef>
            </a:pPr>
            <a:r>
              <a:rPr lang="en-US" sz="1500" b="1">
                <a:solidFill>
                  <a:schemeClr val="tx1"/>
                </a:solidFill>
              </a:rPr>
              <a:t>Technology/ Capability</a:t>
            </a:r>
          </a:p>
        </p:txBody>
      </p:sp>
      <p:sp>
        <p:nvSpPr>
          <p:cNvPr id="19" name="Rectangle 18">
            <a:extLst>
              <a:ext uri="{FF2B5EF4-FFF2-40B4-BE49-F238E27FC236}">
                <a16:creationId xmlns:a16="http://schemas.microsoft.com/office/drawing/2014/main" id="{BF2BB4F5-6BBE-4313-8093-E026F250E3B6}"/>
              </a:ext>
            </a:extLst>
          </p:cNvPr>
          <p:cNvSpPr/>
          <p:nvPr/>
        </p:nvSpPr>
        <p:spPr>
          <a:xfrm>
            <a:off x="2127682" y="5487206"/>
            <a:ext cx="5804362" cy="73866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spAutoFit/>
          </a:bodyPr>
          <a:lstStyle/>
          <a:p>
            <a:pPr marL="174625" lvl="1" indent="-174625">
              <a:buClr>
                <a:schemeClr val="bg2"/>
              </a:buClr>
              <a:buFont typeface="Wingdings" panose="05000000000000000000" pitchFamily="2" charset="2"/>
              <a:buChar char="§"/>
            </a:pPr>
            <a:r>
              <a:rPr lang="en-US" sz="1400" dirty="0">
                <a:solidFill>
                  <a:schemeClr val="tx1"/>
                </a:solidFill>
              </a:rPr>
              <a:t>Creo Simulation Live is the integration of ANSYS Discovery technology into Creo, enabling near instantaneous </a:t>
            </a:r>
            <a:br>
              <a:rPr lang="en-US" sz="1400" dirty="0">
                <a:solidFill>
                  <a:schemeClr val="tx1"/>
                </a:solidFill>
              </a:rPr>
            </a:br>
            <a:r>
              <a:rPr lang="en-US" sz="1400" b="1" dirty="0">
                <a:solidFill>
                  <a:schemeClr val="tx1"/>
                </a:solidFill>
              </a:rPr>
              <a:t>static structural, thermal and modal simulation </a:t>
            </a:r>
          </a:p>
        </p:txBody>
      </p:sp>
      <p:cxnSp>
        <p:nvCxnSpPr>
          <p:cNvPr id="20" name="Straight Connector 19">
            <a:extLst>
              <a:ext uri="{FF2B5EF4-FFF2-40B4-BE49-F238E27FC236}">
                <a16:creationId xmlns:a16="http://schemas.microsoft.com/office/drawing/2014/main" id="{6ECBE70D-27C8-4531-B31B-371F6F42C665}"/>
              </a:ext>
            </a:extLst>
          </p:cNvPr>
          <p:cNvCxnSpPr>
            <a:cxnSpLocks/>
          </p:cNvCxnSpPr>
          <p:nvPr/>
        </p:nvCxnSpPr>
        <p:spPr>
          <a:xfrm>
            <a:off x="2083959" y="2150806"/>
            <a:ext cx="0" cy="567826"/>
          </a:xfrm>
          <a:prstGeom prst="line">
            <a:avLst/>
          </a:prstGeom>
          <a:ln w="381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43F64D1E-1150-400E-9058-4DBD3A04E36C}"/>
              </a:ext>
            </a:extLst>
          </p:cNvPr>
          <p:cNvCxnSpPr>
            <a:cxnSpLocks/>
          </p:cNvCxnSpPr>
          <p:nvPr/>
        </p:nvCxnSpPr>
        <p:spPr>
          <a:xfrm>
            <a:off x="2083959" y="2798005"/>
            <a:ext cx="0" cy="1807298"/>
          </a:xfrm>
          <a:prstGeom prst="line">
            <a:avLst/>
          </a:prstGeom>
          <a:ln w="381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FCFA589E-FD4A-4228-8E60-59EE40B490B5}"/>
              </a:ext>
            </a:extLst>
          </p:cNvPr>
          <p:cNvCxnSpPr>
            <a:cxnSpLocks/>
          </p:cNvCxnSpPr>
          <p:nvPr/>
        </p:nvCxnSpPr>
        <p:spPr>
          <a:xfrm>
            <a:off x="2083959" y="4684674"/>
            <a:ext cx="0" cy="591076"/>
          </a:xfrm>
          <a:prstGeom prst="line">
            <a:avLst/>
          </a:prstGeom>
          <a:ln w="381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5FBC0CB8-23FC-4F43-B57D-7E3F28983CBA}"/>
              </a:ext>
            </a:extLst>
          </p:cNvPr>
          <p:cNvCxnSpPr>
            <a:cxnSpLocks/>
          </p:cNvCxnSpPr>
          <p:nvPr/>
        </p:nvCxnSpPr>
        <p:spPr>
          <a:xfrm>
            <a:off x="2083959" y="5355127"/>
            <a:ext cx="0" cy="954657"/>
          </a:xfrm>
          <a:prstGeom prst="line">
            <a:avLst/>
          </a:prstGeom>
          <a:ln w="38100">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974293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cap="none" dirty="0"/>
              <a:t>CREO SIMULATION LIVE ADVANCED EXTENSION</a:t>
            </a:r>
          </a:p>
        </p:txBody>
      </p:sp>
      <p:sp>
        <p:nvSpPr>
          <p:cNvPr id="6" name="Subtitle 5"/>
          <p:cNvSpPr>
            <a:spLocks noGrp="1"/>
          </p:cNvSpPr>
          <p:nvPr>
            <p:ph type="subTitle" idx="4294967295"/>
          </p:nvPr>
        </p:nvSpPr>
        <p:spPr>
          <a:xfrm>
            <a:off x="495300" y="1212087"/>
            <a:ext cx="10687777" cy="467076"/>
          </a:xfrm>
        </p:spPr>
        <p:txBody>
          <a:bodyPr vert="horz" lIns="0" tIns="0" rIns="0" bIns="0" rtlCol="0">
            <a:noAutofit/>
          </a:bodyPr>
          <a:lstStyle/>
          <a:p>
            <a:pPr marL="0" indent="0">
              <a:buNone/>
            </a:pPr>
            <a:r>
              <a:rPr lang="en-US" sz="2000" dirty="0"/>
              <a:t>Creo Simulation Live Advanced puts fast and easy fluid flow simulation in the hands of every engineer providing real time analysis feedback </a:t>
            </a:r>
          </a:p>
        </p:txBody>
      </p:sp>
      <p:pic>
        <p:nvPicPr>
          <p:cNvPr id="9" name="Picture 2" descr="D:\000 - CAD Sales Enablement\000 - FY16 CAD Core Plays\SmartHomeSystemIcon.png">
            <a:hlinkClick r:id="rId3" action="ppaction://hlinksldjump"/>
            <a:extLst>
              <a:ext uri="{FF2B5EF4-FFF2-40B4-BE49-F238E27FC236}">
                <a16:creationId xmlns:a16="http://schemas.microsoft.com/office/drawing/2014/main" id="{18104B31-8DD4-4248-9C46-38658EA94F6D}"/>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tretch>
            <a:fillRect/>
          </a:stretch>
        </p:blipFill>
        <p:spPr bwMode="auto">
          <a:xfrm>
            <a:off x="11287745" y="768126"/>
            <a:ext cx="594300" cy="594300"/>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12" name="Rectangle 11">
            <a:extLst>
              <a:ext uri="{FF2B5EF4-FFF2-40B4-BE49-F238E27FC236}">
                <a16:creationId xmlns:a16="http://schemas.microsoft.com/office/drawing/2014/main" id="{59E9E150-9F95-4C70-8444-AE13ED21524E}"/>
              </a:ext>
            </a:extLst>
          </p:cNvPr>
          <p:cNvSpPr/>
          <p:nvPr/>
        </p:nvSpPr>
        <p:spPr>
          <a:xfrm>
            <a:off x="490760" y="2120596"/>
            <a:ext cx="1510147" cy="567826"/>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r" defTabSz="1086775" rtl="0" eaLnBrk="1" fontAlgn="auto" latinLnBrk="0" hangingPunct="1">
              <a:lnSpc>
                <a:spcPct val="90000"/>
              </a:lnSpc>
              <a:spcBef>
                <a:spcPts val="800"/>
              </a:spcBef>
              <a:spcAft>
                <a:spcPts val="0"/>
              </a:spcAft>
              <a:buClrTx/>
              <a:buSzTx/>
              <a:buFontTx/>
              <a:buNone/>
              <a:tabLst/>
              <a:defRPr/>
            </a:pPr>
            <a:r>
              <a:rPr kumimoji="0" lang="en-US" sz="1500" b="1"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rPr>
              <a:t>Who Needs It?</a:t>
            </a:r>
          </a:p>
        </p:txBody>
      </p:sp>
      <p:sp>
        <p:nvSpPr>
          <p:cNvPr id="13" name="Rectangle 12">
            <a:extLst>
              <a:ext uri="{FF2B5EF4-FFF2-40B4-BE49-F238E27FC236}">
                <a16:creationId xmlns:a16="http://schemas.microsoft.com/office/drawing/2014/main" id="{B431345D-4ACB-4F7F-AC85-B1A8E38BB4B1}"/>
              </a:ext>
            </a:extLst>
          </p:cNvPr>
          <p:cNvSpPr/>
          <p:nvPr/>
        </p:nvSpPr>
        <p:spPr>
          <a:xfrm>
            <a:off x="2141615" y="2120596"/>
            <a:ext cx="5986386" cy="56782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1086775"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rPr>
              <a:t>Every design engineer that is focused on designing and developing high quality and high-performance innovative products </a:t>
            </a:r>
          </a:p>
        </p:txBody>
      </p:sp>
      <p:sp>
        <p:nvSpPr>
          <p:cNvPr id="14" name="Rectangle 13">
            <a:extLst>
              <a:ext uri="{FF2B5EF4-FFF2-40B4-BE49-F238E27FC236}">
                <a16:creationId xmlns:a16="http://schemas.microsoft.com/office/drawing/2014/main" id="{D9911210-221E-4F49-965C-5D83ACFFE8ED}"/>
              </a:ext>
            </a:extLst>
          </p:cNvPr>
          <p:cNvSpPr/>
          <p:nvPr/>
        </p:nvSpPr>
        <p:spPr>
          <a:xfrm>
            <a:off x="490760" y="2767796"/>
            <a:ext cx="1510147" cy="1964312"/>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r" defTabSz="1086775" rtl="0" eaLnBrk="1" fontAlgn="auto" latinLnBrk="0" hangingPunct="1">
              <a:lnSpc>
                <a:spcPct val="90000"/>
              </a:lnSpc>
              <a:spcBef>
                <a:spcPts val="800"/>
              </a:spcBef>
              <a:spcAft>
                <a:spcPts val="0"/>
              </a:spcAft>
              <a:buClrTx/>
              <a:buSzTx/>
              <a:buFontTx/>
              <a:buNone/>
              <a:tabLst/>
              <a:defRPr/>
            </a:pPr>
            <a:r>
              <a:rPr kumimoji="0" lang="en-US" sz="1500" b="1"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rPr>
              <a:t>Business Value</a:t>
            </a:r>
          </a:p>
        </p:txBody>
      </p:sp>
      <p:sp>
        <p:nvSpPr>
          <p:cNvPr id="15" name="Rectangle 14">
            <a:extLst>
              <a:ext uri="{FF2B5EF4-FFF2-40B4-BE49-F238E27FC236}">
                <a16:creationId xmlns:a16="http://schemas.microsoft.com/office/drawing/2014/main" id="{5779199E-3EA8-4331-817C-02A974BABD1D}"/>
              </a:ext>
            </a:extLst>
          </p:cNvPr>
          <p:cNvSpPr/>
          <p:nvPr/>
        </p:nvSpPr>
        <p:spPr>
          <a:xfrm>
            <a:off x="2141616" y="2767796"/>
            <a:ext cx="5876110" cy="18072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169863" lvl="1" indent="-169863">
              <a:buClr>
                <a:schemeClr val="bg2"/>
              </a:buClr>
              <a:buFont typeface="Wingdings" panose="05000000000000000000" pitchFamily="2" charset="2"/>
              <a:buChar char="§"/>
            </a:pPr>
            <a:r>
              <a:rPr lang="en-US" sz="1400" dirty="0">
                <a:solidFill>
                  <a:srgbClr val="3D4647"/>
                </a:solidFill>
                <a:latin typeface="PTCRaleway" panose="020B0503030101060003" pitchFamily="34" charset="0"/>
              </a:rPr>
              <a:t>Use real time analysis data to support and guide design decisions and critical values</a:t>
            </a:r>
          </a:p>
          <a:p>
            <a:pPr marL="344488" lvl="2" indent="-157163">
              <a:buSzPct val="90000"/>
              <a:buBlip>
                <a:blip r:embed="rId5"/>
              </a:buBlip>
            </a:pPr>
            <a:r>
              <a:rPr lang="en-US" sz="1400" dirty="0">
                <a:solidFill>
                  <a:srgbClr val="3D4647"/>
                </a:solidFill>
                <a:latin typeface="PTCRaleway" panose="020B0503030101060003" pitchFamily="34" charset="0"/>
              </a:rPr>
              <a:t>Streamline product development and speed time-to-market </a:t>
            </a:r>
          </a:p>
          <a:p>
            <a:pPr marL="344488" lvl="2" indent="-157163">
              <a:buSzPct val="90000"/>
              <a:buBlip>
                <a:blip r:embed="rId5"/>
              </a:buBlip>
            </a:pPr>
            <a:r>
              <a:rPr lang="en-US" sz="1400" dirty="0">
                <a:solidFill>
                  <a:srgbClr val="3D4647"/>
                </a:solidFill>
                <a:latin typeface="PTCRaleway" panose="020B0503030101060003" pitchFamily="34" charset="0"/>
              </a:rPr>
              <a:t>Reduce product development cost </a:t>
            </a:r>
            <a:br>
              <a:rPr lang="en-US" sz="1400" dirty="0">
                <a:solidFill>
                  <a:srgbClr val="3D4647"/>
                </a:solidFill>
                <a:latin typeface="PTCRaleway" panose="020B0503030101060003" pitchFamily="34" charset="0"/>
              </a:rPr>
            </a:br>
            <a:r>
              <a:rPr lang="en-US" sz="1400" dirty="0">
                <a:solidFill>
                  <a:srgbClr val="3D4647"/>
                </a:solidFill>
                <a:latin typeface="PTCRaleway" panose="020B0503030101060003" pitchFamily="34" charset="0"/>
              </a:rPr>
              <a:t>(e.g., prototypes, rework, scrap)</a:t>
            </a:r>
          </a:p>
          <a:p>
            <a:pPr marL="344488" lvl="2" indent="-157163">
              <a:buSzPct val="90000"/>
              <a:buBlip>
                <a:blip r:embed="rId5"/>
              </a:buBlip>
            </a:pPr>
            <a:r>
              <a:rPr lang="en-US" sz="1400" dirty="0">
                <a:solidFill>
                  <a:srgbClr val="3D4647"/>
                </a:solidFill>
                <a:latin typeface="PTCRaleway" panose="020B0503030101060003" pitchFamily="34" charset="0"/>
              </a:rPr>
              <a:t>Reduce design cycles and speed NPI</a:t>
            </a:r>
          </a:p>
          <a:p>
            <a:pPr marL="344488" lvl="2" indent="-157163">
              <a:buSzPct val="90000"/>
              <a:buBlip>
                <a:blip r:embed="rId5"/>
              </a:buBlip>
            </a:pPr>
            <a:r>
              <a:rPr lang="en-US" sz="1400" dirty="0">
                <a:solidFill>
                  <a:srgbClr val="3D4647"/>
                </a:solidFill>
                <a:latin typeface="PTCRaleway" panose="020B0503030101060003" pitchFamily="34" charset="0"/>
              </a:rPr>
              <a:t>Reduce after-market service, warranty and repair cost</a:t>
            </a:r>
          </a:p>
          <a:p>
            <a:pPr marL="344488" lvl="2" indent="-157163">
              <a:buSzPct val="90000"/>
              <a:buBlip>
                <a:blip r:embed="rId5"/>
              </a:buBlip>
            </a:pPr>
            <a:r>
              <a:rPr lang="en-US" sz="1400" dirty="0">
                <a:solidFill>
                  <a:srgbClr val="3D4647"/>
                </a:solidFill>
                <a:latin typeface="PTCRaleway" panose="020B0503030101060003" pitchFamily="34" charset="0"/>
              </a:rPr>
              <a:t>Increase market share via increased quality, brand loyalty </a:t>
            </a:r>
            <a:br>
              <a:rPr lang="en-US" sz="1400" dirty="0">
                <a:solidFill>
                  <a:srgbClr val="3D4647"/>
                </a:solidFill>
                <a:latin typeface="PTCRaleway" panose="020B0503030101060003" pitchFamily="34" charset="0"/>
              </a:rPr>
            </a:br>
            <a:r>
              <a:rPr lang="en-US" sz="1400" dirty="0">
                <a:solidFill>
                  <a:srgbClr val="3D4647"/>
                </a:solidFill>
                <a:latin typeface="PTCRaleway" panose="020B0503030101060003" pitchFamily="34" charset="0"/>
              </a:rPr>
              <a:t>and competitive differentiation</a:t>
            </a:r>
          </a:p>
          <a:p>
            <a:pPr marL="169863" lvl="1" indent="-169863">
              <a:buClr>
                <a:schemeClr val="bg2"/>
              </a:buClr>
              <a:buFont typeface="Wingdings" panose="05000000000000000000" pitchFamily="2" charset="2"/>
              <a:buChar char="§"/>
            </a:pPr>
            <a:endParaRPr lang="en-US" sz="1400" dirty="0">
              <a:solidFill>
                <a:srgbClr val="3D4647"/>
              </a:solidFill>
              <a:latin typeface="PTCRaleway" panose="020B0503030101060003" pitchFamily="34" charset="0"/>
            </a:endParaRPr>
          </a:p>
        </p:txBody>
      </p:sp>
      <p:sp>
        <p:nvSpPr>
          <p:cNvPr id="16" name="Rectangle 15">
            <a:extLst>
              <a:ext uri="{FF2B5EF4-FFF2-40B4-BE49-F238E27FC236}">
                <a16:creationId xmlns:a16="http://schemas.microsoft.com/office/drawing/2014/main" id="{E299639A-D06D-48D2-895A-52A88D3A16DA}"/>
              </a:ext>
            </a:extLst>
          </p:cNvPr>
          <p:cNvSpPr/>
          <p:nvPr/>
        </p:nvSpPr>
        <p:spPr>
          <a:xfrm>
            <a:off x="490760" y="4811482"/>
            <a:ext cx="1510147" cy="591076"/>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r" defTabSz="1086775" rtl="0" eaLnBrk="1" fontAlgn="auto" latinLnBrk="0" hangingPunct="1">
              <a:lnSpc>
                <a:spcPct val="90000"/>
              </a:lnSpc>
              <a:spcBef>
                <a:spcPts val="800"/>
              </a:spcBef>
              <a:spcAft>
                <a:spcPts val="0"/>
              </a:spcAft>
              <a:buClrTx/>
              <a:buSzTx/>
              <a:buFontTx/>
              <a:buNone/>
              <a:tabLst/>
              <a:defRPr/>
            </a:pPr>
            <a:r>
              <a:rPr kumimoji="0" lang="en-US" sz="1500" b="1"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rPr>
              <a:t>Process Improvement</a:t>
            </a:r>
          </a:p>
        </p:txBody>
      </p:sp>
      <p:sp>
        <p:nvSpPr>
          <p:cNvPr id="17" name="Rectangle 16">
            <a:extLst>
              <a:ext uri="{FF2B5EF4-FFF2-40B4-BE49-F238E27FC236}">
                <a16:creationId xmlns:a16="http://schemas.microsoft.com/office/drawing/2014/main" id="{BDFD3054-8D53-4BD8-B2CA-B2964856F366}"/>
              </a:ext>
            </a:extLst>
          </p:cNvPr>
          <p:cNvSpPr/>
          <p:nvPr/>
        </p:nvSpPr>
        <p:spPr>
          <a:xfrm>
            <a:off x="2141615" y="4811482"/>
            <a:ext cx="4647272" cy="95410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spAutoFit/>
          </a:bodyPr>
          <a:lstStyle/>
          <a:p>
            <a:pPr marL="174625" lvl="1" indent="-174625">
              <a:buClr>
                <a:schemeClr val="bg2"/>
              </a:buClr>
              <a:buFont typeface="Wingdings" panose="05000000000000000000" pitchFamily="2" charset="2"/>
              <a:buChar char="§"/>
            </a:pPr>
            <a:r>
              <a:rPr lang="en-US" sz="1400" dirty="0">
                <a:solidFill>
                  <a:schemeClr val="tx1"/>
                </a:solidFill>
              </a:rPr>
              <a:t>Creo Simulation Live Advanced offers a new paradigm in 3D design exploration by putting real-time fluid flow simulation in the hands of every engineer</a:t>
            </a:r>
          </a:p>
        </p:txBody>
      </p:sp>
      <p:sp>
        <p:nvSpPr>
          <p:cNvPr id="18" name="Rectangle 17">
            <a:extLst>
              <a:ext uri="{FF2B5EF4-FFF2-40B4-BE49-F238E27FC236}">
                <a16:creationId xmlns:a16="http://schemas.microsoft.com/office/drawing/2014/main" id="{A65F4217-3CBC-4906-8DA0-A4D3204608CA}"/>
              </a:ext>
            </a:extLst>
          </p:cNvPr>
          <p:cNvSpPr/>
          <p:nvPr/>
        </p:nvSpPr>
        <p:spPr>
          <a:xfrm>
            <a:off x="490760" y="5481932"/>
            <a:ext cx="1510147" cy="954657"/>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r" defTabSz="1086775" rtl="0" eaLnBrk="1" fontAlgn="auto" latinLnBrk="0" hangingPunct="1">
              <a:lnSpc>
                <a:spcPct val="90000"/>
              </a:lnSpc>
              <a:spcBef>
                <a:spcPts val="800"/>
              </a:spcBef>
              <a:spcAft>
                <a:spcPts val="0"/>
              </a:spcAft>
              <a:buClrTx/>
              <a:buSzTx/>
              <a:buFontTx/>
              <a:buNone/>
              <a:tabLst/>
              <a:defRPr/>
            </a:pPr>
            <a:r>
              <a:rPr kumimoji="0" lang="en-US" sz="1500" b="1" i="0" u="none" strike="noStrike" kern="1200" cap="none" spc="0" normalizeH="0" baseline="0" noProof="0" dirty="0">
                <a:ln>
                  <a:noFill/>
                </a:ln>
                <a:solidFill>
                  <a:srgbClr val="3D4647"/>
                </a:solidFill>
                <a:effectLst/>
                <a:uLnTx/>
                <a:uFillTx/>
                <a:latin typeface="PTCRaleway" panose="020B0503030101060003" pitchFamily="34" charset="0"/>
                <a:ea typeface="+mn-ea"/>
                <a:cs typeface="+mn-cs"/>
              </a:rPr>
              <a:t>Technology/ Capability</a:t>
            </a:r>
          </a:p>
        </p:txBody>
      </p:sp>
      <p:sp>
        <p:nvSpPr>
          <p:cNvPr id="19" name="Rectangle 18">
            <a:extLst>
              <a:ext uri="{FF2B5EF4-FFF2-40B4-BE49-F238E27FC236}">
                <a16:creationId xmlns:a16="http://schemas.microsoft.com/office/drawing/2014/main" id="{BF2BB4F5-6BBE-4313-8093-E026F250E3B6}"/>
              </a:ext>
            </a:extLst>
          </p:cNvPr>
          <p:cNvSpPr/>
          <p:nvPr/>
        </p:nvSpPr>
        <p:spPr>
          <a:xfrm>
            <a:off x="2141615" y="5654652"/>
            <a:ext cx="5210528" cy="73866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chorCtr="0">
            <a:spAutoFit/>
          </a:bodyPr>
          <a:lstStyle/>
          <a:p>
            <a:pPr marL="174625" lvl="1" indent="-174625">
              <a:buClr>
                <a:schemeClr val="bg2"/>
              </a:buClr>
              <a:buFont typeface="Wingdings" panose="05000000000000000000" pitchFamily="2" charset="2"/>
              <a:buChar char="§"/>
            </a:pPr>
            <a:r>
              <a:rPr lang="en-US" sz="1400" dirty="0">
                <a:solidFill>
                  <a:schemeClr val="tx1"/>
                </a:solidFill>
              </a:rPr>
              <a:t>Creo Simulation Live Advanced is the integration of ANSYS Discovery technology into Creo, enabling near instantaneous </a:t>
            </a:r>
            <a:r>
              <a:rPr lang="en-US" sz="1400" b="1" dirty="0">
                <a:solidFill>
                  <a:schemeClr val="tx1"/>
                </a:solidFill>
              </a:rPr>
              <a:t>fluid flow simulation</a:t>
            </a:r>
          </a:p>
        </p:txBody>
      </p:sp>
      <p:cxnSp>
        <p:nvCxnSpPr>
          <p:cNvPr id="20" name="Straight Connector 19">
            <a:extLst>
              <a:ext uri="{FF2B5EF4-FFF2-40B4-BE49-F238E27FC236}">
                <a16:creationId xmlns:a16="http://schemas.microsoft.com/office/drawing/2014/main" id="{6ECBE70D-27C8-4531-B31B-371F6F42C665}"/>
              </a:ext>
            </a:extLst>
          </p:cNvPr>
          <p:cNvCxnSpPr>
            <a:cxnSpLocks/>
          </p:cNvCxnSpPr>
          <p:nvPr/>
        </p:nvCxnSpPr>
        <p:spPr>
          <a:xfrm>
            <a:off x="2097892" y="2120596"/>
            <a:ext cx="0" cy="567826"/>
          </a:xfrm>
          <a:prstGeom prst="line">
            <a:avLst/>
          </a:prstGeom>
          <a:ln w="381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43F64D1E-1150-400E-9058-4DBD3A04E36C}"/>
              </a:ext>
            </a:extLst>
          </p:cNvPr>
          <p:cNvCxnSpPr>
            <a:cxnSpLocks/>
          </p:cNvCxnSpPr>
          <p:nvPr/>
        </p:nvCxnSpPr>
        <p:spPr>
          <a:xfrm>
            <a:off x="2097892" y="2767795"/>
            <a:ext cx="0" cy="1965960"/>
          </a:xfrm>
          <a:prstGeom prst="line">
            <a:avLst/>
          </a:prstGeom>
          <a:ln w="381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FCFA589E-FD4A-4228-8E60-59EE40B490B5}"/>
              </a:ext>
            </a:extLst>
          </p:cNvPr>
          <p:cNvCxnSpPr>
            <a:cxnSpLocks/>
          </p:cNvCxnSpPr>
          <p:nvPr/>
        </p:nvCxnSpPr>
        <p:spPr>
          <a:xfrm>
            <a:off x="2097892" y="4820716"/>
            <a:ext cx="0" cy="591076"/>
          </a:xfrm>
          <a:prstGeom prst="line">
            <a:avLst/>
          </a:prstGeom>
          <a:ln w="381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5FBC0CB8-23FC-4F43-B57D-7E3F28983CBA}"/>
              </a:ext>
            </a:extLst>
          </p:cNvPr>
          <p:cNvCxnSpPr>
            <a:cxnSpLocks/>
          </p:cNvCxnSpPr>
          <p:nvPr/>
        </p:nvCxnSpPr>
        <p:spPr>
          <a:xfrm>
            <a:off x="2097892" y="5481933"/>
            <a:ext cx="0" cy="954657"/>
          </a:xfrm>
          <a:prstGeom prst="line">
            <a:avLst/>
          </a:prstGeom>
          <a:ln w="38100">
            <a:solidFill>
              <a:schemeClr val="bg2"/>
            </a:solidFill>
          </a:ln>
        </p:spPr>
        <p:style>
          <a:lnRef idx="1">
            <a:schemeClr val="accent1"/>
          </a:lnRef>
          <a:fillRef idx="0">
            <a:schemeClr val="accent1"/>
          </a:fillRef>
          <a:effectRef idx="0">
            <a:schemeClr val="accent1"/>
          </a:effectRef>
          <a:fontRef idx="minor">
            <a:schemeClr val="tx1"/>
          </a:fontRef>
        </p:style>
      </p:cxnSp>
      <p:pic>
        <p:nvPicPr>
          <p:cNvPr id="25" name="Picture 24">
            <a:extLst>
              <a:ext uri="{FF2B5EF4-FFF2-40B4-BE49-F238E27FC236}">
                <a16:creationId xmlns:a16="http://schemas.microsoft.com/office/drawing/2014/main" id="{67855199-ECDE-411B-BC67-8775679F27E1}"/>
              </a:ext>
            </a:extLst>
          </p:cNvPr>
          <p:cNvPicPr>
            <a:picLocks noChangeAspect="1"/>
          </p:cNvPicPr>
          <p:nvPr/>
        </p:nvPicPr>
        <p:blipFill>
          <a:blip r:embed="rId6">
            <a:clrChange>
              <a:clrFrom>
                <a:srgbClr val="FFFFFF"/>
              </a:clrFrom>
              <a:clrTo>
                <a:srgbClr val="FFFFFF">
                  <a:alpha val="0"/>
                </a:srgbClr>
              </a:clrTo>
            </a:clrChange>
          </a:blip>
          <a:stretch>
            <a:fillRect/>
          </a:stretch>
        </p:blipFill>
        <p:spPr>
          <a:xfrm>
            <a:off x="9901410" y="3671445"/>
            <a:ext cx="2266941" cy="2216913"/>
          </a:xfrm>
          <a:prstGeom prst="rect">
            <a:avLst/>
          </a:prstGeom>
        </p:spPr>
      </p:pic>
      <p:pic>
        <p:nvPicPr>
          <p:cNvPr id="26" name="Picture 25">
            <a:extLst>
              <a:ext uri="{FF2B5EF4-FFF2-40B4-BE49-F238E27FC236}">
                <a16:creationId xmlns:a16="http://schemas.microsoft.com/office/drawing/2014/main" id="{42B591F1-A686-4DC9-9787-B25FEC953005}"/>
              </a:ext>
            </a:extLst>
          </p:cNvPr>
          <p:cNvPicPr>
            <a:picLocks noChangeAspect="1"/>
          </p:cNvPicPr>
          <p:nvPr/>
        </p:nvPicPr>
        <p:blipFill rotWithShape="1">
          <a:blip r:embed="rId7">
            <a:clrChange>
              <a:clrFrom>
                <a:srgbClr val="FFFFFF"/>
              </a:clrFrom>
              <a:clrTo>
                <a:srgbClr val="FFFFFF">
                  <a:alpha val="0"/>
                </a:srgbClr>
              </a:clrTo>
            </a:clrChange>
          </a:blip>
          <a:srcRect l="22869" t="23323" r="4405" b="6749"/>
          <a:stretch/>
        </p:blipFill>
        <p:spPr>
          <a:xfrm>
            <a:off x="7139922" y="4240221"/>
            <a:ext cx="2664502" cy="1919641"/>
          </a:xfrm>
          <a:prstGeom prst="rect">
            <a:avLst/>
          </a:prstGeom>
        </p:spPr>
      </p:pic>
      <p:pic>
        <p:nvPicPr>
          <p:cNvPr id="27" name="Picture 26">
            <a:extLst>
              <a:ext uri="{FF2B5EF4-FFF2-40B4-BE49-F238E27FC236}">
                <a16:creationId xmlns:a16="http://schemas.microsoft.com/office/drawing/2014/main" id="{84647F2A-5D07-40F0-88B1-3BC082073E55}"/>
              </a:ext>
            </a:extLst>
          </p:cNvPr>
          <p:cNvPicPr>
            <a:picLocks noChangeAspect="1"/>
          </p:cNvPicPr>
          <p:nvPr/>
        </p:nvPicPr>
        <p:blipFill>
          <a:blip r:embed="rId8">
            <a:clrChange>
              <a:clrFrom>
                <a:srgbClr val="FFFFFF"/>
              </a:clrFrom>
              <a:clrTo>
                <a:srgbClr val="FFFFFF">
                  <a:alpha val="0"/>
                </a:srgbClr>
              </a:clrTo>
            </a:clrChange>
          </a:blip>
          <a:stretch>
            <a:fillRect/>
          </a:stretch>
        </p:blipFill>
        <p:spPr>
          <a:xfrm>
            <a:off x="7847471" y="1860136"/>
            <a:ext cx="4107878" cy="2435827"/>
          </a:xfrm>
          <a:prstGeom prst="rect">
            <a:avLst/>
          </a:prstGeom>
        </p:spPr>
      </p:pic>
    </p:spTree>
    <p:extLst>
      <p:ext uri="{BB962C8B-B14F-4D97-AF65-F5344CB8AC3E}">
        <p14:creationId xmlns:p14="http://schemas.microsoft.com/office/powerpoint/2010/main" val="41333739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Ev32lStPzbKjeVqUbCWny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5XfE9v86RQrOvrodLv8C5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LIV2maKZdWQUudon1RGby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Fru.CyTn6V_fFpJ2tEORc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Ev32lStPzbKjeVqUbCWny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5XfE9v86RQrOvrodLv8C5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LIV2maKZdWQUudon1RGby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Fru.CyTn6V_fFpJ2tEORc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_rels/theme1.xml.rels><?xml version="1.0" encoding="UTF-8" standalone="yes"?>
<Relationships xmlns="http://schemas.openxmlformats.org/package/2006/relationships"><Relationship Id="rId2" Type="http://schemas.openxmlformats.org/officeDocument/2006/relationships/image" Target="../media/image2.svg"/><Relationship Id="rId1" Type="http://schemas.openxmlformats.org/officeDocument/2006/relationships/image" Target="../media/image1.png"/></Relationships>
</file>

<file path=ppt/theme/_rels/theme2.xml.rels><?xml version="1.0" encoding="UTF-8" standalone="yes"?>
<Relationships xmlns="http://schemas.openxmlformats.org/package/2006/relationships"><Relationship Id="rId2" Type="http://schemas.openxmlformats.org/officeDocument/2006/relationships/image" Target="../media/image2.svg"/><Relationship Id="rId1" Type="http://schemas.openxmlformats.org/officeDocument/2006/relationships/image" Target="../media/image1.png"/></Relationships>
</file>

<file path=ppt/theme/theme1.xml><?xml version="1.0" encoding="utf-8"?>
<a:theme xmlns:a="http://schemas.openxmlformats.org/drawingml/2006/main" name="PTC PowerPoint Template">
  <a:themeElements>
    <a:clrScheme name="PTC PPT FY22">
      <a:dk1>
        <a:srgbClr val="4D585A"/>
      </a:dk1>
      <a:lt1>
        <a:srgbClr val="FFFFFF"/>
      </a:lt1>
      <a:dk2>
        <a:srgbClr val="C8C9C7"/>
      </a:dk2>
      <a:lt2>
        <a:srgbClr val="6CC04A"/>
      </a:lt2>
      <a:accent1>
        <a:srgbClr val="00890B"/>
      </a:accent1>
      <a:accent2>
        <a:srgbClr val="617480"/>
      </a:accent2>
      <a:accent3>
        <a:srgbClr val="26481F"/>
      </a:accent3>
      <a:accent4>
        <a:srgbClr val="2F97FF"/>
      </a:accent4>
      <a:accent5>
        <a:srgbClr val="EB6D00"/>
      </a:accent5>
      <a:accent6>
        <a:srgbClr val="1D496E"/>
      </a:accent6>
      <a:hlink>
        <a:srgbClr val="2F97FF"/>
      </a:hlink>
      <a:folHlink>
        <a:srgbClr val="2F97FF"/>
      </a:folHlink>
    </a:clrScheme>
    <a:fontScheme name="PTC Newsletter">
      <a:majorFont>
        <a:latin typeface="PTCRaleway"/>
        <a:ea typeface=""/>
        <a:cs typeface=""/>
      </a:majorFont>
      <a:minorFont>
        <a:latin typeface="PTCRaleway"/>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4D585A"/>
        </a:solidFill>
        <a:ln w="28575">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l">
          <a:lnSpc>
            <a:spcPct val="90000"/>
          </a:lnSpc>
          <a:spcBef>
            <a:spcPts val="800"/>
          </a:spcBef>
          <a:defRPr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ln>
          <a:noFill/>
        </a:ln>
      </a:spPr>
      <a:bodyPr vert="horz" wrap="none" lIns="0" tIns="0" rIns="0" bIns="0" rtlCol="0">
        <a:spAutoFit/>
      </a:bodyPr>
      <a:lstStyle>
        <a:defPPr marL="274320" indent="-274320" algn="l">
          <a:lnSpc>
            <a:spcPct val="90000"/>
          </a:lnSpc>
          <a:spcBef>
            <a:spcPts val="800"/>
          </a:spcBef>
          <a:buBlip>
            <a:blip xmlns:r="http://schemas.openxmlformats.org/officeDocument/2006/relationships" r:embed="rId1">
              <a:extLst>
                <a:ext uri="{96DAC541-7B7A-43D3-8B79-37D633B846F1}">
                  <asvg:svgBlip xmlns:asvg="http://schemas.microsoft.com/office/drawing/2016/SVG/main" r:embed="rId2"/>
                </a:ext>
              </a:extLst>
            </a:blip>
          </a:buBlip>
          <a:defRPr dirty="0" smtClean="0"/>
        </a:defPPr>
      </a:lstStyle>
    </a:txDef>
  </a:objectDefaults>
  <a:extraClrSchemeLst/>
  <a:extLst>
    <a:ext uri="{05A4C25C-085E-4340-85A3-A5531E510DB2}">
      <thm15:themeFamily xmlns:thm15="http://schemas.microsoft.com/office/thememl/2012/main" name="PTC Corporate Template FY22.pptx" id="{61E092C9-F2AD-4020-B6A9-73E161A0A678}" vid="{7658606F-0CA7-4533-80D0-41CF0D1EE645}"/>
    </a:ext>
  </a:extLst>
</a:theme>
</file>

<file path=ppt/theme/theme2.xml><?xml version="1.0" encoding="utf-8"?>
<a:theme xmlns:a="http://schemas.openxmlformats.org/drawingml/2006/main" name="1_PTC PowerPoint Template">
  <a:themeElements>
    <a:clrScheme name="PTC PPT FY22">
      <a:dk1>
        <a:srgbClr val="4D585A"/>
      </a:dk1>
      <a:lt1>
        <a:srgbClr val="FFFFFF"/>
      </a:lt1>
      <a:dk2>
        <a:srgbClr val="C8C9C7"/>
      </a:dk2>
      <a:lt2>
        <a:srgbClr val="6CC04A"/>
      </a:lt2>
      <a:accent1>
        <a:srgbClr val="00890B"/>
      </a:accent1>
      <a:accent2>
        <a:srgbClr val="617480"/>
      </a:accent2>
      <a:accent3>
        <a:srgbClr val="26481F"/>
      </a:accent3>
      <a:accent4>
        <a:srgbClr val="2F97FF"/>
      </a:accent4>
      <a:accent5>
        <a:srgbClr val="EB6D00"/>
      </a:accent5>
      <a:accent6>
        <a:srgbClr val="1D496E"/>
      </a:accent6>
      <a:hlink>
        <a:srgbClr val="2F97FF"/>
      </a:hlink>
      <a:folHlink>
        <a:srgbClr val="2F97FF"/>
      </a:folHlink>
    </a:clrScheme>
    <a:fontScheme name="PTC Newsletter">
      <a:majorFont>
        <a:latin typeface="PTCRaleway"/>
        <a:ea typeface=""/>
        <a:cs typeface=""/>
      </a:majorFont>
      <a:minorFont>
        <a:latin typeface="PTCRaleway"/>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4D585A"/>
        </a:solidFill>
        <a:ln w="28575">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l">
          <a:lnSpc>
            <a:spcPct val="90000"/>
          </a:lnSpc>
          <a:spcBef>
            <a:spcPts val="800"/>
          </a:spcBef>
          <a:defRPr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ln>
          <a:noFill/>
        </a:ln>
      </a:spPr>
      <a:bodyPr vert="horz" wrap="none" lIns="0" tIns="0" rIns="0" bIns="0" rtlCol="0">
        <a:spAutoFit/>
      </a:bodyPr>
      <a:lstStyle>
        <a:defPPr marL="274320" indent="-274320" algn="l">
          <a:lnSpc>
            <a:spcPct val="90000"/>
          </a:lnSpc>
          <a:spcBef>
            <a:spcPts val="800"/>
          </a:spcBef>
          <a:buBlip>
            <a:blip xmlns:r="http://schemas.openxmlformats.org/officeDocument/2006/relationships" r:embed="rId1">
              <a:extLst>
                <a:ext uri="{96DAC541-7B7A-43D3-8B79-37D633B846F1}">
                  <asvg:svgBlip xmlns:asvg="http://schemas.microsoft.com/office/drawing/2016/SVG/main" r:embed="rId2"/>
                </a:ext>
              </a:extLst>
            </a:blip>
          </a:buBlip>
          <a:defRPr dirty="0" smtClean="0"/>
        </a:defPPr>
      </a:lstStyle>
    </a:txDef>
  </a:objectDefaults>
  <a:extraClrSchemeLst/>
  <a:extLst>
    <a:ext uri="{05A4C25C-085E-4340-85A3-A5531E510DB2}">
      <thm15:themeFamily xmlns:thm15="http://schemas.microsoft.com/office/thememl/2012/main" name="PTC Corporate Template FY22.pptx" id="{6FEB95A9-8402-45D3-8C19-F223C6D6EA2F}" vid="{17A1DA04-7A97-47C6-9762-348D0405999B}"/>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A53CC3168B6C2D4D99959A344254B259" ma:contentTypeVersion="12" ma:contentTypeDescription="Create a new document." ma:contentTypeScope="" ma:versionID="e468f9b7da3db852f22f87de9fae82bf">
  <xsd:schema xmlns:xsd="http://www.w3.org/2001/XMLSchema" xmlns:xs="http://www.w3.org/2001/XMLSchema" xmlns:p="http://schemas.microsoft.com/office/2006/metadata/properties" xmlns:ns2="06caee19-00b5-48df-bf01-7741a1496c06" xmlns:ns3="7dafaee0-0f14-4d71-9768-8f6113da2e1a" targetNamespace="http://schemas.microsoft.com/office/2006/metadata/properties" ma:root="true" ma:fieldsID="2297e68328c0963e3d6f41ac4bb00918" ns2:_="" ns3:_="">
    <xsd:import namespace="06caee19-00b5-48df-bf01-7741a1496c06"/>
    <xsd:import namespace="7dafaee0-0f14-4d71-9768-8f6113da2e1a"/>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AutoKeyPoints" minOccurs="0"/>
                <xsd:element ref="ns2:MediaServiceKeyPoints" minOccurs="0"/>
                <xsd:element ref="ns2:MediaServiceDateTaken" minOccurs="0"/>
                <xsd:element ref="ns2:MediaServiceAutoTags" minOccurs="0"/>
                <xsd:element ref="ns2:MediaServiceOCR" minOccurs="0"/>
                <xsd:element ref="ns2:MediaServiceGenerationTime" minOccurs="0"/>
                <xsd:element ref="ns2:MediaServiceEventHashCode"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6caee19-00b5-48df-bf01-7741a1496c06"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DateTaken" ma:index="14" nillable="true" ma:displayName="MediaServiceDateTaken" ma:hidden="true" ma:internalName="MediaServiceDateTaken" ma:readOnly="true">
      <xsd:simpleType>
        <xsd:restriction base="dms:Text"/>
      </xsd:simpleType>
    </xsd:element>
    <xsd:element name="MediaServiceAutoTags" ma:index="15" nillable="true" ma:displayName="Tags" ma:internalName="MediaServiceAutoTags"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LengthInSeconds" ma:index="19" nillable="true" ma:displayName="Length (seconds)"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7dafaee0-0f14-4d71-9768-8f6113da2e1a"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B6A337BF-3B74-4C10-A8A9-3670BC4CF746}">
  <ds:schemaRefs>
    <ds:schemaRef ds:uri="http://schemas.microsoft.com/sharepoint/v3/contenttype/forms"/>
  </ds:schemaRefs>
</ds:datastoreItem>
</file>

<file path=customXml/itemProps2.xml><?xml version="1.0" encoding="utf-8"?>
<ds:datastoreItem xmlns:ds="http://schemas.openxmlformats.org/officeDocument/2006/customXml" ds:itemID="{10489BE2-6494-4C27-84D8-34E0EA3FD61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6caee19-00b5-48df-bf01-7741a1496c06"/>
    <ds:schemaRef ds:uri="7dafaee0-0f14-4d71-9768-8f6113da2e1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2126EC88-F0D5-4034-9295-84F68AACF8A7}">
  <ds:schemaRefs>
    <ds:schemaRef ds:uri="http://schemas.microsoft.com/office/2006/metadata/properties"/>
    <ds:schemaRef ds:uri="http://schemas.microsoft.com/office/infopath/2007/PartnerControls"/>
  </ds:schemaRefs>
</ds:datastoreItem>
</file>

<file path=docProps/app.xml><?xml version="1.0" encoding="utf-8"?>
<Properties xmlns="http://schemas.openxmlformats.org/officeDocument/2006/extended-properties" xmlns:vt="http://schemas.openxmlformats.org/officeDocument/2006/docPropsVTypes">
  <Template>blank</Template>
  <TotalTime>1865</TotalTime>
  <Words>3716</Words>
  <Application>Microsoft Office PowerPoint</Application>
  <PresentationFormat>Widescreen</PresentationFormat>
  <Paragraphs>602</Paragraphs>
  <Slides>16</Slides>
  <Notes>15</Notes>
  <HiddenSlides>0</HiddenSlides>
  <MMClips>0</MMClips>
  <ScaleCrop>false</ScaleCrop>
  <HeadingPairs>
    <vt:vector size="8" baseType="variant">
      <vt:variant>
        <vt:lpstr>Fonts Used</vt:lpstr>
      </vt:variant>
      <vt:variant>
        <vt:i4>8</vt:i4>
      </vt:variant>
      <vt:variant>
        <vt:lpstr>Theme</vt:lpstr>
      </vt:variant>
      <vt:variant>
        <vt:i4>2</vt:i4>
      </vt:variant>
      <vt:variant>
        <vt:lpstr>Embedded OLE Servers</vt:lpstr>
      </vt:variant>
      <vt:variant>
        <vt:i4>1</vt:i4>
      </vt:variant>
      <vt:variant>
        <vt:lpstr>Slide Titles</vt:lpstr>
      </vt:variant>
      <vt:variant>
        <vt:i4>16</vt:i4>
      </vt:variant>
    </vt:vector>
  </HeadingPairs>
  <TitlesOfParts>
    <vt:vector size="27" baseType="lpstr">
      <vt:lpstr>Arial</vt:lpstr>
      <vt:lpstr>Wingdings</vt:lpstr>
      <vt:lpstr>Calibri</vt:lpstr>
      <vt:lpstr>source sans pro</vt:lpstr>
      <vt:lpstr>PTCRaleway</vt:lpstr>
      <vt:lpstr>Arial Narrow</vt:lpstr>
      <vt:lpstr>PTCRaleway Black</vt:lpstr>
      <vt:lpstr>Century Gothic</vt:lpstr>
      <vt:lpstr>PTC PowerPoint Template</vt:lpstr>
      <vt:lpstr>1_PTC PowerPoint Template</vt:lpstr>
      <vt:lpstr>think-cell Slide</vt:lpstr>
      <vt:lpstr>Creo Packaging  and Solution Capabilities</vt:lpstr>
      <vt:lpstr>NEW CREO PACKAGES</vt:lpstr>
      <vt:lpstr>Creo Design Packages</vt:lpstr>
      <vt:lpstr>LINEAR STRUCTURAL ANALYSIS </vt:lpstr>
      <vt:lpstr>Creo Simulation Elite Capabilities</vt:lpstr>
      <vt:lpstr>CREO SIMULATION EXTENSTION  </vt:lpstr>
      <vt:lpstr>Creo Simulation Product Overview</vt:lpstr>
      <vt:lpstr>CREO SIMULATION LIVE EXTENSION</vt:lpstr>
      <vt:lpstr>CREO SIMULATION LIVE ADVANCED EXTENSION</vt:lpstr>
      <vt:lpstr>Creo Simulation Live Packages</vt:lpstr>
      <vt:lpstr>CREO ANSYS SIMULATION</vt:lpstr>
      <vt:lpstr>Creo Simulation Product Overview</vt:lpstr>
      <vt:lpstr>CREO FATIGUE ADVISOR EXTENSION  </vt:lpstr>
      <vt:lpstr>CREO FLOW ANALYSIS EXTENSION </vt:lpstr>
      <vt:lpstr>Creo Flow Analysis – package Overview</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reo Packaging  and Solution Capabilities</dc:title>
  <dc:creator>McCagg, Marty</dc:creator>
  <cp:lastModifiedBy>Vasilis Karastergios</cp:lastModifiedBy>
  <cp:revision>80</cp:revision>
  <dcterms:created xsi:type="dcterms:W3CDTF">2021-10-13T03:56:04Z</dcterms:created>
  <dcterms:modified xsi:type="dcterms:W3CDTF">2024-01-08T10:46:3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53CC3168B6C2D4D99959A344254B259</vt:lpwstr>
  </property>
</Properties>
</file>